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8"/>
  </p:notesMasterIdLst>
  <p:sldIdLst>
    <p:sldId id="256" r:id="rId5"/>
    <p:sldId id="281" r:id="rId6"/>
    <p:sldId id="917" r:id="rId7"/>
    <p:sldId id="1553718" r:id="rId8"/>
    <p:sldId id="1553722" r:id="rId9"/>
    <p:sldId id="918" r:id="rId10"/>
    <p:sldId id="1553723" r:id="rId11"/>
    <p:sldId id="929" r:id="rId12"/>
    <p:sldId id="931" r:id="rId13"/>
    <p:sldId id="916" r:id="rId14"/>
    <p:sldId id="926" r:id="rId15"/>
    <p:sldId id="1553721" r:id="rId16"/>
    <p:sldId id="267" r:id="rId17"/>
  </p:sldIdLst>
  <p:sldSz cx="9144000" cy="5143500" type="screen16x9"/>
  <p:notesSz cx="6797675" cy="9926638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81">
          <p15:clr>
            <a:srgbClr val="A4A3A4"/>
          </p15:clr>
        </p15:guide>
        <p15:guide id="2" orient="horz" pos="3003" userDrawn="1">
          <p15:clr>
            <a:srgbClr val="A4A3A4"/>
          </p15:clr>
        </p15:guide>
        <p15:guide id="3" pos="249">
          <p15:clr>
            <a:srgbClr val="A4A3A4"/>
          </p15:clr>
        </p15:guide>
        <p15:guide id="4" pos="5525">
          <p15:clr>
            <a:srgbClr val="A4A3A4"/>
          </p15:clr>
        </p15:guide>
        <p15:guide id="5" pos="288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51D900E-20C3-6638-31DC-1A2B4E768A5F}" name="Dous, Andreas" initials="DA" userId="S::Andreas.Dous@eew-energyfromwaste.com::b5c415da-3169-4bf1-8057-f035458a5fe3" providerId="AD"/>
  <p188:author id="{D21C734E-DDCC-297C-7B79-99246AA12CF5}" name="Barz, Julia" initials="BJ" userId="S::julia.barz@eew-energyfromwaste.com::bc9adcda-8779-4fc4-b226-8ea2a4ccb123" providerId="AD"/>
  <p188:author id="{A251689C-E7D6-8955-26CB-322051BE9B9F}" name="Oliver Kirch" initials="OKI" userId="Oliver Kirch" providerId="None"/>
  <p188:author id="{18F688D0-360D-1D35-5F7D-4D9BA02DA959}" name="Exner, Carlo" initials="EC" userId="S::carlo.exner@eew-energyfromwaste.com::9e3195d9-c8a0-4a3e-89e2-706d8d2f7ef6" providerId="AD"/>
  <p188:author id="{941C59E2-E787-71D3-EEA0-D154ABA2781A}" name="Philipp, Ronald" initials="PR" userId="S::ronald.philipp@eew-energyfromwaste.com::883b172e-54ce-4596-af97-cd1f053c0d5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F3D1"/>
    <a:srgbClr val="FF9E27"/>
    <a:srgbClr val="FFEB82"/>
    <a:srgbClr val="FFD700"/>
    <a:srgbClr val="FFB900"/>
    <a:srgbClr val="9F0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CA4599-5BEF-489F-A6C3-EEE7A2DFE163}" v="1" dt="2024-03-12T06:18:41.0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357" autoAdjust="0"/>
  </p:normalViewPr>
  <p:slideViewPr>
    <p:cSldViewPr snapToGrid="0">
      <p:cViewPr varScale="1">
        <p:scale>
          <a:sx n="209" d="100"/>
          <a:sy n="209" d="100"/>
        </p:scale>
        <p:origin x="336" y="192"/>
      </p:cViewPr>
      <p:guideLst>
        <p:guide orient="horz" pos="881"/>
        <p:guide orient="horz" pos="3003"/>
        <p:guide pos="249"/>
        <p:guide pos="5525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us, Andreas" userId="b5c415da-3169-4bf1-8057-f035458a5fe3" providerId="ADAL" clId="{30CA4599-5BEF-489F-A6C3-EEE7A2DFE163}"/>
    <pc:docChg chg="custSel delSld modSld">
      <pc:chgData name="Dous, Andreas" userId="b5c415da-3169-4bf1-8057-f035458a5fe3" providerId="ADAL" clId="{30CA4599-5BEF-489F-A6C3-EEE7A2DFE163}" dt="2024-03-12T06:19:02.321" v="35" actId="20577"/>
      <pc:docMkLst>
        <pc:docMk/>
      </pc:docMkLst>
      <pc:sldChg chg="modSp mod">
        <pc:chgData name="Dous, Andreas" userId="b5c415da-3169-4bf1-8057-f035458a5fe3" providerId="ADAL" clId="{30CA4599-5BEF-489F-A6C3-EEE7A2DFE163}" dt="2024-03-12T06:17:38.237" v="16" actId="20577"/>
        <pc:sldMkLst>
          <pc:docMk/>
          <pc:sldMk cId="0" sldId="256"/>
        </pc:sldMkLst>
        <pc:spChg chg="mod">
          <ac:chgData name="Dous, Andreas" userId="b5c415da-3169-4bf1-8057-f035458a5fe3" providerId="ADAL" clId="{30CA4599-5BEF-489F-A6C3-EEE7A2DFE163}" dt="2024-03-12T06:17:38.237" v="16" actId="20577"/>
          <ac:spMkLst>
            <pc:docMk/>
            <pc:sldMk cId="0" sldId="256"/>
            <ac:spMk id="5" creationId="{00000000-0000-0000-0000-000000000000}"/>
          </ac:spMkLst>
        </pc:spChg>
      </pc:sldChg>
      <pc:sldChg chg="del">
        <pc:chgData name="Dous, Andreas" userId="b5c415da-3169-4bf1-8057-f035458a5fe3" providerId="ADAL" clId="{30CA4599-5BEF-489F-A6C3-EEE7A2DFE163}" dt="2024-03-12T06:18:16.520" v="20" actId="47"/>
        <pc:sldMkLst>
          <pc:docMk/>
          <pc:sldMk cId="753152036" sldId="260"/>
        </pc:sldMkLst>
      </pc:sldChg>
      <pc:sldChg chg="delSp modSp mod">
        <pc:chgData name="Dous, Andreas" userId="b5c415da-3169-4bf1-8057-f035458a5fe3" providerId="ADAL" clId="{30CA4599-5BEF-489F-A6C3-EEE7A2DFE163}" dt="2024-03-12T06:18:50.971" v="33" actId="20577"/>
        <pc:sldMkLst>
          <pc:docMk/>
          <pc:sldMk cId="1432077020" sldId="281"/>
        </pc:sldMkLst>
        <pc:spChg chg="mod">
          <ac:chgData name="Dous, Andreas" userId="b5c415da-3169-4bf1-8057-f035458a5fe3" providerId="ADAL" clId="{30CA4599-5BEF-489F-A6C3-EEE7A2DFE163}" dt="2024-03-12T06:18:35.721" v="23" actId="1076"/>
          <ac:spMkLst>
            <pc:docMk/>
            <pc:sldMk cId="1432077020" sldId="281"/>
            <ac:spMk id="4" creationId="{DABB6C37-9D10-AC29-E432-5389507AB95C}"/>
          </ac:spMkLst>
        </pc:spChg>
        <pc:spChg chg="mod">
          <ac:chgData name="Dous, Andreas" userId="b5c415da-3169-4bf1-8057-f035458a5fe3" providerId="ADAL" clId="{30CA4599-5BEF-489F-A6C3-EEE7A2DFE163}" dt="2024-03-12T06:18:50.971" v="33" actId="20577"/>
          <ac:spMkLst>
            <pc:docMk/>
            <pc:sldMk cId="1432077020" sldId="281"/>
            <ac:spMk id="12" creationId="{00000000-0000-0000-0000-000000000000}"/>
          </ac:spMkLst>
        </pc:spChg>
        <pc:spChg chg="del">
          <ac:chgData name="Dous, Andreas" userId="b5c415da-3169-4bf1-8057-f035458a5fe3" providerId="ADAL" clId="{30CA4599-5BEF-489F-A6C3-EEE7A2DFE163}" dt="2024-03-12T06:18:29.692" v="22" actId="478"/>
          <ac:spMkLst>
            <pc:docMk/>
            <pc:sldMk cId="1432077020" sldId="281"/>
            <ac:spMk id="20" creationId="{140BDDC9-FF87-43FC-B5EF-6246965CF2CB}"/>
          </ac:spMkLst>
        </pc:spChg>
        <pc:spChg chg="del">
          <ac:chgData name="Dous, Andreas" userId="b5c415da-3169-4bf1-8057-f035458a5fe3" providerId="ADAL" clId="{30CA4599-5BEF-489F-A6C3-EEE7A2DFE163}" dt="2024-03-12T06:18:41.030" v="25" actId="478"/>
          <ac:spMkLst>
            <pc:docMk/>
            <pc:sldMk cId="1432077020" sldId="281"/>
            <ac:spMk id="22" creationId="{1C5FED8E-3D42-16E9-E28E-D3BEE2BBC40F}"/>
          </ac:spMkLst>
        </pc:spChg>
        <pc:cxnChg chg="del">
          <ac:chgData name="Dous, Andreas" userId="b5c415da-3169-4bf1-8057-f035458a5fe3" providerId="ADAL" clId="{30CA4599-5BEF-489F-A6C3-EEE7A2DFE163}" dt="2024-03-12T06:18:39.037" v="24" actId="478"/>
          <ac:cxnSpMkLst>
            <pc:docMk/>
            <pc:sldMk cId="1432077020" sldId="281"/>
            <ac:cxnSpMk id="5" creationId="{382659AF-7917-581E-CBB2-3D134B8FBD97}"/>
          </ac:cxnSpMkLst>
        </pc:cxnChg>
      </pc:sldChg>
      <pc:sldChg chg="modSp mod">
        <pc:chgData name="Dous, Andreas" userId="b5c415da-3169-4bf1-8057-f035458a5fe3" providerId="ADAL" clId="{30CA4599-5BEF-489F-A6C3-EEE7A2DFE163}" dt="2024-03-12T06:19:02.321" v="35" actId="20577"/>
        <pc:sldMkLst>
          <pc:docMk/>
          <pc:sldMk cId="282012776" sldId="1553721"/>
        </pc:sldMkLst>
        <pc:spChg chg="mod">
          <ac:chgData name="Dous, Andreas" userId="b5c415da-3169-4bf1-8057-f035458a5fe3" providerId="ADAL" clId="{30CA4599-5BEF-489F-A6C3-EEE7A2DFE163}" dt="2024-03-12T06:19:02.321" v="35" actId="20577"/>
          <ac:spMkLst>
            <pc:docMk/>
            <pc:sldMk cId="282012776" sldId="1553721"/>
            <ac:spMk id="10" creationId="{E8F35265-014C-C585-42C6-1AB4DCB18979}"/>
          </ac:spMkLst>
        </pc:spChg>
      </pc:sldChg>
      <pc:sldChg chg="del">
        <pc:chgData name="Dous, Andreas" userId="b5c415da-3169-4bf1-8057-f035458a5fe3" providerId="ADAL" clId="{30CA4599-5BEF-489F-A6C3-EEE7A2DFE163}" dt="2024-03-12T06:17:54.537" v="17" actId="2696"/>
        <pc:sldMkLst>
          <pc:docMk/>
          <pc:sldMk cId="2842800747" sldId="1553725"/>
        </pc:sldMkLst>
      </pc:sldChg>
      <pc:sldChg chg="del">
        <pc:chgData name="Dous, Andreas" userId="b5c415da-3169-4bf1-8057-f035458a5fe3" providerId="ADAL" clId="{30CA4599-5BEF-489F-A6C3-EEE7A2DFE163}" dt="2024-03-12T06:18:19.222" v="21" actId="47"/>
        <pc:sldMkLst>
          <pc:docMk/>
          <pc:sldMk cId="3588056194" sldId="1553726"/>
        </pc:sldMkLst>
      </pc:sldChg>
      <pc:sldChg chg="del">
        <pc:chgData name="Dous, Andreas" userId="b5c415da-3169-4bf1-8057-f035458a5fe3" providerId="ADAL" clId="{30CA4599-5BEF-489F-A6C3-EEE7A2DFE163}" dt="2024-03-12T06:18:12.804" v="19" actId="47"/>
        <pc:sldMkLst>
          <pc:docMk/>
          <pc:sldMk cId="194106827" sldId="1553739"/>
        </pc:sldMkLst>
      </pc:sldChg>
      <pc:sldChg chg="del">
        <pc:chgData name="Dous, Andreas" userId="b5c415da-3169-4bf1-8057-f035458a5fe3" providerId="ADAL" clId="{30CA4599-5BEF-489F-A6C3-EEE7A2DFE163}" dt="2024-03-12T06:18:10.568" v="18" actId="47"/>
        <pc:sldMkLst>
          <pc:docMk/>
          <pc:sldMk cId="1414702300" sldId="155374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FF63C6-8CD2-47F9-AC42-AAE8D5DDFB5C}" type="datetimeFigureOut">
              <a:rPr lang="de-DE" smtClean="0"/>
              <a:t>12.03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73117C-FB98-4346-A642-C11A459887C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1796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erzlich Willkommen am Stand von EEW.</a:t>
            </a:r>
          </a:p>
          <a:p>
            <a:r>
              <a:rPr lang="de-DE" dirty="0"/>
              <a:t>Als letzten Teil dieser Lösungstour werde ich Ihnen noch einige Informationen zum aktuellen Stand der Klärschlammverwertung und des Phosphorrecyclings bei EEW Energy from Waste geb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3117C-FB98-4346-A642-C11A459887C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85244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ie lebenswichtige Ressource Phosphor findet sich in der Asche als Produkt der Klärschlamm-Monoverbrennung wieder.</a:t>
            </a:r>
          </a:p>
          <a:p>
            <a:r>
              <a:rPr lang="de-DE" dirty="0"/>
              <a:t>Kommen wir nun also zu dem EEW-Konzept zur Phosphor-Rückgewinnung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3117C-FB98-4346-A642-C11A459887C4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31382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ginnen wir zunächst mit der phosphathaltigen Asche, die als Produkt der Klärschlamm-Monoverbrennung entsteht. </a:t>
            </a:r>
          </a:p>
          <a:p>
            <a:r>
              <a:rPr lang="de-DE" dirty="0"/>
              <a:t>Sie ist ein wichtiger Pflanzennährstoff und Ausgangsstoff vieler industrieller Produkt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Aktuelle Analysen zeigen zudem, dass der Phosphorgehalt der EEW-Aschen bei max. 13 und durchschnittlich 9 Masse-% liegt.</a:t>
            </a:r>
          </a:p>
          <a:p>
            <a:endParaRPr lang="de-DE" dirty="0"/>
          </a:p>
          <a:p>
            <a:r>
              <a:rPr lang="de-DE" dirty="0"/>
              <a:t>Der Phosphorgehalt führt dazu, dass sie sich als ideales Vorprodukt für die Düngemittelherstellung eignet. </a:t>
            </a:r>
          </a:p>
          <a:p>
            <a:endParaRPr lang="de-DE" dirty="0"/>
          </a:p>
          <a:p>
            <a:r>
              <a:rPr lang="de-DE" dirty="0"/>
              <a:t>Denn zum einen wäre die Deponierung der Klärschlammaschen eine reine Verschwendung der wertvollen und endlichen Ressource Phosphor und zum anderen sind die natürliche Phosphor-Vorkommen begrenzt und weisen in der Regel eine hohe Schadstoffbelastung auf.</a:t>
            </a:r>
          </a:p>
          <a:p>
            <a:r>
              <a:rPr lang="de-DE" dirty="0"/>
              <a:t>Der Schadstoffgehalt der EEW-Aschen, die durch die Klärschlamm-Monoverbrennung entsteht, liegt hingegen unterhalb der Grenzwerte der Düngemittelverordnung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3117C-FB98-4346-A642-C11A459887C4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5507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3117C-FB98-4346-A642-C11A459887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2015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Vielen Dank für Ihre Aufmerksamkeit – ich freue mich auf interessante Gespräche und Diskussion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3117C-FB98-4346-A642-C11A459887C4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2691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3117C-FB98-4346-A642-C11A459887C4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4835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ommen wir nun zuerst zu EEW Energy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Waste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3117C-FB98-4346-A642-C11A459887C4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3436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ährlich verwerten rund 1.250 Mitarbeiter in unseren 17 Anlagen in Deutschland und dem benachbarten Ausland, rund 5,0 Millionen Tonnen Abfall</a:t>
            </a:r>
            <a:r>
              <a:rPr lang="de-DE" dirty="0"/>
              <a:t> u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d erzeugen dadurch 3,8 Mio. </a:t>
            </a:r>
            <a:r>
              <a:rPr lang="de-DE" dirty="0">
                <a:solidFill>
                  <a:srgbClr val="000000"/>
                </a:solidFill>
              </a:rPr>
              <a:t>Megawattstunden ressourcenschonenden Prozessdampf und Fernwärme sowie Strom für umgerechnet rund 720.000 Haushalte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D41DD9-8BB4-43FE-A01B-9114F91DE4BC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1798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EW ist eines der führenden Unternehmen auf dem Gebiet der thermischen Abfallverwertung in Europa. </a:t>
            </a:r>
          </a:p>
          <a:p>
            <a:pPr lvl="0"/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r blicken auf eine knapp 150 jährige Tradition zurück mit über 50 Jahren Erfahrung in der thermischen Abfallverwertung.</a:t>
            </a:r>
          </a:p>
          <a:p>
            <a:pPr lvl="0"/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reits heute werden mehr als 150.000 Tonnen Klärschlamm-Originalsubstanz in der Mitverbrennung unserer Anlagen verwertet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6F7DB7B-12A5-40A2-AF85-B52598609E4F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9047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3117C-FB98-4346-A642-C11A459887C4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19123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nser Weg zum einem der führendem Anbieter in der thermischen Klärschlammbehandlung.</a:t>
            </a:r>
          </a:p>
          <a:p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 EEW beschäftigt sich schon seit vielen Jahren mit der Thematik thermische Behandlung von Klärschlämmen.</a:t>
            </a:r>
            <a:r>
              <a:rPr lang="de-DE"/>
              <a:t> </a:t>
            </a:r>
            <a:endParaRPr lang="de-DE">
              <a:cs typeface="Calibri"/>
            </a:endParaRPr>
          </a:p>
          <a:p>
            <a:pPr marL="171450" indent="-171450">
              <a:buFontTx/>
              <a:buChar char="-"/>
            </a:pP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EW-interne Befassungen seit 2014</a:t>
            </a:r>
            <a:endParaRPr lang="de-DE" sz="1200" kern="120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pPr marL="171450" indent="-171450">
              <a:buFontTx/>
              <a:buChar char="-"/>
            </a:pP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 Jahr 2015 Gründung unseres Experten-Teams.</a:t>
            </a:r>
            <a:endParaRPr lang="de-DE" sz="1200" kern="120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pPr marL="171450" indent="-171450">
              <a:buFontTx/>
              <a:buChar char="-"/>
            </a:pP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2016 Verankerung der Klärschlammabteilung im Unternehmen EEW mit der Aufgabenstellung zur Durchführung von Markt und Kapazitätsanalysen sowie Durchführung von Standortprüfungen:</a:t>
            </a:r>
            <a:endParaRPr lang="de-DE" sz="1200" kern="120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pPr marL="171450" indent="-171450">
              <a:buFontTx/>
              <a:buChar char="-"/>
            </a:pP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 Jahr 2017 Prüfen von Optionen im Bereich Phosphor Recycling -weiteres dazu später in meinem Vortrag.</a:t>
            </a:r>
            <a:endParaRPr lang="de-DE" sz="1200" kern="120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pPr marL="171450" indent="-171450">
              <a:buFontTx/>
              <a:buChar char="-"/>
            </a:pP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2018 Auswahl von 4 potenziellen Standorte in Deutschland und dem benachbarten Ausland sowie die Vorbereitung der Genehmigungsverfahrens.</a:t>
            </a:r>
            <a:endParaRPr lang="de-DE" sz="1200" kern="120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pPr marL="171450" indent="-171450">
              <a:buFontTx/>
              <a:buChar char="-"/>
            </a:pP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2019 Genehmigungsanträge an 4 EEW-Standorte eingereicht.</a:t>
            </a:r>
            <a:endParaRPr lang="de-DE" sz="1200" kern="1200">
              <a:solidFill>
                <a:schemeClr val="tx1"/>
              </a:solidFill>
              <a:effectLst/>
              <a:latin typeface="+mn-lt"/>
              <a:cs typeface="Calibri"/>
            </a:endParaRPr>
          </a:p>
          <a:p>
            <a:pPr marL="171450" indent="-171450">
              <a:buFontTx/>
              <a:buChar char="-"/>
            </a:pP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 Jahr </a:t>
            </a:r>
            <a:r>
              <a:rPr lang="de-DE"/>
              <a:t>2021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ie Grundsteinlegung in </a:t>
            </a:r>
            <a:r>
              <a:rPr lang="de-DE"/>
              <a:t>Stavenhagen.</a:t>
            </a:r>
            <a:endParaRPr lang="de-DE">
              <a:cs typeface="Calibri"/>
            </a:endParaRPr>
          </a:p>
          <a:p>
            <a:pPr marL="171450" indent="-171450">
              <a:buFontTx/>
              <a:buChar char="-"/>
            </a:pPr>
            <a:r>
              <a:rPr lang="de-DE">
                <a:cs typeface="Calibri"/>
              </a:rPr>
              <a:t>Im Jahr 2023 wird die Inbetriebnahme der KVA Stavenhagen planmäßig erfolg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73117C-FB98-4346-A642-C11A459887C4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015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s Verfahrensschaubild zu unserem KVA-Referenzmodell:</a:t>
            </a:r>
          </a:p>
          <a:p>
            <a:pPr marL="171450" indent="-171450" algn="l" defTabSz="914400" rtl="0" eaLnBrk="1" latinLnBrk="0" hangingPunct="1">
              <a:buFontTx/>
              <a:buChar char="-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nahme von entwässertem Klärschlamm mit einem TS-Gehalt im Mittel von 24% und getrocknetem Klärschlamm mit einem TS-Gehalt von 85%.</a:t>
            </a:r>
          </a:p>
          <a:p>
            <a:pPr marL="171450" indent="-171450" algn="l" defTabSz="914400" rtl="0" eaLnBrk="1" latinLnBrk="0" hangingPunct="1">
              <a:buFontTx/>
              <a:buChar char="-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Annahme der entwässerten Klärschlämme erfolgt über LKW Schleusen in einem Stapelbunker mit einer Kapazität von ca. 5.000 t, was ca. 10 Tagen entspricht</a:t>
            </a:r>
          </a:p>
          <a:p>
            <a:pPr marL="171450" indent="-171450" algn="l" defTabSz="914400" rtl="0" eaLnBrk="1" latinLnBrk="0" hangingPunct="1">
              <a:buFontTx/>
              <a:buChar char="-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Trocknung der entwässerten Klärschlämme erfolgt mittels zweier Scheibentrockner auf 43%TS, somit kann der Klärschlamm ohne weitere Stützbrennstoffe in der Wirbelschicht verbrannt werden.</a:t>
            </a:r>
          </a:p>
          <a:p>
            <a:pPr marL="171450" indent="-171450" algn="l" defTabSz="914400" rtl="0" eaLnBrk="1" latinLnBrk="0" hangingPunct="1">
              <a:buFontTx/>
              <a:buChar char="-"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 dabei anfallende </a:t>
            </a:r>
            <a:r>
              <a:rPr lang="de-DE" dirty="0"/>
              <a:t>Brüden werden einer </a:t>
            </a:r>
            <a:r>
              <a:rPr lang="de-DE" dirty="0" err="1"/>
              <a:t>Brüdenbehandlung</a:t>
            </a:r>
            <a:r>
              <a:rPr lang="de-DE" dirty="0"/>
              <a:t> bzw. werden der Feuerung der KVA und der Abfallverbrennung zugeführt.</a:t>
            </a:r>
          </a:p>
          <a:p>
            <a:pPr marL="171450" indent="-171450">
              <a:buFontTx/>
              <a:buChar char="-"/>
            </a:pPr>
            <a:r>
              <a:rPr lang="de-DE" dirty="0"/>
              <a:t>Die auf 43% getrockneten Klärschlämme werden mittels </a:t>
            </a:r>
            <a:r>
              <a:rPr lang="de-DE" dirty="0" err="1"/>
              <a:t>Wurfbeschicker</a:t>
            </a:r>
            <a:r>
              <a:rPr lang="de-DE" dirty="0"/>
              <a:t> der Wirbelschichtfeuerung zugeführt.</a:t>
            </a:r>
          </a:p>
          <a:p>
            <a:pPr marL="171450" indent="-171450">
              <a:buFontTx/>
              <a:buChar char="-"/>
            </a:pPr>
            <a:r>
              <a:rPr lang="de-DE" dirty="0"/>
              <a:t>Der während des Verbrennungsprozesses entstehenden Dampf wird der bestehenden Dampfturbine, in diesem Fall der TRV, zugeführt.</a:t>
            </a:r>
          </a:p>
          <a:p>
            <a:pPr marL="171450" indent="-171450">
              <a:buFontTx/>
              <a:buChar char="-"/>
            </a:pPr>
            <a:r>
              <a:rPr lang="de-DE" dirty="0"/>
              <a:t>Hinter dem Kessel wird die Primärasche mittels Elektrofilter separiert und dem </a:t>
            </a:r>
            <a:r>
              <a:rPr lang="de-DE" dirty="0" err="1"/>
              <a:t>Phosphorrecyclig</a:t>
            </a:r>
            <a:r>
              <a:rPr lang="de-DE" dirty="0"/>
              <a:t> zugeführ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Die Rauchgasreinigung erfolgt über mehrere Stufen, unter anderem: </a:t>
            </a:r>
            <a:r>
              <a:rPr lang="de-DE" sz="1200" dirty="0"/>
              <a:t>Sprühabsorber, Umlenkreaktor, Gewebefilter, saurer Wäscher und alkalischer Wäscher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Die gereinigte Abluft wird über den Schornstein abgeführ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 einige unserer Kunden auch Bedarf haben, getrocknete Klärschlämme mit einem TS Gehalt von ca. 85% zu verwerten, haben wir hierfür ein Silo vorgesehen. Dieser Trockenklärschlamm wird bei Bedarf direkt in die Feuerung eingeblasen.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D41DD9-8BB4-43FE-A01B-9114F91DE4B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20355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EW betreibt aktuell mehrere KVA-Projekte. </a:t>
            </a:r>
            <a:r>
              <a:rPr lang="en-US" sz="1800" b="0" i="0" dirty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​</a:t>
            </a:r>
            <a:endParaRPr lang="en-US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nsere erste EEW Klärschlamm-Monoverbrennungsanlage am EEW-Stammsitz in Helmstedt wird dieses Jahr in Betrieb gehen. </a:t>
            </a: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de-DE" sz="1800" b="0" i="0" dirty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​</a:t>
            </a:r>
            <a:endParaRPr lang="de-DE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ie wird die erste KVA Niedersachsens sein und mit einer Kapazität von 160.000 t Klärschlamm OS rund ein Fünftel des niedersächsischen Klärschlamms verwerten. </a:t>
            </a:r>
            <a:r>
              <a:rPr lang="en-US" sz="1800" b="0" i="0" dirty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​</a:t>
            </a:r>
            <a:endParaRPr lang="en-US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​</a:t>
            </a:r>
            <a:endParaRPr lang="de-DE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hr folgen wird die KVA in Stavenhagen. Auch sie ist für 160.000 t Klärschlamm OS ausgelegt und bietet damit eine Kapazität für ¾ des Klärschlamms in Mecklenburg-Vorpommern. Die Inbetriebnahme ist für 2023 geplant. </a:t>
            </a:r>
            <a:r>
              <a:rPr lang="en-US" sz="1800" b="0" i="0" dirty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​</a:t>
            </a:r>
            <a:endParaRPr lang="en-US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​</a:t>
            </a:r>
            <a:endParaRPr lang="de-DE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benfalls im Jahr 2023 – in Q4 – soll die KVA in Magdeburg-Rothensee in Betrieb gehen. Sie ist für 50.000 t Klärschlamm OS ausgelegt und wird vorwiegend Klärschlamm aus Sachsen-Anhalt verwerten.</a:t>
            </a:r>
            <a:r>
              <a:rPr lang="en-US" sz="1800" b="0" i="0" dirty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​</a:t>
            </a:r>
            <a:endParaRPr lang="en-US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de-DE" sz="1800" b="0" i="0" dirty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​</a:t>
            </a:r>
            <a:endParaRPr lang="de-DE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de-DE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n zwei weiteren EEW-Standorten sind ebenfalls Klärschlamm-Monoverbrennungsanlagen geplant. </a:t>
            </a:r>
            <a:r>
              <a:rPr lang="en-US" sz="1800" b="0" i="0" dirty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de-DE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abei handelt es sich zum einen um den EEW-Standort Stapelfeld, an dem eine KVA mit einer Kapazität für 160.000 t Klärschlamm OS geplant ist. Die Kapazität reicht für die Hälfte des Klärschlamms in Schleswig-Holstein.</a:t>
            </a:r>
            <a:r>
              <a:rPr lang="en-US" sz="1800" b="0" i="0" dirty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dirty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de-DE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Zum anderen handelt es sich um unseren EEW-Standort </a:t>
            </a:r>
            <a:r>
              <a:rPr lang="de-DE" sz="180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lfzijl</a:t>
            </a:r>
            <a:r>
              <a:rPr lang="de-DE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in den Niederlanden. Auch hier ist eine KVA in Planung, die Klärschlamm aus den Niederlanden und aus Niedersachsen verwerten wird. Die Kapazität beträgt bei dieser Anlage 146.000 t Klärschlamm OS.</a:t>
            </a:r>
            <a:r>
              <a:rPr lang="en-US" sz="1800" b="0" i="0" dirty="0">
                <a:solidFill>
                  <a:srgbClr val="444444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444444"/>
              </a:solidFill>
              <a:effectLst/>
              <a:latin typeface="Calibri" panose="020F0502020204030204" pitchFamily="34" charset="0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D41DD9-8BB4-43FE-A01B-9114F91DE4BC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5400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EW-Energiefluss_A4quer-2_sRGB.png"/>
          <p:cNvPicPr>
            <a:picLocks noChangeAspect="1"/>
          </p:cNvPicPr>
          <p:nvPr userDrawn="1"/>
        </p:nvPicPr>
        <p:blipFill>
          <a:blip r:embed="rId2" cstate="print"/>
          <a:srcRect b="7477"/>
          <a:stretch>
            <a:fillRect/>
          </a:stretch>
        </p:blipFill>
        <p:spPr>
          <a:xfrm>
            <a:off x="0" y="656101"/>
            <a:ext cx="9144000" cy="448708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92800" y="656101"/>
            <a:ext cx="6120000" cy="1142099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92800" y="1852200"/>
            <a:ext cx="6120000" cy="540000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rgbClr val="FF9E2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6" name="Grafik 5" descr="EEW_Logo+EfW_Color_sRGB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689600" y="162001"/>
            <a:ext cx="1080000" cy="1226127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Vielen Dank.</a:t>
            </a:r>
          </a:p>
        </p:txBody>
      </p:sp>
      <p:pic>
        <p:nvPicPr>
          <p:cNvPr id="6" name="Grafik 5" descr="EEW-Energiefluss_A4quer-2_sRGB.png"/>
          <p:cNvPicPr>
            <a:picLocks noChangeAspect="1"/>
          </p:cNvPicPr>
          <p:nvPr userDrawn="1"/>
        </p:nvPicPr>
        <p:blipFill>
          <a:blip r:embed="rId2" cstate="print"/>
          <a:srcRect t="19049" b="7477"/>
          <a:stretch>
            <a:fillRect/>
          </a:stretch>
        </p:blipFill>
        <p:spPr>
          <a:xfrm>
            <a:off x="0" y="1585307"/>
            <a:ext cx="9144000" cy="3563281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2506532"/>
            <a:ext cx="9144000" cy="2636968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92800" y="655200"/>
            <a:ext cx="6120000" cy="1141200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7" name="Grafik 6" descr="EEW_Logo+EfW_Color_sRGB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689600" y="162001"/>
            <a:ext cx="1080000" cy="1226127"/>
          </a:xfrm>
          <a:prstGeom prst="rect">
            <a:avLst/>
          </a:prstGeom>
        </p:spPr>
      </p:pic>
      <p:sp>
        <p:nvSpPr>
          <p:cNvPr id="10" name="Untertitel 2"/>
          <p:cNvSpPr>
            <a:spLocks noGrp="1"/>
          </p:cNvSpPr>
          <p:nvPr>
            <p:ph type="subTitle" idx="1"/>
          </p:nvPr>
        </p:nvSpPr>
        <p:spPr>
          <a:xfrm>
            <a:off x="0" y="1852200"/>
            <a:ext cx="9144000" cy="1566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l"/>
          </a:blipFill>
        </p:spPr>
        <p:txBody>
          <a:bodyPr lIns="892800" rIns="2131200" bIns="107640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rgbClr val="FF9E2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1BB74-5B34-4C84-890D-7531C278A55B}" type="datetimeFigureOut">
              <a:rPr lang="de-DE" smtClean="0"/>
              <a:pPr/>
              <a:t>12.03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6000" y="1398600"/>
            <a:ext cx="4068000" cy="31320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1800"/>
            </a:lvl6pPr>
            <a:lvl7pPr>
              <a:buNone/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0000" y="1398600"/>
            <a:ext cx="4068000" cy="31320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1BB74-5B34-4C84-890D-7531C278A55B}" type="datetimeFigureOut">
              <a:rPr lang="de-DE" smtClean="0"/>
              <a:pPr/>
              <a:t>12.03.202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1BB74-5B34-4C84-890D-7531C278A55B}" type="datetimeFigureOut">
              <a:rPr lang="de-DE" smtClean="0"/>
              <a:pPr/>
              <a:t>12.03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95999" y="1398599"/>
            <a:ext cx="3023870" cy="3132000"/>
          </a:xfr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3635769" y="1398599"/>
            <a:ext cx="5112695" cy="3132000"/>
          </a:xfrm>
        </p:spPr>
        <p:txBody>
          <a:bodyPr/>
          <a:lstStyle>
            <a:lvl1pPr>
              <a:defRPr sz="1200"/>
            </a:lvl1pPr>
          </a:lstStyle>
          <a:p>
            <a:r>
              <a:rPr lang="de-DE"/>
              <a:t>Diagramm durch Klicken auf Symbol hinzufügen</a:t>
            </a:r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1BB74-5B34-4C84-890D-7531C278A55B}" type="datetimeFigureOut">
              <a:rPr lang="de-DE" smtClean="0"/>
              <a:pPr/>
              <a:t>12.03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1BB74-5B34-4C84-890D-7531C278A55B}" type="datetimeFigureOut">
              <a:rPr lang="de-DE" smtClean="0"/>
              <a:pPr/>
              <a:t>12.03.202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1BB74-5B34-4C84-890D-7531C278A55B}" type="datetimeFigureOut">
              <a:rPr lang="de-DE" smtClean="0"/>
              <a:pPr/>
              <a:t>12.03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6" name="Grafik 5" descr="EEW-Energiefluss_A4quer-2_sRGB.png"/>
          <p:cNvPicPr>
            <a:picLocks noChangeAspect="1"/>
          </p:cNvPicPr>
          <p:nvPr userDrawn="1"/>
        </p:nvPicPr>
        <p:blipFill>
          <a:blip r:embed="rId2" cstate="print"/>
          <a:srcRect t="34908"/>
          <a:stretch>
            <a:fillRect/>
          </a:stretch>
        </p:blipFill>
        <p:spPr>
          <a:xfrm>
            <a:off x="0" y="1287900"/>
            <a:ext cx="9144000" cy="3156781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FE18C34-8EFE-4DE4-A5E7-33B3A910EE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12403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408" imgH="408" progId="TCLayout.ActiveDocument.1">
                  <p:embed/>
                </p:oleObj>
              </mc:Choice>
              <mc:Fallback>
                <p:oleObj name="think-cell Folie" r:id="rId13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FE18C34-8EFE-4DE4-A5E7-33B3A910EE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424800"/>
            <a:ext cx="6840000" cy="756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398600"/>
            <a:ext cx="8352000" cy="31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96000" y="4862700"/>
            <a:ext cx="720000" cy="1161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6E6E69"/>
                </a:solidFill>
              </a:defRPr>
            </a:lvl1pPr>
          </a:lstStyle>
          <a:p>
            <a:fld id="{BF31BB74-5B34-4C84-890D-7531C278A55B}" type="datetimeFigureOut">
              <a:rPr lang="de-DE" smtClean="0"/>
              <a:pPr/>
              <a:t>12.03.202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88000" y="4862700"/>
            <a:ext cx="6490800" cy="1161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rgbClr val="6E6E69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33200" y="4862700"/>
            <a:ext cx="514800" cy="1161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rgbClr val="6E6E69"/>
                </a:solidFill>
              </a:defRPr>
            </a:lvl1pPr>
          </a:lstStyle>
          <a:p>
            <a:fld id="{5639E044-4B05-4C62-84D8-314F036569E5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 descr="EEW_Logo_Color_sRGB.jp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8233200" y="162001"/>
            <a:ext cx="648000" cy="59851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2" r:id="rId4"/>
    <p:sldLayoutId id="2147483663" r:id="rId5"/>
    <p:sldLayoutId id="2147483654" r:id="rId6"/>
    <p:sldLayoutId id="2147483655" r:id="rId7"/>
    <p:sldLayoutId id="2147483664" r:id="rId8"/>
    <p:sldLayoutId id="2147483661" r:id="rId9"/>
    <p:sldLayoutId id="2147483662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9F0F00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8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1138" indent="-211137" algn="l" defTabSz="914400" rtl="0" eaLnBrk="1" latinLnBrk="0" hangingPunct="1">
        <a:spcBef>
          <a:spcPts val="800"/>
        </a:spcBef>
        <a:buClr>
          <a:srgbClr val="FF9E27"/>
        </a:buClr>
        <a:buSzPct val="80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61975" indent="0" algn="l" defTabSz="914400" rtl="0" eaLnBrk="1" latinLnBrk="0" hangingPunct="1"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3038" algn="l" defTabSz="914400" rtl="0" eaLnBrk="1" latinLnBrk="0" hangingPunct="1">
        <a:spcBef>
          <a:spcPts val="0"/>
        </a:spcBef>
        <a:buClr>
          <a:srgbClr val="FF9E27"/>
        </a:buClr>
        <a:buSzPct val="8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b="1" kern="1200">
          <a:solidFill>
            <a:srgbClr val="9F0F00"/>
          </a:solidFill>
          <a:latin typeface="+mn-lt"/>
          <a:ea typeface="+mn-ea"/>
          <a:cs typeface="+mn-cs"/>
        </a:defRPr>
      </a:lvl5pPr>
      <a:lvl6pPr marL="1092200" indent="0" algn="l" defTabSz="914400" rtl="0" eaLnBrk="1" latinLnBrk="0" hangingPunct="1">
        <a:spcBef>
          <a:spcPct val="2000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70000" indent="-176213" algn="l" defTabSz="914400" rtl="0" eaLnBrk="1" latinLnBrk="0" hangingPunct="1">
        <a:spcBef>
          <a:spcPct val="20000"/>
        </a:spcBef>
        <a:buClr>
          <a:srgbClr val="FF9E27"/>
        </a:buClr>
        <a:buSzPct val="8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625600" indent="0" algn="l" defTabSz="914400" rtl="0" eaLnBrk="1" latinLnBrk="0" hangingPunct="1">
        <a:spcBef>
          <a:spcPct val="2000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803400" indent="-176213" algn="l" defTabSz="914400" rtl="0" eaLnBrk="1" latinLnBrk="0" hangingPunct="1">
        <a:spcBef>
          <a:spcPct val="20000"/>
        </a:spcBef>
        <a:buClr>
          <a:srgbClr val="FF9E27"/>
        </a:buClr>
        <a:buSzPct val="80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4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jpeg"/><Relationship Id="rId18" Type="http://schemas.openxmlformats.org/officeDocument/2006/relationships/image" Target="../media/image3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12" Type="http://schemas.openxmlformats.org/officeDocument/2006/relationships/image" Target="../media/image25.jpeg"/><Relationship Id="rId17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9.jpe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5" Type="http://schemas.openxmlformats.org/officeDocument/2006/relationships/image" Target="../media/image28.jpeg"/><Relationship Id="rId10" Type="http://schemas.openxmlformats.org/officeDocument/2006/relationships/image" Target="../media/image23.jpeg"/><Relationship Id="rId19" Type="http://schemas.openxmlformats.org/officeDocument/2006/relationships/image" Target="../media/image32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8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37.jpeg"/><Relationship Id="rId5" Type="http://schemas.openxmlformats.org/officeDocument/2006/relationships/image" Target="../media/image36.emf"/><Relationship Id="rId10" Type="http://schemas.openxmlformats.org/officeDocument/2006/relationships/image" Target="../media/image41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4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69C53BC-33DD-412B-936E-49A5E48BD1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61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69C53BC-33DD-412B-936E-49A5E48BD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Klärschlammverwertung und Phosphorrecycli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92800" y="1852200"/>
            <a:ext cx="6120000" cy="540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bei EEW Energy from Waste </a:t>
            </a:r>
          </a:p>
        </p:txBody>
      </p:sp>
      <p:sp>
        <p:nvSpPr>
          <p:cNvPr id="5" name="Ort_Datum"/>
          <p:cNvSpPr txBox="1"/>
          <p:nvPr/>
        </p:nvSpPr>
        <p:spPr>
          <a:xfrm>
            <a:off x="892800" y="2299867"/>
            <a:ext cx="2772000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Bef>
                <a:spcPts val="800"/>
              </a:spcBef>
            </a:pPr>
            <a:r>
              <a:rPr lang="de-DE" sz="1200" dirty="0">
                <a:solidFill>
                  <a:srgbClr val="9F0F00"/>
                </a:solidFill>
                <a:latin typeface="Calibri"/>
              </a:rPr>
              <a:t>Lübeck, 13.03.2024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>
            <a:extLst>
              <a:ext uri="{FF2B5EF4-FFF2-40B4-BE49-F238E27FC236}">
                <a16:creationId xmlns:a16="http://schemas.microsoft.com/office/drawing/2014/main" id="{3962D04D-0FC1-45F6-A321-3853EDEA88C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322" t="624" r="-128" b="-438"/>
          <a:stretch/>
        </p:blipFill>
        <p:spPr>
          <a:xfrm>
            <a:off x="-1" y="0"/>
            <a:ext cx="9164171" cy="515368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D37A7FB-4107-4B21-BB7D-C914C64ED5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9724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8" imgH="408" progId="TCLayout.ActiveDocument.1">
                  <p:embed/>
                </p:oleObj>
              </mc:Choice>
              <mc:Fallback>
                <p:oleObj name="think-cell Folie" r:id="rId5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D37A7FB-4107-4B21-BB7D-C914C64ED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B54A4D7-9672-412F-BCEF-F2ACA2642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209" y="-1027483"/>
            <a:ext cx="6840000" cy="756000"/>
          </a:xfrm>
        </p:spPr>
        <p:txBody>
          <a:bodyPr vert="horz"/>
          <a:lstStyle/>
          <a:p>
            <a:r>
              <a:rPr lang="de-DE" sz="2400" dirty="0"/>
              <a:t>Lebenswichtige Ressource Phosphor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72573C4-A4B5-4709-BD22-7F6C2E7D3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D96746A-8D72-5CC0-CBD3-45CEF1DD153F}"/>
              </a:ext>
            </a:extLst>
          </p:cNvPr>
          <p:cNvSpPr/>
          <p:nvPr/>
        </p:nvSpPr>
        <p:spPr>
          <a:xfrm>
            <a:off x="0" y="-1"/>
            <a:ext cx="9143997" cy="5158231"/>
          </a:xfrm>
          <a:prstGeom prst="rect">
            <a:avLst/>
          </a:prstGeom>
          <a:gradFill flip="none" rotWithShape="1">
            <a:gsLst>
              <a:gs pos="19000">
                <a:srgbClr val="FF9E27">
                  <a:lumMod val="100000"/>
                  <a:alpha val="70000"/>
                </a:srgbClr>
              </a:gs>
              <a:gs pos="97000">
                <a:srgbClr val="9F0F00">
                  <a:alpha val="86000"/>
                </a:srgbClr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983A4E2B-271C-72E3-0811-4BA58892D00C}"/>
              </a:ext>
            </a:extLst>
          </p:cNvPr>
          <p:cNvSpPr txBox="1">
            <a:spLocks/>
          </p:cNvSpPr>
          <p:nvPr/>
        </p:nvSpPr>
        <p:spPr>
          <a:xfrm>
            <a:off x="419100" y="1391738"/>
            <a:ext cx="5897176" cy="1371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138" indent="-211137" algn="l" defTabSz="914400" rtl="0" eaLnBrk="1" latinLnBrk="0" hangingPunct="1">
              <a:spcBef>
                <a:spcPts val="8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1975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3038" algn="l" defTabSz="914400" rtl="0" eaLnBrk="1" latinLnBrk="0" hangingPunct="1">
              <a:spcBef>
                <a:spcPts val="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b="1" kern="1200">
                <a:solidFill>
                  <a:srgbClr val="9F0F00"/>
                </a:solidFill>
                <a:latin typeface="+mn-lt"/>
                <a:ea typeface="+mn-ea"/>
                <a:cs typeface="+mn-cs"/>
              </a:defRPr>
            </a:lvl5pPr>
            <a:lvl6pPr marL="1092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700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5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034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  <a:spcBef>
                <a:spcPts val="0"/>
              </a:spcBef>
            </a:pPr>
            <a:endParaRPr lang="en-US" sz="4400" b="1" dirty="0">
              <a:solidFill>
                <a:schemeClr val="bg1"/>
              </a:solidFill>
            </a:endParaRPr>
          </a:p>
          <a:p>
            <a:pPr>
              <a:lnSpc>
                <a:spcPct val="70000"/>
              </a:lnSpc>
              <a:spcBef>
                <a:spcPts val="0"/>
              </a:spcBef>
            </a:pPr>
            <a:r>
              <a:rPr lang="en-US" sz="4400" b="1" dirty="0" err="1">
                <a:solidFill>
                  <a:schemeClr val="bg1"/>
                </a:solidFill>
              </a:rPr>
              <a:t>Lebensnotwendige</a:t>
            </a:r>
            <a:r>
              <a:rPr lang="en-US" sz="4400" b="1" dirty="0">
                <a:solidFill>
                  <a:schemeClr val="bg1"/>
                </a:solidFill>
              </a:rPr>
              <a:t> </a:t>
            </a:r>
            <a:r>
              <a:rPr lang="en-US" sz="4400" b="1" dirty="0" err="1">
                <a:solidFill>
                  <a:schemeClr val="bg1"/>
                </a:solidFill>
              </a:rPr>
              <a:t>Ressource</a:t>
            </a:r>
            <a:r>
              <a:rPr lang="en-US" sz="4400" b="1" dirty="0">
                <a:solidFill>
                  <a:schemeClr val="bg1"/>
                </a:solidFill>
              </a:rPr>
              <a:t> Phosphor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8F35265-014C-C585-42C6-1AB4DCB18979}"/>
              </a:ext>
            </a:extLst>
          </p:cNvPr>
          <p:cNvSpPr/>
          <p:nvPr/>
        </p:nvSpPr>
        <p:spPr>
          <a:xfrm>
            <a:off x="419100" y="1149350"/>
            <a:ext cx="660400" cy="3556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rgbClr val="A52E15"/>
                </a:solidFill>
              </a:rPr>
              <a:t>3.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C7A6A2BF-0D0A-785B-CD5B-95303ECFCF48}"/>
              </a:ext>
            </a:extLst>
          </p:cNvPr>
          <p:cNvSpPr txBox="1">
            <a:spLocks/>
          </p:cNvSpPr>
          <p:nvPr/>
        </p:nvSpPr>
        <p:spPr>
          <a:xfrm>
            <a:off x="8233200" y="4862700"/>
            <a:ext cx="514800" cy="1161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rgbClr val="6E6E6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639E044-4B05-4C62-84D8-314F036569E5}" type="slidenum">
              <a:rPr lang="de-DE" smtClean="0">
                <a:solidFill>
                  <a:schemeClr val="bg1"/>
                </a:solidFill>
              </a:rPr>
              <a:pPr/>
              <a:t>10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CDC96E3-34A3-1D95-BBAD-4B80DE9637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233201" y="151768"/>
            <a:ext cx="659865" cy="60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906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B980F6C-AF7C-4761-9405-CDC2C51E21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2194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B980F6C-AF7C-4761-9405-CDC2C51E2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602BA7-663C-4B7E-83E8-2A9A33AAD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D75D630-173D-B95B-3396-B1B4A9D474E3}"/>
              </a:ext>
            </a:extLst>
          </p:cNvPr>
          <p:cNvSpPr txBox="1">
            <a:spLocks/>
          </p:cNvSpPr>
          <p:nvPr/>
        </p:nvSpPr>
        <p:spPr>
          <a:xfrm>
            <a:off x="396000" y="424800"/>
            <a:ext cx="6840000" cy="75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9F0F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500" dirty="0"/>
              <a:t>P-Recycling bei EEW Energy from </a:t>
            </a:r>
            <a:r>
              <a:rPr lang="de-DE" sz="2500" dirty="0" err="1"/>
              <a:t>Waste</a:t>
            </a:r>
            <a:endParaRPr lang="de-DE" sz="2500" dirty="0"/>
          </a:p>
          <a:p>
            <a:r>
              <a:rPr lang="de-DE" sz="2500" dirty="0">
                <a:solidFill>
                  <a:schemeClr val="accent2"/>
                </a:solidFill>
              </a:rPr>
              <a:t>Aktivitäten &amp; Planungen 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5B5A5-9D22-4DBA-475F-5E31279EAA70}"/>
              </a:ext>
            </a:extLst>
          </p:cNvPr>
          <p:cNvSpPr/>
          <p:nvPr/>
        </p:nvSpPr>
        <p:spPr>
          <a:xfrm>
            <a:off x="631866" y="1561968"/>
            <a:ext cx="2364609" cy="14689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de-DE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9CAFB28-4C9E-349E-D5C0-F001F4B05DCF}"/>
              </a:ext>
            </a:extLst>
          </p:cNvPr>
          <p:cNvSpPr txBox="1"/>
          <p:nvPr/>
        </p:nvSpPr>
        <p:spPr>
          <a:xfrm>
            <a:off x="684058" y="1954381"/>
            <a:ext cx="2243837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71450">
              <a:spcAft>
                <a:spcPts val="300"/>
              </a:spcAft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Annahme Schlämme verpflichtet ab 2029 zum P-Recycling</a:t>
            </a:r>
          </a:p>
          <a:p>
            <a:pPr marL="180975" indent="-171450">
              <a:spcAft>
                <a:spcPts val="300"/>
              </a:spcAft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EEW z.T. schon heute verpflichtet </a:t>
            </a:r>
          </a:p>
          <a:p>
            <a:pPr marL="180975" indent="-171450">
              <a:spcAft>
                <a:spcPts val="300"/>
              </a:spcAft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EEW Ascheaufkommen 2029: 70.000 Mg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8067985C-C891-F533-0E71-E7707071202A}"/>
              </a:ext>
            </a:extLst>
          </p:cNvPr>
          <p:cNvSpPr/>
          <p:nvPr/>
        </p:nvSpPr>
        <p:spPr>
          <a:xfrm>
            <a:off x="613495" y="1561967"/>
            <a:ext cx="2382979" cy="302559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b="1" dirty="0"/>
              <a:t>Ausgangslage</a:t>
            </a:r>
          </a:p>
        </p:txBody>
      </p:sp>
      <p:sp>
        <p:nvSpPr>
          <p:cNvPr id="1029" name="Rechteck 1028">
            <a:extLst>
              <a:ext uri="{FF2B5EF4-FFF2-40B4-BE49-F238E27FC236}">
                <a16:creationId xmlns:a16="http://schemas.microsoft.com/office/drawing/2014/main" id="{C1C15734-0F89-A0E1-85B0-8134CB73832D}"/>
              </a:ext>
            </a:extLst>
          </p:cNvPr>
          <p:cNvSpPr/>
          <p:nvPr/>
        </p:nvSpPr>
        <p:spPr>
          <a:xfrm>
            <a:off x="626064" y="3111368"/>
            <a:ext cx="2364609" cy="14689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de-DE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30" name="Textfeld 1029">
            <a:extLst>
              <a:ext uri="{FF2B5EF4-FFF2-40B4-BE49-F238E27FC236}">
                <a16:creationId xmlns:a16="http://schemas.microsoft.com/office/drawing/2014/main" id="{4ACFA503-2C14-7400-BAEC-270C642B8652}"/>
              </a:ext>
            </a:extLst>
          </p:cNvPr>
          <p:cNvSpPr txBox="1"/>
          <p:nvPr/>
        </p:nvSpPr>
        <p:spPr>
          <a:xfrm>
            <a:off x="678256" y="3503781"/>
            <a:ext cx="2243837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71450">
              <a:spcAft>
                <a:spcPts val="300"/>
              </a:spcAft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Beginn P-Recycling </a:t>
            </a:r>
            <a:r>
              <a:rPr lang="de-DE" sz="1200" u="sng" dirty="0"/>
              <a:t>vor</a:t>
            </a:r>
            <a:r>
              <a:rPr lang="de-DE" sz="1200" dirty="0"/>
              <a:t> 2029</a:t>
            </a:r>
          </a:p>
          <a:p>
            <a:pPr marL="180975" indent="-171450">
              <a:spcAft>
                <a:spcPts val="300"/>
              </a:spcAft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/>
              <a:t>Aufbau eigener oder Sicherung Verwertungskapazitäten</a:t>
            </a:r>
            <a:endParaRPr lang="de-DE" sz="1200" dirty="0"/>
          </a:p>
          <a:p>
            <a:pPr marL="180975" indent="-171450">
              <a:spcAft>
                <a:spcPts val="300"/>
              </a:spcAft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Direkte Rückführung von P als Dünger in Landwirtschaft </a:t>
            </a:r>
            <a:r>
              <a:rPr lang="de-DE" sz="600" dirty="0"/>
              <a:t>(Deutschland)</a:t>
            </a:r>
            <a:endParaRPr lang="de-DE" sz="1200" dirty="0"/>
          </a:p>
        </p:txBody>
      </p:sp>
      <p:sp>
        <p:nvSpPr>
          <p:cNvPr id="1031" name="Rechteck: abgerundete Ecken 1030">
            <a:extLst>
              <a:ext uri="{FF2B5EF4-FFF2-40B4-BE49-F238E27FC236}">
                <a16:creationId xmlns:a16="http://schemas.microsoft.com/office/drawing/2014/main" id="{213D8179-A60B-9167-9C93-3D4DF69AC7C1}"/>
              </a:ext>
            </a:extLst>
          </p:cNvPr>
          <p:cNvSpPr/>
          <p:nvPr/>
        </p:nvSpPr>
        <p:spPr>
          <a:xfrm>
            <a:off x="607693" y="3111367"/>
            <a:ext cx="2382979" cy="302559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b="1" dirty="0"/>
              <a:t>EEW Ziele</a:t>
            </a:r>
          </a:p>
        </p:txBody>
      </p:sp>
      <p:sp>
        <p:nvSpPr>
          <p:cNvPr id="1043" name="Gleichschenkliges Dreieck 1042">
            <a:extLst>
              <a:ext uri="{FF2B5EF4-FFF2-40B4-BE49-F238E27FC236}">
                <a16:creationId xmlns:a16="http://schemas.microsoft.com/office/drawing/2014/main" id="{F83FAC73-399C-E843-4DB9-995440E8D1E5}"/>
              </a:ext>
            </a:extLst>
          </p:cNvPr>
          <p:cNvSpPr/>
          <p:nvPr/>
        </p:nvSpPr>
        <p:spPr>
          <a:xfrm rot="5400000">
            <a:off x="1755031" y="2917660"/>
            <a:ext cx="3018301" cy="306919"/>
          </a:xfrm>
          <a:prstGeom prst="triangle">
            <a:avLst/>
          </a:prstGeom>
          <a:solidFill>
            <a:srgbClr val="9F0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48" name="Rechteck: abgerundete Ecken 1047">
            <a:extLst>
              <a:ext uri="{FF2B5EF4-FFF2-40B4-BE49-F238E27FC236}">
                <a16:creationId xmlns:a16="http://schemas.microsoft.com/office/drawing/2014/main" id="{AA213324-B541-6A4C-0583-5E334E963A71}"/>
              </a:ext>
            </a:extLst>
          </p:cNvPr>
          <p:cNvSpPr/>
          <p:nvPr/>
        </p:nvSpPr>
        <p:spPr>
          <a:xfrm>
            <a:off x="3524073" y="1477186"/>
            <a:ext cx="5052536" cy="302559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de-DE" sz="1200" b="1" dirty="0"/>
              <a:t>Markt- und Technologiebewertung durch Innovationsteam von EEW</a:t>
            </a:r>
            <a:endParaRPr lang="de-DE" sz="1200" b="1" dirty="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1028" name="Grafik 1027">
            <a:extLst>
              <a:ext uri="{FF2B5EF4-FFF2-40B4-BE49-F238E27FC236}">
                <a16:creationId xmlns:a16="http://schemas.microsoft.com/office/drawing/2014/main" id="{54034691-3140-4E4A-1133-A0ED2B0359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17642" y="2247689"/>
            <a:ext cx="5634918" cy="1474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075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6C208C88-BCC8-430E-A890-D05A5AC2B9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55219" y="-227680"/>
            <a:ext cx="9299216" cy="5598860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D37A7FB-4107-4B21-BB7D-C914C64ED5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8" imgH="408" progId="TCLayout.ActiveDocument.1">
                  <p:embed/>
                </p:oleObj>
              </mc:Choice>
              <mc:Fallback>
                <p:oleObj name="think-cell Folie" r:id="rId5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D37A7FB-4107-4B21-BB7D-C914C64ED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B54A4D7-9672-412F-BCEF-F2ACA26429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209" y="-1027483"/>
            <a:ext cx="6840000" cy="756000"/>
          </a:xfrm>
        </p:spPr>
        <p:txBody>
          <a:bodyPr vert="horz"/>
          <a:lstStyle/>
          <a:p>
            <a:r>
              <a:rPr lang="de-DE" sz="2400" dirty="0"/>
              <a:t>Lebenswichtige Ressource Phosphor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72573C4-A4B5-4709-BD22-7F6C2E7D3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9E044-4B05-4C62-84D8-314F036569E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6E6E6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6E6E6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D96746A-8D72-5CC0-CBD3-45CEF1DD153F}"/>
              </a:ext>
            </a:extLst>
          </p:cNvPr>
          <p:cNvSpPr/>
          <p:nvPr/>
        </p:nvSpPr>
        <p:spPr>
          <a:xfrm>
            <a:off x="-155216" y="-135742"/>
            <a:ext cx="9299216" cy="5414983"/>
          </a:xfrm>
          <a:prstGeom prst="rect">
            <a:avLst/>
          </a:prstGeom>
          <a:gradFill flip="none" rotWithShape="1">
            <a:gsLst>
              <a:gs pos="19000">
                <a:srgbClr val="FF9E27">
                  <a:lumMod val="100000"/>
                  <a:alpha val="70000"/>
                </a:srgbClr>
              </a:gs>
              <a:gs pos="97000">
                <a:srgbClr val="9F0F00">
                  <a:alpha val="86000"/>
                </a:srgbClr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983A4E2B-271C-72E3-0811-4BA58892D00C}"/>
              </a:ext>
            </a:extLst>
          </p:cNvPr>
          <p:cNvSpPr txBox="1">
            <a:spLocks/>
          </p:cNvSpPr>
          <p:nvPr/>
        </p:nvSpPr>
        <p:spPr>
          <a:xfrm>
            <a:off x="419100" y="1391738"/>
            <a:ext cx="5897176" cy="1371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138" indent="-211137" algn="l" defTabSz="914400" rtl="0" eaLnBrk="1" latinLnBrk="0" hangingPunct="1">
              <a:spcBef>
                <a:spcPts val="8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1975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3038" algn="l" defTabSz="914400" rtl="0" eaLnBrk="1" latinLnBrk="0" hangingPunct="1">
              <a:spcBef>
                <a:spcPts val="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b="1" kern="1200">
                <a:solidFill>
                  <a:srgbClr val="9F0F00"/>
                </a:solidFill>
                <a:latin typeface="+mn-lt"/>
                <a:ea typeface="+mn-ea"/>
                <a:cs typeface="+mn-cs"/>
              </a:defRPr>
            </a:lvl5pPr>
            <a:lvl6pPr marL="1092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700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5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034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kussion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E8F35265-014C-C585-42C6-1AB4DCB18979}"/>
              </a:ext>
            </a:extLst>
          </p:cNvPr>
          <p:cNvSpPr/>
          <p:nvPr/>
        </p:nvSpPr>
        <p:spPr>
          <a:xfrm>
            <a:off x="419100" y="1149350"/>
            <a:ext cx="660400" cy="3556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dirty="0">
                <a:solidFill>
                  <a:srgbClr val="A52E15"/>
                </a:solidFill>
                <a:latin typeface="Calibri"/>
              </a:rPr>
              <a:t>4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A52E1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C7A6A2BF-0D0A-785B-CD5B-95303ECFCF48}"/>
              </a:ext>
            </a:extLst>
          </p:cNvPr>
          <p:cNvSpPr txBox="1">
            <a:spLocks/>
          </p:cNvSpPr>
          <p:nvPr/>
        </p:nvSpPr>
        <p:spPr>
          <a:xfrm>
            <a:off x="8233200" y="4862700"/>
            <a:ext cx="514800" cy="1161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rgbClr val="6E6E6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39E044-4B05-4C62-84D8-314F036569E5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CDC96E3-34A3-1D95-BBAD-4B80DE9637B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233201" y="151768"/>
            <a:ext cx="659865" cy="60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12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868F258-994D-4D2A-A596-92608365D0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3182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868F258-994D-4D2A-A596-92608365D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91B818A9-2E6C-467E-BCC0-35742D6E0988}"/>
              </a:ext>
            </a:extLst>
          </p:cNvPr>
          <p:cNvSpPr/>
          <p:nvPr/>
        </p:nvSpPr>
        <p:spPr>
          <a:xfrm>
            <a:off x="2934552" y="2929058"/>
            <a:ext cx="4995371" cy="5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ww.wegweisende-klärschlammverwertung.d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1766296-3933-4E4E-85BD-57410834521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3413" y="1413819"/>
            <a:ext cx="1182327" cy="118232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A2B7E05-0475-406C-AA81-646ECC7C6BB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3413" y="2699578"/>
            <a:ext cx="1182327" cy="1182327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AB0B6ACA-6210-4C12-D9DF-D1A21D0E6BCF}"/>
              </a:ext>
            </a:extLst>
          </p:cNvPr>
          <p:cNvSpPr/>
          <p:nvPr/>
        </p:nvSpPr>
        <p:spPr>
          <a:xfrm>
            <a:off x="2934552" y="1750983"/>
            <a:ext cx="3770142" cy="50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ww.eew-energyfromwaste.com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436D796C-B2A7-F686-8EFD-AF3DD837608B}"/>
              </a:ext>
            </a:extLst>
          </p:cNvPr>
          <p:cNvSpPr txBox="1">
            <a:spLocks/>
          </p:cNvSpPr>
          <p:nvPr/>
        </p:nvSpPr>
        <p:spPr>
          <a:xfrm>
            <a:off x="396000" y="424800"/>
            <a:ext cx="6840000" cy="75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9F0F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500" dirty="0"/>
              <a:t>Vielen Dank.</a:t>
            </a:r>
            <a:br>
              <a:rPr lang="de-DE" sz="2500" dirty="0"/>
            </a:br>
            <a:endParaRPr lang="de-DE" sz="2500" dirty="0">
              <a:solidFill>
                <a:schemeClr val="accent2"/>
              </a:solidFill>
            </a:endParaRPr>
          </a:p>
        </p:txBody>
      </p:sp>
      <p:pic>
        <p:nvPicPr>
          <p:cNvPr id="11" name="Grafik 10" descr="EEW-Energiefluss_A4quer-2_sRGB.png">
            <a:extLst>
              <a:ext uri="{FF2B5EF4-FFF2-40B4-BE49-F238E27FC236}">
                <a16:creationId xmlns:a16="http://schemas.microsoft.com/office/drawing/2014/main" id="{F393BFE1-F505-858D-FB7B-3249F6ACFB9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/>
          <a:srcRect t="34908" b="34186"/>
          <a:stretch/>
        </p:blipFill>
        <p:spPr>
          <a:xfrm>
            <a:off x="0" y="3644634"/>
            <a:ext cx="9144000" cy="1498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47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47B0B5D6-5FC4-F9CA-1258-09DB2B3D407F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87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br>
              <a:rPr lang="de-DE" dirty="0"/>
            </a:br>
            <a:endParaRPr lang="de-DE" dirty="0"/>
          </a:p>
        </p:txBody>
      </p:sp>
      <p:cxnSp>
        <p:nvCxnSpPr>
          <p:cNvPr id="6" name="Gerade Verbindung 5"/>
          <p:cNvCxnSpPr/>
          <p:nvPr/>
        </p:nvCxnSpPr>
        <p:spPr bwMode="auto">
          <a:xfrm>
            <a:off x="673200" y="2375350"/>
            <a:ext cx="6120000" cy="0"/>
          </a:xfrm>
          <a:prstGeom prst="line">
            <a:avLst/>
          </a:prstGeom>
          <a:solidFill>
            <a:srgbClr val="FFFFFF"/>
          </a:solidFill>
          <a:ln w="12700" cap="sq" cmpd="sng" algn="ctr">
            <a:solidFill>
              <a:schemeClr val="bg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7" name="Gerade Verbindung 6"/>
          <p:cNvCxnSpPr/>
          <p:nvPr/>
        </p:nvCxnSpPr>
        <p:spPr bwMode="auto">
          <a:xfrm>
            <a:off x="673200" y="1835350"/>
            <a:ext cx="6120000" cy="0"/>
          </a:xfrm>
          <a:prstGeom prst="line">
            <a:avLst/>
          </a:prstGeom>
          <a:solidFill>
            <a:srgbClr val="FFFFFF"/>
          </a:solidFill>
          <a:ln w="12700" cap="sq" cmpd="sng" algn="ctr">
            <a:solidFill>
              <a:schemeClr val="bg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grpSp>
        <p:nvGrpSpPr>
          <p:cNvPr id="8" name="EEW_Agenda_Gruppe3"/>
          <p:cNvGrpSpPr/>
          <p:nvPr/>
        </p:nvGrpSpPr>
        <p:grpSpPr>
          <a:xfrm>
            <a:off x="414000" y="2483350"/>
            <a:ext cx="6124971" cy="321337"/>
            <a:chOff x="395288" y="3038224"/>
            <a:chExt cx="5653820" cy="321337"/>
          </a:xfrm>
        </p:grpSpPr>
        <p:sp>
          <p:nvSpPr>
            <p:cNvPr id="9" name="Textfeld 8"/>
            <p:cNvSpPr txBox="1"/>
            <p:nvPr/>
          </p:nvSpPr>
          <p:spPr>
            <a:xfrm>
              <a:off x="1233394" y="3038224"/>
              <a:ext cx="4815714" cy="32133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136800" indent="-177800">
                <a:defRPr sz="2000" b="1">
                  <a:solidFill>
                    <a:srgbClr val="000000"/>
                  </a:solidFill>
                </a:defRPr>
              </a:lvl1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D4360F"/>
                </a:buClr>
                <a:defRPr/>
              </a:pPr>
              <a:r>
                <a:rPr lang="de-DE" b="0" kern="0" dirty="0"/>
                <a:t>Lebenswichtige Ressource Phosphor</a:t>
              </a:r>
            </a:p>
          </p:txBody>
        </p:sp>
        <p:sp>
          <p:nvSpPr>
            <p:cNvPr id="10" name="Rectangle 11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95288" y="3038225"/>
              <a:ext cx="534727" cy="321336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1800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D4360F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de-DE" sz="2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3.</a:t>
              </a:r>
            </a:p>
          </p:txBody>
        </p:sp>
      </p:grpSp>
      <p:grpSp>
        <p:nvGrpSpPr>
          <p:cNvPr id="11" name="EEW_Agenda_Gruppe2"/>
          <p:cNvGrpSpPr/>
          <p:nvPr/>
        </p:nvGrpSpPr>
        <p:grpSpPr>
          <a:xfrm>
            <a:off x="414000" y="1943350"/>
            <a:ext cx="6124972" cy="321336"/>
            <a:chOff x="395288" y="2490018"/>
            <a:chExt cx="5653821" cy="321336"/>
          </a:xfrm>
        </p:grpSpPr>
        <p:sp>
          <p:nvSpPr>
            <p:cNvPr id="12" name="Textfeld 11"/>
            <p:cNvSpPr txBox="1"/>
            <p:nvPr/>
          </p:nvSpPr>
          <p:spPr>
            <a:xfrm>
              <a:off x="1220689" y="2490018"/>
              <a:ext cx="4828420" cy="32133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marL="136800" indent="-177800">
                <a:defRPr sz="2000" b="1">
                  <a:solidFill>
                    <a:srgbClr val="000000"/>
                  </a:solidFill>
                </a:defRPr>
              </a:lvl1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D4360F"/>
                </a:buClr>
                <a:defRPr/>
              </a:pPr>
              <a:r>
                <a:rPr lang="en-US" b="0" kern="0" dirty="0" err="1"/>
                <a:t>Thermische</a:t>
              </a:r>
              <a:r>
                <a:rPr lang="en-US" b="0" kern="0" dirty="0"/>
                <a:t> Klärschlammverwertung </a:t>
              </a:r>
              <a:r>
                <a:rPr lang="en-US" b="0" kern="0" dirty="0" err="1"/>
                <a:t>bei</a:t>
              </a:r>
              <a:r>
                <a:rPr lang="en-US" b="0" kern="0" dirty="0"/>
                <a:t> EEW</a:t>
              </a:r>
            </a:p>
          </p:txBody>
        </p:sp>
        <p:sp>
          <p:nvSpPr>
            <p:cNvPr id="13" name="Rectangle 11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95288" y="2490018"/>
              <a:ext cx="534727" cy="321336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0" rIns="0" bIns="1800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D4360F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de-DE" sz="2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2.</a:t>
              </a:r>
            </a:p>
          </p:txBody>
        </p:sp>
      </p:grpSp>
      <p:grpSp>
        <p:nvGrpSpPr>
          <p:cNvPr id="14" name="EEW_Agenda_Gruppe1"/>
          <p:cNvGrpSpPr/>
          <p:nvPr/>
        </p:nvGrpSpPr>
        <p:grpSpPr>
          <a:xfrm>
            <a:off x="414000" y="1403350"/>
            <a:ext cx="5667744" cy="321336"/>
            <a:chOff x="395288" y="1941812"/>
            <a:chExt cx="5231764" cy="321336"/>
          </a:xfrm>
        </p:grpSpPr>
        <p:sp>
          <p:nvSpPr>
            <p:cNvPr id="15" name="Textfeld 14"/>
            <p:cNvSpPr txBox="1"/>
            <p:nvPr/>
          </p:nvSpPr>
          <p:spPr>
            <a:xfrm>
              <a:off x="1230469" y="1941812"/>
              <a:ext cx="4396583" cy="32133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136800" lvl="0" indent="-177800" fontAlgn="base">
                <a:spcBef>
                  <a:spcPct val="50000"/>
                </a:spcBef>
                <a:spcAft>
                  <a:spcPct val="0"/>
                </a:spcAft>
                <a:buClr>
                  <a:srgbClr val="D4360F"/>
                </a:buClr>
                <a:defRPr/>
              </a:pPr>
              <a:r>
                <a:rPr lang="de-DE" sz="2000" dirty="0"/>
                <a:t>Vorstellung EEW Energy from Waste GmbH</a:t>
              </a:r>
              <a:endParaRPr lang="de-DE" sz="2000" kern="0" dirty="0"/>
            </a:p>
          </p:txBody>
        </p:sp>
        <p:sp>
          <p:nvSpPr>
            <p:cNvPr id="16" name="Rectangle 1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95288" y="1941812"/>
              <a:ext cx="534727" cy="321336"/>
            </a:xfrm>
            <a:prstGeom prst="rect">
              <a:avLst/>
            </a:prstGeom>
            <a:solidFill>
              <a:schemeClr val="accent2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D4360F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kumimoji="0" lang="de-DE" sz="20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1.</a:t>
              </a:r>
            </a:p>
          </p:txBody>
        </p:sp>
      </p:grpSp>
      <p:cxnSp>
        <p:nvCxnSpPr>
          <p:cNvPr id="18" name="Gerade Verbindung 17"/>
          <p:cNvCxnSpPr/>
          <p:nvPr/>
        </p:nvCxnSpPr>
        <p:spPr bwMode="auto">
          <a:xfrm>
            <a:off x="673200" y="2915350"/>
            <a:ext cx="6120000" cy="0"/>
          </a:xfrm>
          <a:prstGeom prst="line">
            <a:avLst/>
          </a:prstGeom>
          <a:solidFill>
            <a:srgbClr val="FFFFFF"/>
          </a:solidFill>
          <a:ln w="12700" cap="sq" cmpd="sng" algn="ctr">
            <a:solidFill>
              <a:schemeClr val="bg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431508B-5987-4643-ACD9-EE89F91F0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19" name="Rectangle 114">
            <a:extLst>
              <a:ext uri="{FF2B5EF4-FFF2-40B4-BE49-F238E27FC236}">
                <a16:creationId xmlns:a16="http://schemas.microsoft.com/office/drawing/2014/main" id="{B502C943-9083-4F7F-B23A-523E5D6E6D2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21042" y="3001482"/>
            <a:ext cx="579288" cy="321336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0" rIns="0" bIns="1800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D4360F"/>
              </a:buClr>
              <a:buSzTx/>
              <a:buFont typeface="Wingdings 2" pitchFamily="18" charset="2"/>
              <a:buNone/>
              <a:tabLst/>
              <a:defRPr/>
            </a:pPr>
            <a:r>
              <a:rPr lang="de-DE" sz="2000" b="1" kern="0" dirty="0">
                <a:solidFill>
                  <a:srgbClr val="FFFFFF"/>
                </a:solidFill>
              </a:rPr>
              <a:t>4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.</a:t>
            </a:r>
          </a:p>
        </p:txBody>
      </p:sp>
      <p:cxnSp>
        <p:nvCxnSpPr>
          <p:cNvPr id="21" name="Gerade Verbindung 17">
            <a:extLst>
              <a:ext uri="{FF2B5EF4-FFF2-40B4-BE49-F238E27FC236}">
                <a16:creationId xmlns:a16="http://schemas.microsoft.com/office/drawing/2014/main" id="{F56ACA31-6D0F-426F-BE94-E56CB78B6165}"/>
              </a:ext>
            </a:extLst>
          </p:cNvPr>
          <p:cNvCxnSpPr/>
          <p:nvPr/>
        </p:nvCxnSpPr>
        <p:spPr bwMode="auto">
          <a:xfrm>
            <a:off x="673200" y="3407385"/>
            <a:ext cx="6120000" cy="0"/>
          </a:xfrm>
          <a:prstGeom prst="line">
            <a:avLst/>
          </a:prstGeom>
          <a:solidFill>
            <a:srgbClr val="FFFFFF"/>
          </a:solidFill>
          <a:ln w="12700" cap="sq" cmpd="sng" algn="ctr">
            <a:solidFill>
              <a:schemeClr val="bg2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DABB6C37-9D10-AC29-E432-5389507AB95C}"/>
              </a:ext>
            </a:extLst>
          </p:cNvPr>
          <p:cNvSpPr txBox="1"/>
          <p:nvPr/>
        </p:nvSpPr>
        <p:spPr>
          <a:xfrm>
            <a:off x="1321948" y="2981539"/>
            <a:ext cx="5217023" cy="32133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 marL="136800" indent="-177800">
              <a:defRPr sz="2000" b="1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D4360F"/>
              </a:buClr>
              <a:defRPr/>
            </a:pPr>
            <a:r>
              <a:rPr lang="de-DE" b="0" kern="0" dirty="0"/>
              <a:t>Diskussion</a:t>
            </a:r>
          </a:p>
        </p:txBody>
      </p:sp>
    </p:spTree>
    <p:extLst>
      <p:ext uri="{BB962C8B-B14F-4D97-AF65-F5344CB8AC3E}">
        <p14:creationId xmlns:p14="http://schemas.microsoft.com/office/powerpoint/2010/main" val="1432077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4" descr="Ein Bild, das Himmel, draußen, Gras, Dampf enthält.&#10;&#10;Beschreibung automatisch generiert.">
            <a:extLst>
              <a:ext uri="{FF2B5EF4-FFF2-40B4-BE49-F238E27FC236}">
                <a16:creationId xmlns:a16="http://schemas.microsoft.com/office/drawing/2014/main" id="{C4DC7E14-03BE-991F-2E34-9759A278DD8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69" t="1445" r="5813" b="9967"/>
          <a:stretch/>
        </p:blipFill>
        <p:spPr>
          <a:xfrm>
            <a:off x="-2093" y="0"/>
            <a:ext cx="9143603" cy="5158232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E1CFB91E-BBFC-2CB0-0FDB-B696C1F05061}"/>
              </a:ext>
            </a:extLst>
          </p:cNvPr>
          <p:cNvSpPr/>
          <p:nvPr/>
        </p:nvSpPr>
        <p:spPr>
          <a:xfrm>
            <a:off x="0" y="-1"/>
            <a:ext cx="9143998" cy="5158231"/>
          </a:xfrm>
          <a:prstGeom prst="rect">
            <a:avLst/>
          </a:prstGeom>
          <a:gradFill flip="none" rotWithShape="1">
            <a:gsLst>
              <a:gs pos="19000">
                <a:srgbClr val="FF9E27">
                  <a:lumMod val="100000"/>
                  <a:alpha val="70000"/>
                </a:srgbClr>
              </a:gs>
              <a:gs pos="97000">
                <a:srgbClr val="9F0F00">
                  <a:alpha val="86000"/>
                </a:srgbClr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09B3057-2B45-4079-B1BD-1C725F0E90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2470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8" imgH="408" progId="TCLayout.ActiveDocument.1">
                  <p:embed/>
                </p:oleObj>
              </mc:Choice>
              <mc:Fallback>
                <p:oleObj name="think-cell Folie" r:id="rId5" imgW="408" imgH="4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09B3057-2B45-4079-B1BD-1C725F0E90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D911B9-AFB4-4520-9B4F-F8E9DEFF1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8" name="Inhaltsplatzhalter 6">
            <a:extLst>
              <a:ext uri="{FF2B5EF4-FFF2-40B4-BE49-F238E27FC236}">
                <a16:creationId xmlns:a16="http://schemas.microsoft.com/office/drawing/2014/main" id="{626413A4-1978-A60E-B7B8-DC5524D76507}"/>
              </a:ext>
            </a:extLst>
          </p:cNvPr>
          <p:cNvSpPr txBox="1">
            <a:spLocks/>
          </p:cNvSpPr>
          <p:nvPr/>
        </p:nvSpPr>
        <p:spPr>
          <a:xfrm>
            <a:off x="324507" y="1391738"/>
            <a:ext cx="7518838" cy="1371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138" indent="-211137" algn="l" defTabSz="914400" rtl="0" eaLnBrk="1" latinLnBrk="0" hangingPunct="1">
              <a:spcBef>
                <a:spcPts val="8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1975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3038" algn="l" defTabSz="914400" rtl="0" eaLnBrk="1" latinLnBrk="0" hangingPunct="1">
              <a:spcBef>
                <a:spcPts val="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b="1" kern="1200">
                <a:solidFill>
                  <a:srgbClr val="9F0F00"/>
                </a:solidFill>
                <a:latin typeface="+mn-lt"/>
                <a:ea typeface="+mn-ea"/>
                <a:cs typeface="+mn-cs"/>
              </a:defRPr>
            </a:lvl5pPr>
            <a:lvl6pPr marL="1092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700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5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034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  <a:spcBef>
                <a:spcPts val="0"/>
              </a:spcBef>
            </a:pPr>
            <a:endParaRPr lang="en-US" sz="4400" b="1" dirty="0">
              <a:solidFill>
                <a:schemeClr val="bg1"/>
              </a:solidFill>
            </a:endParaRPr>
          </a:p>
          <a:p>
            <a:pPr>
              <a:lnSpc>
                <a:spcPct val="70000"/>
              </a:lnSpc>
              <a:spcBef>
                <a:spcPts val="0"/>
              </a:spcBef>
            </a:pPr>
            <a:r>
              <a:rPr lang="en-US" sz="4400" b="1" dirty="0">
                <a:solidFill>
                  <a:schemeClr val="bg1"/>
                </a:solidFill>
              </a:rPr>
              <a:t>EEW Energy from Waste GmbH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6C92B244-1A08-D4FA-5208-403BD5051C46}"/>
              </a:ext>
            </a:extLst>
          </p:cNvPr>
          <p:cNvSpPr/>
          <p:nvPr/>
        </p:nvSpPr>
        <p:spPr>
          <a:xfrm>
            <a:off x="419100" y="1149350"/>
            <a:ext cx="660400" cy="3556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rgbClr val="A52E15"/>
                </a:solidFill>
              </a:rPr>
              <a:t>1.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68B07CE0-060B-249E-110C-11B2ED9FAC54}"/>
              </a:ext>
            </a:extLst>
          </p:cNvPr>
          <p:cNvSpPr txBox="1">
            <a:spLocks/>
          </p:cNvSpPr>
          <p:nvPr/>
        </p:nvSpPr>
        <p:spPr>
          <a:xfrm>
            <a:off x="8233200" y="4862700"/>
            <a:ext cx="514800" cy="1161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rgbClr val="6E6E6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639E044-4B05-4C62-84D8-314F036569E5}" type="slidenum">
              <a:rPr lang="de-DE" smtClean="0">
                <a:solidFill>
                  <a:schemeClr val="bg1"/>
                </a:solidFill>
              </a:rPr>
              <a:pPr/>
              <a:t>3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5FB1218-5C10-1031-0299-CB48E0CDCA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233201" y="151768"/>
            <a:ext cx="659865" cy="60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36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500" dirty="0"/>
              <a:t>150 Jahre Fortschritt. </a:t>
            </a:r>
            <a:br>
              <a:rPr lang="de-DE" sz="2500" dirty="0"/>
            </a:br>
            <a:r>
              <a:rPr lang="de-DE" sz="2500" dirty="0">
                <a:solidFill>
                  <a:srgbClr val="FF9E27"/>
                </a:solidFill>
              </a:rPr>
              <a:t>Unsere Expertise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42" name="Fußzeilenplatzhalter 4">
            <a:extLst>
              <a:ext uri="{FF2B5EF4-FFF2-40B4-BE49-F238E27FC236}">
                <a16:creationId xmlns:a16="http://schemas.microsoft.com/office/drawing/2014/main" id="{81634E3B-02C3-44DE-BD79-9ADE73C21677}"/>
              </a:ext>
            </a:extLst>
          </p:cNvPr>
          <p:cNvSpPr txBox="1">
            <a:spLocks noGrp="1"/>
          </p:cNvSpPr>
          <p:nvPr/>
        </p:nvSpPr>
        <p:spPr bwMode="auto">
          <a:xfrm>
            <a:off x="532405" y="4362349"/>
            <a:ext cx="2825406" cy="37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eaLnBrk="0" hangingPunct="0">
              <a:spcAft>
                <a:spcPts val="800"/>
              </a:spcAft>
              <a:defRPr sz="24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buClr>
                <a:schemeClr val="accent2"/>
              </a:buClr>
              <a:buSzPct val="80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buClr>
                <a:schemeClr val="accent2"/>
              </a:buClr>
              <a:buSzPct val="80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buClr>
                <a:schemeClr val="accent2"/>
              </a:buClr>
              <a:buSzPct val="80000"/>
              <a:defRPr sz="2400" b="1">
                <a:solidFill>
                  <a:schemeClr val="accent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defRPr sz="2400" b="1">
                <a:solidFill>
                  <a:schemeClr val="accent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defRPr sz="2400" b="1">
                <a:solidFill>
                  <a:schemeClr val="accent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defRPr sz="2400" b="1">
                <a:solidFill>
                  <a:schemeClr val="accent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80000"/>
              <a:defRPr sz="2400" b="1">
                <a:solidFill>
                  <a:schemeClr val="accent1"/>
                </a:solidFill>
                <a:latin typeface="Calibri" pitchFamily="34" charset="0"/>
              </a:defRPr>
            </a:lvl9pPr>
          </a:lstStyle>
          <a:p>
            <a:pPr eaLnBrk="1" hangingPunct="1">
              <a:spcAft>
                <a:spcPct val="0"/>
              </a:spcAft>
            </a:pPr>
            <a:r>
              <a:rPr lang="de-DE" altLang="de-DE" sz="700" dirty="0">
                <a:solidFill>
                  <a:srgbClr val="82827E"/>
                </a:solidFill>
              </a:rPr>
              <a:t>*Stand: 07/2023. Referenzen: Strom-, Fernwärme- und Dampfmenge. Angenommener jährlicher Durchschnittsbedarf pro Haushalt: 3.500 kWh. </a:t>
            </a:r>
          </a:p>
        </p:txBody>
      </p: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CAD96F07-42F8-4F91-9084-D038BDBD2B65}"/>
              </a:ext>
            </a:extLst>
          </p:cNvPr>
          <p:cNvGrpSpPr/>
          <p:nvPr/>
        </p:nvGrpSpPr>
        <p:grpSpPr>
          <a:xfrm>
            <a:off x="1248347" y="1507326"/>
            <a:ext cx="6850212" cy="2478653"/>
            <a:chOff x="1015867" y="1202209"/>
            <a:chExt cx="6850212" cy="2478653"/>
          </a:xfrm>
        </p:grpSpPr>
        <p:pic>
          <p:nvPicPr>
            <p:cNvPr id="46" name="Bild 2" descr="Bildschirmfoto 2015-02-05 um 10.59.19.png">
              <a:extLst>
                <a:ext uri="{FF2B5EF4-FFF2-40B4-BE49-F238E27FC236}">
                  <a16:creationId xmlns:a16="http://schemas.microsoft.com/office/drawing/2014/main" id="{80D1DE38-9EE1-406A-957E-0AEE72442D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08440" y="1804159"/>
              <a:ext cx="1461050" cy="1204806"/>
            </a:xfrm>
            <a:prstGeom prst="rect">
              <a:avLst/>
            </a:prstGeom>
          </p:spPr>
        </p:pic>
        <p:pic>
          <p:nvPicPr>
            <p:cNvPr id="49" name="Bild 3" descr="Bildschirmfoto 2015-02-05 um 11.34.54.png">
              <a:extLst>
                <a:ext uri="{FF2B5EF4-FFF2-40B4-BE49-F238E27FC236}">
                  <a16:creationId xmlns:a16="http://schemas.microsoft.com/office/drawing/2014/main" id="{29481492-AEF9-4D90-A9C6-CF0837824F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01873" y="2481102"/>
              <a:ext cx="665487" cy="526508"/>
            </a:xfrm>
            <a:prstGeom prst="rect">
              <a:avLst/>
            </a:prstGeom>
          </p:spPr>
        </p:pic>
        <p:pic>
          <p:nvPicPr>
            <p:cNvPr id="51" name="Bild 8" descr="EEW_Icon_Müll.jpg">
              <a:extLst>
                <a:ext uri="{FF2B5EF4-FFF2-40B4-BE49-F238E27FC236}">
                  <a16:creationId xmlns:a16="http://schemas.microsoft.com/office/drawing/2014/main" id="{12B47BEA-3B1F-4918-A790-0E5B1F1E68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17420" y="2885671"/>
              <a:ext cx="586298" cy="247126"/>
            </a:xfrm>
            <a:prstGeom prst="rect">
              <a:avLst/>
            </a:prstGeom>
          </p:spPr>
        </p:pic>
        <p:pic>
          <p:nvPicPr>
            <p:cNvPr id="52" name="Bild 10" descr="EEW_Icon_Anlage.jpg">
              <a:extLst>
                <a:ext uri="{FF2B5EF4-FFF2-40B4-BE49-F238E27FC236}">
                  <a16:creationId xmlns:a16="http://schemas.microsoft.com/office/drawing/2014/main" id="{C8F7B3F5-7F45-4E15-82A8-A7D7D016D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68987" y="1225806"/>
              <a:ext cx="391871" cy="385330"/>
            </a:xfrm>
            <a:prstGeom prst="rect">
              <a:avLst/>
            </a:prstGeom>
          </p:spPr>
        </p:pic>
        <p:pic>
          <p:nvPicPr>
            <p:cNvPr id="63" name="Bild 11" descr="Bildschirmfoto 2015-02-05 um 11.03.04.png">
              <a:extLst>
                <a:ext uri="{FF2B5EF4-FFF2-40B4-BE49-F238E27FC236}">
                  <a16:creationId xmlns:a16="http://schemas.microsoft.com/office/drawing/2014/main" id="{96A84EB0-A9F9-4CB8-BDA5-A82B0AB02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62636" y="1202209"/>
              <a:ext cx="285489" cy="356229"/>
            </a:xfrm>
            <a:prstGeom prst="rect">
              <a:avLst/>
            </a:prstGeom>
          </p:spPr>
        </p:pic>
        <p:pic>
          <p:nvPicPr>
            <p:cNvPr id="64" name="Bild 12" descr="Bildschirmfoto 2015-02-05 um 11.03.13.png">
              <a:extLst>
                <a:ext uri="{FF2B5EF4-FFF2-40B4-BE49-F238E27FC236}">
                  <a16:creationId xmlns:a16="http://schemas.microsoft.com/office/drawing/2014/main" id="{62FC6970-148B-4490-92B6-FC4DE89DF93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5867" y="1838157"/>
              <a:ext cx="489410" cy="436266"/>
            </a:xfrm>
            <a:prstGeom prst="rect">
              <a:avLst/>
            </a:prstGeom>
          </p:spPr>
        </p:pic>
        <p:pic>
          <p:nvPicPr>
            <p:cNvPr id="65" name="Bild 13" descr="Bildschirmfoto 2015-02-05 um 11.02.45.png">
              <a:extLst>
                <a:ext uri="{FF2B5EF4-FFF2-40B4-BE49-F238E27FC236}">
                  <a16:creationId xmlns:a16="http://schemas.microsoft.com/office/drawing/2014/main" id="{477D8B80-E820-43E0-8EE4-CF563E952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31963" y="2729417"/>
              <a:ext cx="945748" cy="327935"/>
            </a:xfrm>
            <a:prstGeom prst="rect">
              <a:avLst/>
            </a:prstGeom>
          </p:spPr>
        </p:pic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9750937E-CE4F-4A1E-A0F0-FE2AD0DE2106}"/>
                </a:ext>
              </a:extLst>
            </p:cNvPr>
            <p:cNvSpPr txBox="1"/>
            <p:nvPr/>
          </p:nvSpPr>
          <p:spPr>
            <a:xfrm>
              <a:off x="5714653" y="3141612"/>
              <a:ext cx="1755187" cy="5392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800" dirty="0"/>
                <a:t>Erzeugter Strom für umgerechnet rund</a:t>
              </a:r>
            </a:p>
            <a:p>
              <a:pPr>
                <a:lnSpc>
                  <a:spcPts val="3200"/>
                </a:lnSpc>
              </a:pPr>
              <a:r>
                <a:rPr lang="en-GB" sz="3200" b="1" dirty="0">
                  <a:solidFill>
                    <a:schemeClr val="accent2"/>
                  </a:solidFill>
                </a:rPr>
                <a:t>685.000</a:t>
              </a:r>
              <a:endParaRPr lang="en-GB" sz="800" dirty="0"/>
            </a:p>
          </p:txBody>
        </p:sp>
        <p:cxnSp>
          <p:nvCxnSpPr>
            <p:cNvPr id="69" name="Gewinkelte Verbindung 23">
              <a:extLst>
                <a:ext uri="{FF2B5EF4-FFF2-40B4-BE49-F238E27FC236}">
                  <a16:creationId xmlns:a16="http://schemas.microsoft.com/office/drawing/2014/main" id="{468207DF-1A67-452B-964D-60615AE76A32}"/>
                </a:ext>
              </a:extLst>
            </p:cNvPr>
            <p:cNvCxnSpPr>
              <a:cxnSpLocks/>
            </p:cNvCxnSpPr>
            <p:nvPr/>
          </p:nvCxnSpPr>
          <p:spPr>
            <a:xfrm>
              <a:off x="5067359" y="2782111"/>
              <a:ext cx="2342586" cy="296955"/>
            </a:xfrm>
            <a:prstGeom prst="bentConnector3">
              <a:avLst>
                <a:gd name="adj1" fmla="val 23026"/>
              </a:avLst>
            </a:pr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2EFD665F-0673-483F-B089-C5E1AB589453}"/>
                </a:ext>
              </a:extLst>
            </p:cNvPr>
            <p:cNvSpPr txBox="1"/>
            <p:nvPr/>
          </p:nvSpPr>
          <p:spPr>
            <a:xfrm>
              <a:off x="4929157" y="1628092"/>
              <a:ext cx="2112745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 dirty="0"/>
                <a:t>Circa </a:t>
              </a:r>
              <a:r>
                <a:rPr lang="de-DE" sz="3200" b="1" dirty="0">
                  <a:solidFill>
                    <a:srgbClr val="FF9E27"/>
                  </a:solidFill>
                </a:rPr>
                <a:t>4.450.000</a:t>
              </a:r>
            </a:p>
            <a:p>
              <a:r>
                <a:rPr lang="de-DE" sz="800" dirty="0"/>
                <a:t>Megawattstunden ressourcenschonend erzeugter Prozessdampf und Fernwärme</a:t>
              </a:r>
            </a:p>
          </p:txBody>
        </p:sp>
        <p:grpSp>
          <p:nvGrpSpPr>
            <p:cNvPr id="71" name="Gruppierung 48">
              <a:extLst>
                <a:ext uri="{FF2B5EF4-FFF2-40B4-BE49-F238E27FC236}">
                  <a16:creationId xmlns:a16="http://schemas.microsoft.com/office/drawing/2014/main" id="{D2DD5CC6-153E-42AA-A6BD-4A92BF9EA35C}"/>
                </a:ext>
              </a:extLst>
            </p:cNvPr>
            <p:cNvGrpSpPr/>
            <p:nvPr/>
          </p:nvGrpSpPr>
          <p:grpSpPr>
            <a:xfrm>
              <a:off x="4441961" y="1643277"/>
              <a:ext cx="1149399" cy="975354"/>
              <a:chOff x="4486900" y="2492896"/>
              <a:chExt cx="1393060" cy="1685738"/>
            </a:xfrm>
          </p:grpSpPr>
          <p:cxnSp>
            <p:nvCxnSpPr>
              <p:cNvPr id="85" name="Gerade Verbindung 41">
                <a:extLst>
                  <a:ext uri="{FF2B5EF4-FFF2-40B4-BE49-F238E27FC236}">
                    <a16:creationId xmlns:a16="http://schemas.microsoft.com/office/drawing/2014/main" id="{03AFD83C-1777-4AD2-865F-6836D24B8F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489801" y="2512531"/>
                <a:ext cx="10191" cy="1666103"/>
              </a:xfrm>
              <a:prstGeom prst="line">
                <a:avLst/>
              </a:prstGeom>
              <a:ln w="12700" cap="rnd">
                <a:solidFill>
                  <a:srgbClr val="6E6E69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Gerade Verbindung 44">
                <a:extLst>
                  <a:ext uri="{FF2B5EF4-FFF2-40B4-BE49-F238E27FC236}">
                    <a16:creationId xmlns:a16="http://schemas.microsoft.com/office/drawing/2014/main" id="{B9A963E8-1C76-4199-B34D-A4A9E20C595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486900" y="2492896"/>
                <a:ext cx="1393060" cy="0"/>
              </a:xfrm>
              <a:prstGeom prst="line">
                <a:avLst/>
              </a:prstGeom>
              <a:ln w="12700" cap="rnd">
                <a:solidFill>
                  <a:srgbClr val="6E6E69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1CC8E6B2-E6FD-4508-8F26-614D214579F7}"/>
                </a:ext>
              </a:extLst>
            </p:cNvPr>
            <p:cNvSpPr txBox="1"/>
            <p:nvPr/>
          </p:nvSpPr>
          <p:spPr>
            <a:xfrm>
              <a:off x="1712628" y="3218177"/>
              <a:ext cx="3835496" cy="43626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 dirty="0"/>
                <a:t>Circa</a:t>
              </a:r>
            </a:p>
            <a:p>
              <a:pPr>
                <a:lnSpc>
                  <a:spcPts val="3200"/>
                </a:lnSpc>
              </a:pPr>
              <a:r>
                <a:rPr lang="de-DE" sz="3200" b="1" dirty="0">
                  <a:solidFill>
                    <a:schemeClr val="accent2"/>
                  </a:solidFill>
                </a:rPr>
                <a:t>5.000.000 </a:t>
              </a:r>
              <a:r>
                <a:rPr lang="de-DE" sz="800" dirty="0"/>
                <a:t>Tonnen energetische Verwertungskapazität </a:t>
              </a:r>
            </a:p>
          </p:txBody>
        </p: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9DB5F073-405C-49A3-862E-3CB3FFA8B0E2}"/>
                </a:ext>
              </a:extLst>
            </p:cNvPr>
            <p:cNvGrpSpPr/>
            <p:nvPr/>
          </p:nvGrpSpPr>
          <p:grpSpPr>
            <a:xfrm>
              <a:off x="1060304" y="2295983"/>
              <a:ext cx="2233278" cy="289906"/>
              <a:chOff x="800100" y="2721406"/>
              <a:chExt cx="2760488" cy="358344"/>
            </a:xfrm>
          </p:grpSpPr>
          <p:cxnSp>
            <p:nvCxnSpPr>
              <p:cNvPr id="83" name="Gerade Verbindung 63">
                <a:extLst>
                  <a:ext uri="{FF2B5EF4-FFF2-40B4-BE49-F238E27FC236}">
                    <a16:creationId xmlns:a16="http://schemas.microsoft.com/office/drawing/2014/main" id="{E9031E87-6825-4B18-A0F7-986770DF76C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560588" y="2724150"/>
                <a:ext cx="0" cy="355600"/>
              </a:xfrm>
              <a:prstGeom prst="line">
                <a:avLst/>
              </a:prstGeom>
              <a:ln w="12700" cap="rnd">
                <a:solidFill>
                  <a:srgbClr val="6E6E69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Gerade Verbindung 64">
                <a:extLst>
                  <a:ext uri="{FF2B5EF4-FFF2-40B4-BE49-F238E27FC236}">
                    <a16:creationId xmlns:a16="http://schemas.microsoft.com/office/drawing/2014/main" id="{1DB59B39-5D74-47C5-B658-4970DE9FC535}"/>
                  </a:ext>
                </a:extLst>
              </p:cNvPr>
              <p:cNvCxnSpPr/>
              <p:nvPr/>
            </p:nvCxnSpPr>
            <p:spPr>
              <a:xfrm>
                <a:off x="800100" y="2721406"/>
                <a:ext cx="2754000" cy="2744"/>
              </a:xfrm>
              <a:prstGeom prst="line">
                <a:avLst/>
              </a:prstGeom>
              <a:ln w="12700" cap="rnd">
                <a:solidFill>
                  <a:srgbClr val="6E6E69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C7767520-F61D-4C2E-B778-131FA03880CF}"/>
                </a:ext>
              </a:extLst>
            </p:cNvPr>
            <p:cNvSpPr txBox="1"/>
            <p:nvPr/>
          </p:nvSpPr>
          <p:spPr>
            <a:xfrm>
              <a:off x="1036043" y="2261556"/>
              <a:ext cx="172680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de-DE" sz="3200" b="1" dirty="0">
                  <a:solidFill>
                    <a:schemeClr val="accent2"/>
                  </a:solidFill>
                </a:rPr>
                <a:t>1.400 </a:t>
              </a:r>
              <a:r>
                <a:rPr lang="de-DE" sz="800" dirty="0"/>
                <a:t>Mitarbeitende</a:t>
              </a: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0CE58E41-4568-4880-8530-195F0E64B34B}"/>
                </a:ext>
              </a:extLst>
            </p:cNvPr>
            <p:cNvSpPr txBox="1"/>
            <p:nvPr/>
          </p:nvSpPr>
          <p:spPr>
            <a:xfrm>
              <a:off x="2380399" y="1626119"/>
              <a:ext cx="1495798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3200" b="1" dirty="0">
                  <a:solidFill>
                    <a:srgbClr val="FF9E27"/>
                  </a:solidFill>
                </a:rPr>
                <a:t>17</a:t>
              </a:r>
              <a:endParaRPr lang="de-DE" sz="900" dirty="0"/>
            </a:p>
          </p:txBody>
        </p:sp>
        <p:cxnSp>
          <p:nvCxnSpPr>
            <p:cNvPr id="76" name="Gerade Verbindung 71">
              <a:extLst>
                <a:ext uri="{FF2B5EF4-FFF2-40B4-BE49-F238E27FC236}">
                  <a16:creationId xmlns:a16="http://schemas.microsoft.com/office/drawing/2014/main" id="{0CF9BD74-D860-4528-9155-961A8994DF8C}"/>
                </a:ext>
              </a:extLst>
            </p:cNvPr>
            <p:cNvCxnSpPr>
              <a:cxnSpLocks/>
            </p:cNvCxnSpPr>
            <p:nvPr/>
          </p:nvCxnSpPr>
          <p:spPr>
            <a:xfrm>
              <a:off x="4050184" y="1650909"/>
              <a:ext cx="0" cy="755652"/>
            </a:xfrm>
            <a:prstGeom prst="line">
              <a:avLst/>
            </a:prstGeom>
            <a:ln>
              <a:solidFill>
                <a:srgbClr val="6E6E69"/>
              </a:solidFill>
              <a:prstDash val="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2">
              <a:extLst>
                <a:ext uri="{FF2B5EF4-FFF2-40B4-BE49-F238E27FC236}">
                  <a16:creationId xmlns:a16="http://schemas.microsoft.com/office/drawing/2014/main" id="{B7272CE3-DBC4-4A80-8F1D-862805C9C735}"/>
                </a:ext>
              </a:extLst>
            </p:cNvPr>
            <p:cNvCxnSpPr>
              <a:cxnSpLocks/>
            </p:cNvCxnSpPr>
            <p:nvPr/>
          </p:nvCxnSpPr>
          <p:spPr>
            <a:xfrm>
              <a:off x="2410543" y="1650909"/>
              <a:ext cx="1639641" cy="0"/>
            </a:xfrm>
            <a:prstGeom prst="line">
              <a:avLst/>
            </a:prstGeom>
            <a:ln w="12700" cap="rnd">
              <a:solidFill>
                <a:srgbClr val="6E6E69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8" name="Gruppieren 77">
              <a:extLst>
                <a:ext uri="{FF2B5EF4-FFF2-40B4-BE49-F238E27FC236}">
                  <a16:creationId xmlns:a16="http://schemas.microsoft.com/office/drawing/2014/main" id="{FBD317AD-7097-4CB3-8E54-6BC399BDADEF}"/>
                </a:ext>
              </a:extLst>
            </p:cNvPr>
            <p:cNvGrpSpPr/>
            <p:nvPr/>
          </p:nvGrpSpPr>
          <p:grpSpPr>
            <a:xfrm flipV="1">
              <a:off x="1728147" y="3049674"/>
              <a:ext cx="1565436" cy="128044"/>
              <a:chOff x="1625600" y="2724147"/>
              <a:chExt cx="1934988" cy="783003"/>
            </a:xfrm>
          </p:grpSpPr>
          <p:cxnSp>
            <p:nvCxnSpPr>
              <p:cNvPr id="81" name="Gerade Verbindung 63">
                <a:extLst>
                  <a:ext uri="{FF2B5EF4-FFF2-40B4-BE49-F238E27FC236}">
                    <a16:creationId xmlns:a16="http://schemas.microsoft.com/office/drawing/2014/main" id="{EF2A7A1E-49DB-4FA9-8220-5D3013C98505}"/>
                  </a:ext>
                </a:extLst>
              </p:cNvPr>
              <p:cNvCxnSpPr/>
              <p:nvPr/>
            </p:nvCxnSpPr>
            <p:spPr>
              <a:xfrm>
                <a:off x="3560588" y="2724150"/>
                <a:ext cx="0" cy="783000"/>
              </a:xfrm>
              <a:prstGeom prst="line">
                <a:avLst/>
              </a:prstGeom>
              <a:ln w="12700" cap="rnd">
                <a:solidFill>
                  <a:srgbClr val="6E6E69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 Verbindung 64">
                <a:extLst>
                  <a:ext uri="{FF2B5EF4-FFF2-40B4-BE49-F238E27FC236}">
                    <a16:creationId xmlns:a16="http://schemas.microsoft.com/office/drawing/2014/main" id="{CAA78E59-AA9F-4F01-8AE2-B12690C1A6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25600" y="2724147"/>
                <a:ext cx="1928500" cy="5"/>
              </a:xfrm>
              <a:prstGeom prst="line">
                <a:avLst/>
              </a:prstGeom>
              <a:ln w="12700" cap="rnd">
                <a:solidFill>
                  <a:srgbClr val="6E6E69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26BAA215-A1EB-432A-AF64-026364D89FAC}"/>
                </a:ext>
              </a:extLst>
            </p:cNvPr>
            <p:cNvSpPr txBox="1"/>
            <p:nvPr/>
          </p:nvSpPr>
          <p:spPr>
            <a:xfrm>
              <a:off x="7134947" y="3448892"/>
              <a:ext cx="73113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800" dirty="0" err="1"/>
                <a:t>Haushalte</a:t>
              </a:r>
              <a:r>
                <a:rPr lang="en-GB" sz="800" dirty="0"/>
                <a:t> </a:t>
              </a:r>
              <a:r>
                <a:rPr lang="en-GB" sz="800" baseline="30000" dirty="0"/>
                <a:t>*</a:t>
              </a: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D9299AE0-A011-4D9A-8B6C-FD98F20DF759}"/>
                </a:ext>
              </a:extLst>
            </p:cNvPr>
            <p:cNvSpPr txBox="1"/>
            <p:nvPr/>
          </p:nvSpPr>
          <p:spPr>
            <a:xfrm>
              <a:off x="2832703" y="1788805"/>
              <a:ext cx="149579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800" dirty="0"/>
                <a:t>Anlagen in Deutschland und </a:t>
              </a:r>
              <a:br>
                <a:rPr lang="de-DE" sz="800" dirty="0"/>
              </a:br>
              <a:r>
                <a:rPr lang="de-DE" sz="800" dirty="0"/>
                <a:t>im benachbarten Ausland</a:t>
              </a:r>
              <a:endParaRPr lang="de-DE" sz="900" dirty="0"/>
            </a:p>
          </p:txBody>
        </p:sp>
      </p:grpSp>
      <p:sp>
        <p:nvSpPr>
          <p:cNvPr id="32" name="Textfeld 31">
            <a:extLst>
              <a:ext uri="{FF2B5EF4-FFF2-40B4-BE49-F238E27FC236}">
                <a16:creationId xmlns:a16="http://schemas.microsoft.com/office/drawing/2014/main" id="{B14A0C46-0148-474A-9F21-DC9115FAF38A}"/>
              </a:ext>
            </a:extLst>
          </p:cNvPr>
          <p:cNvSpPr txBox="1"/>
          <p:nvPr/>
        </p:nvSpPr>
        <p:spPr>
          <a:xfrm>
            <a:off x="5983706" y="3933753"/>
            <a:ext cx="8104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00" dirty="0"/>
              <a:t>(720.000 in 2020)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6AF2673-34C1-4FBE-8D21-51BE32CCAE04}"/>
              </a:ext>
            </a:extLst>
          </p:cNvPr>
          <p:cNvSpPr txBox="1"/>
          <p:nvPr/>
        </p:nvSpPr>
        <p:spPr>
          <a:xfrm>
            <a:off x="5158993" y="2656783"/>
            <a:ext cx="8104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00" dirty="0"/>
              <a:t>(3,8 Mio. in 2020)</a:t>
            </a:r>
          </a:p>
        </p:txBody>
      </p:sp>
    </p:spTree>
    <p:extLst>
      <p:ext uri="{BB962C8B-B14F-4D97-AF65-F5344CB8AC3E}">
        <p14:creationId xmlns:p14="http://schemas.microsoft.com/office/powerpoint/2010/main" val="390477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CDF9F6F5-EFF2-4F4E-9FDB-371AB3CB6024}"/>
              </a:ext>
            </a:extLst>
          </p:cNvPr>
          <p:cNvSpPr/>
          <p:nvPr/>
        </p:nvSpPr>
        <p:spPr>
          <a:xfrm>
            <a:off x="-8305" y="-48129"/>
            <a:ext cx="9144000" cy="5143500"/>
          </a:xfrm>
          <a:prstGeom prst="rect">
            <a:avLst/>
          </a:prstGeom>
          <a:gradFill>
            <a:gsLst>
              <a:gs pos="0">
                <a:srgbClr val="EAE9E6"/>
              </a:gs>
              <a:gs pos="100000">
                <a:srgbClr val="DBD9D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0A6A9A5-0BC2-404E-8DC4-FA7E63809D9A}"/>
              </a:ext>
            </a:extLst>
          </p:cNvPr>
          <p:cNvGrpSpPr/>
          <p:nvPr/>
        </p:nvGrpSpPr>
        <p:grpSpPr>
          <a:xfrm>
            <a:off x="4880084" y="708961"/>
            <a:ext cx="4015484" cy="4205294"/>
            <a:chOff x="5231771" y="708961"/>
            <a:chExt cx="4015484" cy="4205294"/>
          </a:xfrm>
        </p:grpSpPr>
        <p:grpSp>
          <p:nvGrpSpPr>
            <p:cNvPr id="41" name="Grafik 381">
              <a:extLst>
                <a:ext uri="{FF2B5EF4-FFF2-40B4-BE49-F238E27FC236}">
                  <a16:creationId xmlns:a16="http://schemas.microsoft.com/office/drawing/2014/main" id="{8C84D186-F76B-4B72-947F-5CB96AED4D76}"/>
                </a:ext>
              </a:extLst>
            </p:cNvPr>
            <p:cNvGrpSpPr/>
            <p:nvPr/>
          </p:nvGrpSpPr>
          <p:grpSpPr>
            <a:xfrm>
              <a:off x="5231771" y="708961"/>
              <a:ext cx="4015484" cy="4205294"/>
              <a:chOff x="4996063" y="461748"/>
              <a:chExt cx="4212316" cy="4411430"/>
            </a:xfrm>
          </p:grpSpPr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91C0F43D-5010-45F5-A778-C69C5FCB13B0}"/>
                  </a:ext>
                </a:extLst>
              </p:cNvPr>
              <p:cNvSpPr/>
              <p:nvPr/>
            </p:nvSpPr>
            <p:spPr>
              <a:xfrm>
                <a:off x="6587339" y="1145698"/>
                <a:ext cx="72075" cy="32203"/>
              </a:xfrm>
              <a:custGeom>
                <a:avLst/>
                <a:gdLst>
                  <a:gd name="connsiteX0" fmla="*/ 16358 w 72075"/>
                  <a:gd name="connsiteY0" fmla="*/ 0 h 32203"/>
                  <a:gd name="connsiteX1" fmla="*/ 0 w 72075"/>
                  <a:gd name="connsiteY1" fmla="*/ 19425 h 32203"/>
                  <a:gd name="connsiteX2" fmla="*/ 8179 w 72075"/>
                  <a:gd name="connsiteY2" fmla="*/ 23514 h 32203"/>
                  <a:gd name="connsiteX3" fmla="*/ 27092 w 72075"/>
                  <a:gd name="connsiteY3" fmla="*/ 32204 h 32203"/>
                  <a:gd name="connsiteX4" fmla="*/ 72075 w 72075"/>
                  <a:gd name="connsiteY4" fmla="*/ 23514 h 32203"/>
                  <a:gd name="connsiteX5" fmla="*/ 72075 w 72075"/>
                  <a:gd name="connsiteY5" fmla="*/ 8690 h 32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2075" h="32203">
                    <a:moveTo>
                      <a:pt x="16358" y="0"/>
                    </a:moveTo>
                    <a:lnTo>
                      <a:pt x="0" y="19425"/>
                    </a:lnTo>
                    <a:lnTo>
                      <a:pt x="8179" y="23514"/>
                    </a:lnTo>
                    <a:lnTo>
                      <a:pt x="27092" y="32204"/>
                    </a:lnTo>
                    <a:lnTo>
                      <a:pt x="72075" y="23514"/>
                    </a:lnTo>
                    <a:lnTo>
                      <a:pt x="72075" y="8690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53F308F7-F1ED-4DB6-9B3A-CF05F315EB89}"/>
                  </a:ext>
                </a:extLst>
              </p:cNvPr>
              <p:cNvSpPr/>
              <p:nvPr/>
            </p:nvSpPr>
            <p:spPr>
              <a:xfrm>
                <a:off x="6465169" y="1165123"/>
                <a:ext cx="122169" cy="23513"/>
              </a:xfrm>
              <a:custGeom>
                <a:avLst/>
                <a:gdLst>
                  <a:gd name="connsiteX0" fmla="*/ 75142 w 122169"/>
                  <a:gd name="connsiteY0" fmla="*/ 0 h 23513"/>
                  <a:gd name="connsiteX1" fmla="*/ 27092 w 122169"/>
                  <a:gd name="connsiteY1" fmla="*/ 1022 h 23513"/>
                  <a:gd name="connsiteX2" fmla="*/ 8690 w 122169"/>
                  <a:gd name="connsiteY2" fmla="*/ 12779 h 23513"/>
                  <a:gd name="connsiteX3" fmla="*/ 0 w 122169"/>
                  <a:gd name="connsiteY3" fmla="*/ 23514 h 23513"/>
                  <a:gd name="connsiteX4" fmla="*/ 18913 w 122169"/>
                  <a:gd name="connsiteY4" fmla="*/ 23514 h 23513"/>
                  <a:gd name="connsiteX5" fmla="*/ 75142 w 122169"/>
                  <a:gd name="connsiteY5" fmla="*/ 23514 h 23513"/>
                  <a:gd name="connsiteX6" fmla="*/ 122170 w 122169"/>
                  <a:gd name="connsiteY6" fmla="*/ 12779 h 23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169" h="23513">
                    <a:moveTo>
                      <a:pt x="75142" y="0"/>
                    </a:moveTo>
                    <a:lnTo>
                      <a:pt x="27092" y="1022"/>
                    </a:lnTo>
                    <a:lnTo>
                      <a:pt x="8690" y="12779"/>
                    </a:lnTo>
                    <a:lnTo>
                      <a:pt x="0" y="23514"/>
                    </a:lnTo>
                    <a:lnTo>
                      <a:pt x="18913" y="23514"/>
                    </a:lnTo>
                    <a:lnTo>
                      <a:pt x="75142" y="23514"/>
                    </a:lnTo>
                    <a:lnTo>
                      <a:pt x="122170" y="12779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74D0845D-164A-4EA6-ADCB-5D3BC573F52A}"/>
                  </a:ext>
                </a:extLst>
              </p:cNvPr>
              <p:cNvSpPr/>
              <p:nvPr/>
            </p:nvSpPr>
            <p:spPr>
              <a:xfrm>
                <a:off x="6337887" y="1188637"/>
                <a:ext cx="103256" cy="24025"/>
              </a:xfrm>
              <a:custGeom>
                <a:avLst/>
                <a:gdLst>
                  <a:gd name="connsiteX0" fmla="*/ 60829 w 103256"/>
                  <a:gd name="connsiteY0" fmla="*/ 0 h 24025"/>
                  <a:gd name="connsiteX1" fmla="*/ 20447 w 103256"/>
                  <a:gd name="connsiteY1" fmla="*/ 0 h 24025"/>
                  <a:gd name="connsiteX2" fmla="*/ 0 w 103256"/>
                  <a:gd name="connsiteY2" fmla="*/ 15335 h 24025"/>
                  <a:gd name="connsiteX3" fmla="*/ 0 w 103256"/>
                  <a:gd name="connsiteY3" fmla="*/ 24025 h 24025"/>
                  <a:gd name="connsiteX4" fmla="*/ 30670 w 103256"/>
                  <a:gd name="connsiteY4" fmla="*/ 19425 h 24025"/>
                  <a:gd name="connsiteX5" fmla="*/ 87922 w 103256"/>
                  <a:gd name="connsiteY5" fmla="*/ 8179 h 24025"/>
                  <a:gd name="connsiteX6" fmla="*/ 103257 w 103256"/>
                  <a:gd name="connsiteY6" fmla="*/ 0 h 2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3256" h="24025">
                    <a:moveTo>
                      <a:pt x="60829" y="0"/>
                    </a:moveTo>
                    <a:lnTo>
                      <a:pt x="20447" y="0"/>
                    </a:lnTo>
                    <a:lnTo>
                      <a:pt x="0" y="15335"/>
                    </a:lnTo>
                    <a:lnTo>
                      <a:pt x="0" y="24025"/>
                    </a:lnTo>
                    <a:lnTo>
                      <a:pt x="30670" y="19425"/>
                    </a:lnTo>
                    <a:lnTo>
                      <a:pt x="87922" y="8179"/>
                    </a:lnTo>
                    <a:lnTo>
                      <a:pt x="103257" y="0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61BED2F3-D0F9-4E69-BE05-ED26AC718E9C}"/>
                  </a:ext>
                </a:extLst>
              </p:cNvPr>
              <p:cNvSpPr/>
              <p:nvPr/>
            </p:nvSpPr>
            <p:spPr>
              <a:xfrm>
                <a:off x="6253033" y="1219818"/>
                <a:ext cx="50606" cy="46516"/>
              </a:xfrm>
              <a:custGeom>
                <a:avLst/>
                <a:gdLst>
                  <a:gd name="connsiteX0" fmla="*/ 50606 w 50606"/>
                  <a:gd name="connsiteY0" fmla="*/ 8690 h 46516"/>
                  <a:gd name="connsiteX1" fmla="*/ 50606 w 50606"/>
                  <a:gd name="connsiteY1" fmla="*/ 25559 h 46516"/>
                  <a:gd name="connsiteX2" fmla="*/ 36804 w 50606"/>
                  <a:gd name="connsiteY2" fmla="*/ 46517 h 46516"/>
                  <a:gd name="connsiteX3" fmla="*/ 0 w 50606"/>
                  <a:gd name="connsiteY3" fmla="*/ 46517 h 46516"/>
                  <a:gd name="connsiteX4" fmla="*/ 0 w 50606"/>
                  <a:gd name="connsiteY4" fmla="*/ 27603 h 46516"/>
                  <a:gd name="connsiteX5" fmla="*/ 7156 w 50606"/>
                  <a:gd name="connsiteY5" fmla="*/ 18402 h 46516"/>
                  <a:gd name="connsiteX6" fmla="*/ 25559 w 50606"/>
                  <a:gd name="connsiteY6" fmla="*/ 0 h 46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606" h="46516">
                    <a:moveTo>
                      <a:pt x="50606" y="8690"/>
                    </a:moveTo>
                    <a:lnTo>
                      <a:pt x="50606" y="25559"/>
                    </a:lnTo>
                    <a:lnTo>
                      <a:pt x="36804" y="46517"/>
                    </a:lnTo>
                    <a:lnTo>
                      <a:pt x="0" y="46517"/>
                    </a:lnTo>
                    <a:lnTo>
                      <a:pt x="0" y="27603"/>
                    </a:lnTo>
                    <a:lnTo>
                      <a:pt x="7156" y="18402"/>
                    </a:lnTo>
                    <a:lnTo>
                      <a:pt x="25559" y="0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96809D4F-234D-420A-A053-FB8070B66D7B}"/>
                  </a:ext>
                </a:extLst>
              </p:cNvPr>
              <p:cNvSpPr/>
              <p:nvPr/>
            </p:nvSpPr>
            <p:spPr>
              <a:xfrm>
                <a:off x="6164089" y="1297006"/>
                <a:ext cx="56740" cy="23002"/>
              </a:xfrm>
              <a:custGeom>
                <a:avLst/>
                <a:gdLst>
                  <a:gd name="connsiteX0" fmla="*/ 56740 w 56740"/>
                  <a:gd name="connsiteY0" fmla="*/ 2045 h 23002"/>
                  <a:gd name="connsiteX1" fmla="*/ 25047 w 56740"/>
                  <a:gd name="connsiteY1" fmla="*/ 0 h 23002"/>
                  <a:gd name="connsiteX2" fmla="*/ 8179 w 56740"/>
                  <a:gd name="connsiteY2" fmla="*/ 2556 h 23002"/>
                  <a:gd name="connsiteX3" fmla="*/ 0 w 56740"/>
                  <a:gd name="connsiteY3" fmla="*/ 23003 h 23002"/>
                  <a:gd name="connsiteX4" fmla="*/ 17891 w 56740"/>
                  <a:gd name="connsiteY4" fmla="*/ 23003 h 23002"/>
                  <a:gd name="connsiteX5" fmla="*/ 44983 w 56740"/>
                  <a:gd name="connsiteY5" fmla="*/ 23003 h 23002"/>
                  <a:gd name="connsiteX6" fmla="*/ 56740 w 56740"/>
                  <a:gd name="connsiteY6" fmla="*/ 11757 h 230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740" h="23002">
                    <a:moveTo>
                      <a:pt x="56740" y="2045"/>
                    </a:moveTo>
                    <a:lnTo>
                      <a:pt x="25047" y="0"/>
                    </a:lnTo>
                    <a:lnTo>
                      <a:pt x="8179" y="2556"/>
                    </a:lnTo>
                    <a:lnTo>
                      <a:pt x="0" y="23003"/>
                    </a:lnTo>
                    <a:lnTo>
                      <a:pt x="17891" y="23003"/>
                    </a:lnTo>
                    <a:lnTo>
                      <a:pt x="44983" y="23003"/>
                    </a:lnTo>
                    <a:lnTo>
                      <a:pt x="56740" y="11757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70089469-9EDA-4C66-8BF2-0B6ACF804993}"/>
                  </a:ext>
                </a:extLst>
              </p:cNvPr>
              <p:cNvSpPr/>
              <p:nvPr/>
            </p:nvSpPr>
            <p:spPr>
              <a:xfrm>
                <a:off x="7334672" y="2370471"/>
                <a:ext cx="974803" cy="830146"/>
              </a:xfrm>
              <a:custGeom>
                <a:avLst/>
                <a:gdLst>
                  <a:gd name="connsiteX0" fmla="*/ 840366 w 974803"/>
                  <a:gd name="connsiteY0" fmla="*/ 286769 h 830146"/>
                  <a:gd name="connsiteX1" fmla="*/ 847011 w 974803"/>
                  <a:gd name="connsiteY1" fmla="*/ 340442 h 830146"/>
                  <a:gd name="connsiteX2" fmla="*/ 833720 w 974803"/>
                  <a:gd name="connsiteY2" fmla="*/ 369579 h 830146"/>
                  <a:gd name="connsiteX3" fmla="*/ 741199 w 974803"/>
                  <a:gd name="connsiteY3" fmla="*/ 353732 h 830146"/>
                  <a:gd name="connsiteX4" fmla="*/ 731998 w 974803"/>
                  <a:gd name="connsiteY4" fmla="*/ 330218 h 830146"/>
                  <a:gd name="connsiteX5" fmla="*/ 550020 w 974803"/>
                  <a:gd name="connsiteY5" fmla="*/ 293414 h 830146"/>
                  <a:gd name="connsiteX6" fmla="*/ 514750 w 974803"/>
                  <a:gd name="connsiteY6" fmla="*/ 222872 h 830146"/>
                  <a:gd name="connsiteX7" fmla="*/ 546953 w 974803"/>
                  <a:gd name="connsiteY7" fmla="*/ 188112 h 830146"/>
                  <a:gd name="connsiteX8" fmla="*/ 515772 w 974803"/>
                  <a:gd name="connsiteY8" fmla="*/ 145685 h 830146"/>
                  <a:gd name="connsiteX9" fmla="*/ 363954 w 974803"/>
                  <a:gd name="connsiteY9" fmla="*/ 108880 h 830146"/>
                  <a:gd name="connsiteX10" fmla="*/ 342485 w 974803"/>
                  <a:gd name="connsiteY10" fmla="*/ 20958 h 830146"/>
                  <a:gd name="connsiteX11" fmla="*/ 266832 w 974803"/>
                  <a:gd name="connsiteY11" fmla="*/ 0 h 830146"/>
                  <a:gd name="connsiteX12" fmla="*/ 222871 w 974803"/>
                  <a:gd name="connsiteY12" fmla="*/ 55207 h 830146"/>
                  <a:gd name="connsiteX13" fmla="*/ 156418 w 974803"/>
                  <a:gd name="connsiteY13" fmla="*/ 47539 h 830146"/>
                  <a:gd name="connsiteX14" fmla="*/ 1022 w 974803"/>
                  <a:gd name="connsiteY14" fmla="*/ 178911 h 830146"/>
                  <a:gd name="connsiteX15" fmla="*/ 112458 w 974803"/>
                  <a:gd name="connsiteY15" fmla="*/ 279101 h 830146"/>
                  <a:gd name="connsiteX16" fmla="*/ 98145 w 974803"/>
                  <a:gd name="connsiteY16" fmla="*/ 389003 h 830146"/>
                  <a:gd name="connsiteX17" fmla="*/ 21980 w 974803"/>
                  <a:gd name="connsiteY17" fmla="*/ 478459 h 830146"/>
                  <a:gd name="connsiteX18" fmla="*/ 0 w 974803"/>
                  <a:gd name="connsiteY18" fmla="*/ 566892 h 830146"/>
                  <a:gd name="connsiteX19" fmla="*/ 73097 w 974803"/>
                  <a:gd name="connsiteY19" fmla="*/ 590406 h 830146"/>
                  <a:gd name="connsiteX20" fmla="*/ 88944 w 974803"/>
                  <a:gd name="connsiteY20" fmla="*/ 640501 h 830146"/>
                  <a:gd name="connsiteX21" fmla="*/ 251496 w 974803"/>
                  <a:gd name="connsiteY21" fmla="*/ 746314 h 830146"/>
                  <a:gd name="connsiteX22" fmla="*/ 275010 w 974803"/>
                  <a:gd name="connsiteY22" fmla="*/ 805099 h 830146"/>
                  <a:gd name="connsiteX23" fmla="*/ 315904 w 974803"/>
                  <a:gd name="connsiteY23" fmla="*/ 830147 h 830146"/>
                  <a:gd name="connsiteX24" fmla="*/ 360376 w 974803"/>
                  <a:gd name="connsiteY24" fmla="*/ 791808 h 830146"/>
                  <a:gd name="connsiteX25" fmla="*/ 314370 w 974803"/>
                  <a:gd name="connsiteY25" fmla="*/ 762671 h 830146"/>
                  <a:gd name="connsiteX26" fmla="*/ 312837 w 974803"/>
                  <a:gd name="connsiteY26" fmla="*/ 746314 h 830146"/>
                  <a:gd name="connsiteX27" fmla="*/ 445230 w 974803"/>
                  <a:gd name="connsiteY27" fmla="*/ 728423 h 830146"/>
                  <a:gd name="connsiteX28" fmla="*/ 473345 w 974803"/>
                  <a:gd name="connsiteY28" fmla="*/ 784652 h 830146"/>
                  <a:gd name="connsiteX29" fmla="*/ 511682 w 974803"/>
                  <a:gd name="connsiteY29" fmla="*/ 776985 h 830146"/>
                  <a:gd name="connsiteX30" fmla="*/ 513216 w 974803"/>
                  <a:gd name="connsiteY30" fmla="*/ 733023 h 830146"/>
                  <a:gd name="connsiteX31" fmla="*/ 492258 w 974803"/>
                  <a:gd name="connsiteY31" fmla="*/ 684462 h 830146"/>
                  <a:gd name="connsiteX32" fmla="*/ 543887 w 974803"/>
                  <a:gd name="connsiteY32" fmla="*/ 630278 h 830146"/>
                  <a:gd name="connsiteX33" fmla="*/ 590914 w 974803"/>
                  <a:gd name="connsiteY33" fmla="*/ 718200 h 830146"/>
                  <a:gd name="connsiteX34" fmla="*/ 736598 w 974803"/>
                  <a:gd name="connsiteY34" fmla="*/ 674238 h 830146"/>
                  <a:gd name="connsiteX35" fmla="*/ 751422 w 974803"/>
                  <a:gd name="connsiteY35" fmla="*/ 600629 h 830146"/>
                  <a:gd name="connsiteX36" fmla="*/ 767780 w 974803"/>
                  <a:gd name="connsiteY36" fmla="*/ 587339 h 830146"/>
                  <a:gd name="connsiteX37" fmla="*/ 820430 w 974803"/>
                  <a:gd name="connsiteY37" fmla="*/ 587339 h 830146"/>
                  <a:gd name="connsiteX38" fmla="*/ 865924 w 974803"/>
                  <a:gd name="connsiteY38" fmla="*/ 516797 h 830146"/>
                  <a:gd name="connsiteX39" fmla="*/ 839855 w 974803"/>
                  <a:gd name="connsiteY39" fmla="*/ 450856 h 830146"/>
                  <a:gd name="connsiteX40" fmla="*/ 974804 w 974803"/>
                  <a:gd name="connsiteY40" fmla="*/ 368045 h 830146"/>
                  <a:gd name="connsiteX41" fmla="*/ 964580 w 974803"/>
                  <a:gd name="connsiteY41" fmla="*/ 335841 h 830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974803" h="830146">
                    <a:moveTo>
                      <a:pt x="840366" y="286769"/>
                    </a:moveTo>
                    <a:lnTo>
                      <a:pt x="847011" y="340442"/>
                    </a:lnTo>
                    <a:lnTo>
                      <a:pt x="833720" y="369579"/>
                    </a:lnTo>
                    <a:lnTo>
                      <a:pt x="741199" y="353732"/>
                    </a:lnTo>
                    <a:lnTo>
                      <a:pt x="731998" y="330218"/>
                    </a:lnTo>
                    <a:lnTo>
                      <a:pt x="550020" y="293414"/>
                    </a:lnTo>
                    <a:lnTo>
                      <a:pt x="514750" y="222872"/>
                    </a:lnTo>
                    <a:lnTo>
                      <a:pt x="546953" y="188112"/>
                    </a:lnTo>
                    <a:lnTo>
                      <a:pt x="515772" y="145685"/>
                    </a:lnTo>
                    <a:lnTo>
                      <a:pt x="363954" y="108880"/>
                    </a:lnTo>
                    <a:lnTo>
                      <a:pt x="342485" y="20958"/>
                    </a:lnTo>
                    <a:lnTo>
                      <a:pt x="266832" y="0"/>
                    </a:lnTo>
                    <a:lnTo>
                      <a:pt x="222871" y="55207"/>
                    </a:lnTo>
                    <a:lnTo>
                      <a:pt x="156418" y="47539"/>
                    </a:lnTo>
                    <a:lnTo>
                      <a:pt x="1022" y="178911"/>
                    </a:lnTo>
                    <a:lnTo>
                      <a:pt x="112458" y="279101"/>
                    </a:lnTo>
                    <a:lnTo>
                      <a:pt x="98145" y="389003"/>
                    </a:lnTo>
                    <a:lnTo>
                      <a:pt x="21980" y="478459"/>
                    </a:lnTo>
                    <a:lnTo>
                      <a:pt x="0" y="566892"/>
                    </a:lnTo>
                    <a:lnTo>
                      <a:pt x="73097" y="590406"/>
                    </a:lnTo>
                    <a:lnTo>
                      <a:pt x="88944" y="640501"/>
                    </a:lnTo>
                    <a:lnTo>
                      <a:pt x="251496" y="746314"/>
                    </a:lnTo>
                    <a:lnTo>
                      <a:pt x="275010" y="805099"/>
                    </a:lnTo>
                    <a:lnTo>
                      <a:pt x="315904" y="830147"/>
                    </a:lnTo>
                    <a:lnTo>
                      <a:pt x="360376" y="791808"/>
                    </a:lnTo>
                    <a:lnTo>
                      <a:pt x="314370" y="762671"/>
                    </a:lnTo>
                    <a:lnTo>
                      <a:pt x="312837" y="746314"/>
                    </a:lnTo>
                    <a:lnTo>
                      <a:pt x="445230" y="728423"/>
                    </a:lnTo>
                    <a:lnTo>
                      <a:pt x="473345" y="784652"/>
                    </a:lnTo>
                    <a:lnTo>
                      <a:pt x="511682" y="776985"/>
                    </a:lnTo>
                    <a:lnTo>
                      <a:pt x="513216" y="733023"/>
                    </a:lnTo>
                    <a:lnTo>
                      <a:pt x="492258" y="684462"/>
                    </a:lnTo>
                    <a:lnTo>
                      <a:pt x="543887" y="630278"/>
                    </a:lnTo>
                    <a:lnTo>
                      <a:pt x="590914" y="718200"/>
                    </a:lnTo>
                    <a:lnTo>
                      <a:pt x="736598" y="674238"/>
                    </a:lnTo>
                    <a:lnTo>
                      <a:pt x="751422" y="600629"/>
                    </a:lnTo>
                    <a:lnTo>
                      <a:pt x="767780" y="587339"/>
                    </a:lnTo>
                    <a:lnTo>
                      <a:pt x="820430" y="587339"/>
                    </a:lnTo>
                    <a:lnTo>
                      <a:pt x="865924" y="516797"/>
                    </a:lnTo>
                    <a:lnTo>
                      <a:pt x="839855" y="450856"/>
                    </a:lnTo>
                    <a:lnTo>
                      <a:pt x="974804" y="368045"/>
                    </a:lnTo>
                    <a:lnTo>
                      <a:pt x="964580" y="335841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0870DF59-88E8-4713-8411-D4B972057CE4}"/>
                  </a:ext>
                </a:extLst>
              </p:cNvPr>
              <p:cNvSpPr/>
              <p:nvPr/>
            </p:nvSpPr>
            <p:spPr>
              <a:xfrm>
                <a:off x="6737623" y="625323"/>
                <a:ext cx="74119" cy="56740"/>
              </a:xfrm>
              <a:custGeom>
                <a:avLst/>
                <a:gdLst>
                  <a:gd name="connsiteX0" fmla="*/ 74120 w 74119"/>
                  <a:gd name="connsiteY0" fmla="*/ 14824 h 56740"/>
                  <a:gd name="connsiteX1" fmla="*/ 64407 w 74119"/>
                  <a:gd name="connsiteY1" fmla="*/ 49073 h 56740"/>
                  <a:gd name="connsiteX2" fmla="*/ 23514 w 74119"/>
                  <a:gd name="connsiteY2" fmla="*/ 56740 h 56740"/>
                  <a:gd name="connsiteX3" fmla="*/ 0 w 74119"/>
                  <a:gd name="connsiteY3" fmla="*/ 40894 h 56740"/>
                  <a:gd name="connsiteX4" fmla="*/ 19424 w 74119"/>
                  <a:gd name="connsiteY4" fmla="*/ 4089 h 56740"/>
                  <a:gd name="connsiteX5" fmla="*/ 65941 w 74119"/>
                  <a:gd name="connsiteY5" fmla="*/ 0 h 56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119" h="56740">
                    <a:moveTo>
                      <a:pt x="74120" y="14824"/>
                    </a:moveTo>
                    <a:lnTo>
                      <a:pt x="64407" y="49073"/>
                    </a:lnTo>
                    <a:lnTo>
                      <a:pt x="23514" y="56740"/>
                    </a:lnTo>
                    <a:lnTo>
                      <a:pt x="0" y="40894"/>
                    </a:lnTo>
                    <a:lnTo>
                      <a:pt x="19424" y="4089"/>
                    </a:lnTo>
                    <a:lnTo>
                      <a:pt x="65941" y="0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E9BF77FC-687E-4035-8A44-B8C09B4F2BCE}"/>
                  </a:ext>
                </a:extLst>
              </p:cNvPr>
              <p:cNvSpPr/>
              <p:nvPr/>
            </p:nvSpPr>
            <p:spPr>
              <a:xfrm>
                <a:off x="7608148" y="719890"/>
                <a:ext cx="112968" cy="80254"/>
              </a:xfrm>
              <a:custGeom>
                <a:avLst/>
                <a:gdLst>
                  <a:gd name="connsiteX0" fmla="*/ 39871 w 112968"/>
                  <a:gd name="connsiteY0" fmla="*/ 79232 h 80254"/>
                  <a:gd name="connsiteX1" fmla="*/ 0 w 112968"/>
                  <a:gd name="connsiteY1" fmla="*/ 57251 h 80254"/>
                  <a:gd name="connsiteX2" fmla="*/ 14313 w 112968"/>
                  <a:gd name="connsiteY2" fmla="*/ 4089 h 80254"/>
                  <a:gd name="connsiteX3" fmla="*/ 54184 w 112968"/>
                  <a:gd name="connsiteY3" fmla="*/ 0 h 80254"/>
                  <a:gd name="connsiteX4" fmla="*/ 94056 w 112968"/>
                  <a:gd name="connsiteY4" fmla="*/ 29648 h 80254"/>
                  <a:gd name="connsiteX5" fmla="*/ 112969 w 112968"/>
                  <a:gd name="connsiteY5" fmla="*/ 80254 h 80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2968" h="80254">
                    <a:moveTo>
                      <a:pt x="39871" y="79232"/>
                    </a:moveTo>
                    <a:lnTo>
                      <a:pt x="0" y="57251"/>
                    </a:lnTo>
                    <a:lnTo>
                      <a:pt x="14313" y="4089"/>
                    </a:lnTo>
                    <a:lnTo>
                      <a:pt x="54184" y="0"/>
                    </a:lnTo>
                    <a:lnTo>
                      <a:pt x="94056" y="29648"/>
                    </a:lnTo>
                    <a:lnTo>
                      <a:pt x="112969" y="80254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15F549EA-ADDD-4869-A623-18C89BFD672B}"/>
                  </a:ext>
                </a:extLst>
              </p:cNvPr>
              <p:cNvSpPr/>
              <p:nvPr/>
            </p:nvSpPr>
            <p:spPr>
              <a:xfrm>
                <a:off x="6813277" y="550181"/>
                <a:ext cx="840876" cy="861839"/>
              </a:xfrm>
              <a:custGeom>
                <a:avLst/>
                <a:gdLst>
                  <a:gd name="connsiteX0" fmla="*/ 828609 w 840876"/>
                  <a:gd name="connsiteY0" fmla="*/ 276545 h 861839"/>
                  <a:gd name="connsiteX1" fmla="*/ 785671 w 840876"/>
                  <a:gd name="connsiteY1" fmla="*/ 262232 h 861839"/>
                  <a:gd name="connsiteX2" fmla="*/ 715129 w 840876"/>
                  <a:gd name="connsiteY2" fmla="*/ 310283 h 861839"/>
                  <a:gd name="connsiteX3" fmla="*/ 695704 w 840876"/>
                  <a:gd name="connsiteY3" fmla="*/ 303637 h 861839"/>
                  <a:gd name="connsiteX4" fmla="*/ 677813 w 840876"/>
                  <a:gd name="connsiteY4" fmla="*/ 281146 h 861839"/>
                  <a:gd name="connsiteX5" fmla="*/ 578135 w 840876"/>
                  <a:gd name="connsiteY5" fmla="*/ 240763 h 861839"/>
                  <a:gd name="connsiteX6" fmla="*/ 547465 w 840876"/>
                  <a:gd name="connsiteY6" fmla="*/ 254053 h 861839"/>
                  <a:gd name="connsiteX7" fmla="*/ 517817 w 840876"/>
                  <a:gd name="connsiteY7" fmla="*/ 311816 h 861839"/>
                  <a:gd name="connsiteX8" fmla="*/ 511171 w 840876"/>
                  <a:gd name="connsiteY8" fmla="*/ 305682 h 861839"/>
                  <a:gd name="connsiteX9" fmla="*/ 519350 w 840876"/>
                  <a:gd name="connsiteY9" fmla="*/ 275012 h 861839"/>
                  <a:gd name="connsiteX10" fmla="*/ 528040 w 840876"/>
                  <a:gd name="connsiteY10" fmla="*/ 236674 h 861839"/>
                  <a:gd name="connsiteX11" fmla="*/ 504015 w 840876"/>
                  <a:gd name="connsiteY11" fmla="*/ 222872 h 861839"/>
                  <a:gd name="connsiteX12" fmla="*/ 427851 w 840876"/>
                  <a:gd name="connsiteY12" fmla="*/ 241785 h 861839"/>
                  <a:gd name="connsiteX13" fmla="*/ 408426 w 840876"/>
                  <a:gd name="connsiteY13" fmla="*/ 232073 h 861839"/>
                  <a:gd name="connsiteX14" fmla="*/ 469255 w 840876"/>
                  <a:gd name="connsiteY14" fmla="*/ 196291 h 861839"/>
                  <a:gd name="connsiteX15" fmla="*/ 474367 w 840876"/>
                  <a:gd name="connsiteY15" fmla="*/ 108880 h 861839"/>
                  <a:gd name="connsiteX16" fmla="*/ 448808 w 840876"/>
                  <a:gd name="connsiteY16" fmla="*/ 60830 h 861839"/>
                  <a:gd name="connsiteX17" fmla="*/ 308236 w 840876"/>
                  <a:gd name="connsiteY17" fmla="*/ 12779 h 861839"/>
                  <a:gd name="connsiteX18" fmla="*/ 276544 w 840876"/>
                  <a:gd name="connsiteY18" fmla="*/ 32204 h 861839"/>
                  <a:gd name="connsiteX19" fmla="*/ 57762 w 840876"/>
                  <a:gd name="connsiteY19" fmla="*/ 0 h 861839"/>
                  <a:gd name="connsiteX20" fmla="*/ 511 w 840876"/>
                  <a:gd name="connsiteY20" fmla="*/ 16358 h 861839"/>
                  <a:gd name="connsiteX21" fmla="*/ 0 w 840876"/>
                  <a:gd name="connsiteY21" fmla="*/ 16358 h 861839"/>
                  <a:gd name="connsiteX22" fmla="*/ 2045 w 840876"/>
                  <a:gd name="connsiteY22" fmla="*/ 54184 h 861839"/>
                  <a:gd name="connsiteX23" fmla="*/ 114502 w 840876"/>
                  <a:gd name="connsiteY23" fmla="*/ 192713 h 861839"/>
                  <a:gd name="connsiteX24" fmla="*/ 140061 w 840876"/>
                  <a:gd name="connsiteY24" fmla="*/ 261210 h 861839"/>
                  <a:gd name="connsiteX25" fmla="*/ 123704 w 840876"/>
                  <a:gd name="connsiteY25" fmla="*/ 261721 h 861839"/>
                  <a:gd name="connsiteX26" fmla="*/ 18402 w 840876"/>
                  <a:gd name="connsiteY26" fmla="*/ 289836 h 861839"/>
                  <a:gd name="connsiteX27" fmla="*/ 2045 w 840876"/>
                  <a:gd name="connsiteY27" fmla="*/ 316928 h 861839"/>
                  <a:gd name="connsiteX28" fmla="*/ 27603 w 840876"/>
                  <a:gd name="connsiteY28" fmla="*/ 353732 h 861839"/>
                  <a:gd name="connsiteX29" fmla="*/ 102745 w 840876"/>
                  <a:gd name="connsiteY29" fmla="*/ 336352 h 861839"/>
                  <a:gd name="connsiteX30" fmla="*/ 106324 w 840876"/>
                  <a:gd name="connsiteY30" fmla="*/ 358844 h 861839"/>
                  <a:gd name="connsiteX31" fmla="*/ 82810 w 840876"/>
                  <a:gd name="connsiteY31" fmla="*/ 363956 h 861839"/>
                  <a:gd name="connsiteX32" fmla="*/ 79232 w 840876"/>
                  <a:gd name="connsiteY32" fmla="*/ 426830 h 861839"/>
                  <a:gd name="connsiteX33" fmla="*/ 130349 w 840876"/>
                  <a:gd name="connsiteY33" fmla="*/ 435009 h 861839"/>
                  <a:gd name="connsiteX34" fmla="*/ 140572 w 840876"/>
                  <a:gd name="connsiteY34" fmla="*/ 481526 h 861839"/>
                  <a:gd name="connsiteX35" fmla="*/ 95589 w 840876"/>
                  <a:gd name="connsiteY35" fmla="*/ 474881 h 861839"/>
                  <a:gd name="connsiteX36" fmla="*/ 92011 w 840876"/>
                  <a:gd name="connsiteY36" fmla="*/ 496350 h 861839"/>
                  <a:gd name="connsiteX37" fmla="*/ 139039 w 840876"/>
                  <a:gd name="connsiteY37" fmla="*/ 561780 h 861839"/>
                  <a:gd name="connsiteX38" fmla="*/ 233605 w 840876"/>
                  <a:gd name="connsiteY38" fmla="*/ 567914 h 861839"/>
                  <a:gd name="connsiteX39" fmla="*/ 334306 w 840876"/>
                  <a:gd name="connsiteY39" fmla="*/ 676794 h 861839"/>
                  <a:gd name="connsiteX40" fmla="*/ 399225 w 840876"/>
                  <a:gd name="connsiteY40" fmla="*/ 748870 h 861839"/>
                  <a:gd name="connsiteX41" fmla="*/ 406381 w 840876"/>
                  <a:gd name="connsiteY41" fmla="*/ 709510 h 861839"/>
                  <a:gd name="connsiteX42" fmla="*/ 488169 w 840876"/>
                  <a:gd name="connsiteY42" fmla="*/ 673216 h 861839"/>
                  <a:gd name="connsiteX43" fmla="*/ 531107 w 840876"/>
                  <a:gd name="connsiteY43" fmla="*/ 623632 h 861839"/>
                  <a:gd name="connsiteX44" fmla="*/ 547465 w 840876"/>
                  <a:gd name="connsiteY44" fmla="*/ 627210 h 861839"/>
                  <a:gd name="connsiteX45" fmla="*/ 544398 w 840876"/>
                  <a:gd name="connsiteY45" fmla="*/ 669127 h 861839"/>
                  <a:gd name="connsiteX46" fmla="*/ 555132 w 840876"/>
                  <a:gd name="connsiteY46" fmla="*/ 688551 h 861839"/>
                  <a:gd name="connsiteX47" fmla="*/ 535708 w 840876"/>
                  <a:gd name="connsiteY47" fmla="*/ 742736 h 861839"/>
                  <a:gd name="connsiteX48" fmla="*/ 552065 w 840876"/>
                  <a:gd name="connsiteY48" fmla="*/ 750403 h 861839"/>
                  <a:gd name="connsiteX49" fmla="*/ 622607 w 840876"/>
                  <a:gd name="connsiteY49" fmla="*/ 814300 h 861839"/>
                  <a:gd name="connsiteX50" fmla="*/ 629252 w 840876"/>
                  <a:gd name="connsiteY50" fmla="*/ 830147 h 861839"/>
                  <a:gd name="connsiteX51" fmla="*/ 670146 w 840876"/>
                  <a:gd name="connsiteY51" fmla="*/ 842926 h 861839"/>
                  <a:gd name="connsiteX52" fmla="*/ 685481 w 840876"/>
                  <a:gd name="connsiteY52" fmla="*/ 860817 h 861839"/>
                  <a:gd name="connsiteX53" fmla="*/ 696727 w 840876"/>
                  <a:gd name="connsiteY53" fmla="*/ 861839 h 861839"/>
                  <a:gd name="connsiteX54" fmla="*/ 710017 w 840876"/>
                  <a:gd name="connsiteY54" fmla="*/ 852127 h 861839"/>
                  <a:gd name="connsiteX55" fmla="*/ 706439 w 840876"/>
                  <a:gd name="connsiteY55" fmla="*/ 806121 h 861839"/>
                  <a:gd name="connsiteX56" fmla="*/ 798961 w 840876"/>
                  <a:gd name="connsiteY56" fmla="*/ 719222 h 861839"/>
                  <a:gd name="connsiteX57" fmla="*/ 810718 w 840876"/>
                  <a:gd name="connsiteY57" fmla="*/ 657370 h 861839"/>
                  <a:gd name="connsiteX58" fmla="*/ 746821 w 840876"/>
                  <a:gd name="connsiteY58" fmla="*/ 625166 h 861839"/>
                  <a:gd name="connsiteX59" fmla="*/ 746310 w 840876"/>
                  <a:gd name="connsiteY59" fmla="*/ 553090 h 861839"/>
                  <a:gd name="connsiteX60" fmla="*/ 774936 w 840876"/>
                  <a:gd name="connsiteY60" fmla="*/ 543378 h 861839"/>
                  <a:gd name="connsiteX61" fmla="*/ 780048 w 840876"/>
                  <a:gd name="connsiteY61" fmla="*/ 531621 h 861839"/>
                  <a:gd name="connsiteX62" fmla="*/ 791804 w 840876"/>
                  <a:gd name="connsiteY62" fmla="*/ 504529 h 861839"/>
                  <a:gd name="connsiteX63" fmla="*/ 791804 w 840876"/>
                  <a:gd name="connsiteY63" fmla="*/ 504529 h 861839"/>
                  <a:gd name="connsiteX64" fmla="*/ 780048 w 840876"/>
                  <a:gd name="connsiteY64" fmla="*/ 531621 h 861839"/>
                  <a:gd name="connsiteX65" fmla="*/ 780048 w 840876"/>
                  <a:gd name="connsiteY65" fmla="*/ 488682 h 861839"/>
                  <a:gd name="connsiteX66" fmla="*/ 768291 w 840876"/>
                  <a:gd name="connsiteY66" fmla="*/ 487660 h 861839"/>
                  <a:gd name="connsiteX67" fmla="*/ 755000 w 840876"/>
                  <a:gd name="connsiteY67" fmla="*/ 493283 h 861839"/>
                  <a:gd name="connsiteX68" fmla="*/ 728930 w 840876"/>
                  <a:gd name="connsiteY68" fmla="*/ 450344 h 861839"/>
                  <a:gd name="connsiteX69" fmla="*/ 833209 w 840876"/>
                  <a:gd name="connsiteY69" fmla="*/ 371623 h 861839"/>
                  <a:gd name="connsiteX70" fmla="*/ 840877 w 840876"/>
                  <a:gd name="connsiteY70" fmla="*/ 359866 h 861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840876" h="861839">
                    <a:moveTo>
                      <a:pt x="828609" y="276545"/>
                    </a:moveTo>
                    <a:lnTo>
                      <a:pt x="785671" y="262232"/>
                    </a:lnTo>
                    <a:lnTo>
                      <a:pt x="715129" y="310283"/>
                    </a:lnTo>
                    <a:lnTo>
                      <a:pt x="695704" y="303637"/>
                    </a:lnTo>
                    <a:lnTo>
                      <a:pt x="677813" y="281146"/>
                    </a:lnTo>
                    <a:lnTo>
                      <a:pt x="578135" y="240763"/>
                    </a:lnTo>
                    <a:lnTo>
                      <a:pt x="547465" y="254053"/>
                    </a:lnTo>
                    <a:lnTo>
                      <a:pt x="517817" y="311816"/>
                    </a:lnTo>
                    <a:lnTo>
                      <a:pt x="511171" y="305682"/>
                    </a:lnTo>
                    <a:lnTo>
                      <a:pt x="519350" y="275012"/>
                    </a:lnTo>
                    <a:lnTo>
                      <a:pt x="528040" y="236674"/>
                    </a:lnTo>
                    <a:lnTo>
                      <a:pt x="504015" y="222872"/>
                    </a:lnTo>
                    <a:lnTo>
                      <a:pt x="427851" y="241785"/>
                    </a:lnTo>
                    <a:lnTo>
                      <a:pt x="408426" y="232073"/>
                    </a:lnTo>
                    <a:lnTo>
                      <a:pt x="469255" y="196291"/>
                    </a:lnTo>
                    <a:lnTo>
                      <a:pt x="474367" y="108880"/>
                    </a:lnTo>
                    <a:lnTo>
                      <a:pt x="448808" y="60830"/>
                    </a:lnTo>
                    <a:lnTo>
                      <a:pt x="308236" y="12779"/>
                    </a:lnTo>
                    <a:lnTo>
                      <a:pt x="276544" y="32204"/>
                    </a:lnTo>
                    <a:lnTo>
                      <a:pt x="57762" y="0"/>
                    </a:lnTo>
                    <a:lnTo>
                      <a:pt x="511" y="16358"/>
                    </a:lnTo>
                    <a:lnTo>
                      <a:pt x="0" y="16358"/>
                    </a:lnTo>
                    <a:lnTo>
                      <a:pt x="2045" y="54184"/>
                    </a:lnTo>
                    <a:lnTo>
                      <a:pt x="114502" y="192713"/>
                    </a:lnTo>
                    <a:lnTo>
                      <a:pt x="140061" y="261210"/>
                    </a:lnTo>
                    <a:lnTo>
                      <a:pt x="123704" y="261721"/>
                    </a:lnTo>
                    <a:lnTo>
                      <a:pt x="18402" y="289836"/>
                    </a:lnTo>
                    <a:lnTo>
                      <a:pt x="2045" y="316928"/>
                    </a:lnTo>
                    <a:lnTo>
                      <a:pt x="27603" y="353732"/>
                    </a:lnTo>
                    <a:lnTo>
                      <a:pt x="102745" y="336352"/>
                    </a:lnTo>
                    <a:lnTo>
                      <a:pt x="106324" y="358844"/>
                    </a:lnTo>
                    <a:lnTo>
                      <a:pt x="82810" y="363956"/>
                    </a:lnTo>
                    <a:lnTo>
                      <a:pt x="79232" y="426830"/>
                    </a:lnTo>
                    <a:lnTo>
                      <a:pt x="130349" y="435009"/>
                    </a:lnTo>
                    <a:lnTo>
                      <a:pt x="140572" y="481526"/>
                    </a:lnTo>
                    <a:lnTo>
                      <a:pt x="95589" y="474881"/>
                    </a:lnTo>
                    <a:lnTo>
                      <a:pt x="92011" y="496350"/>
                    </a:lnTo>
                    <a:lnTo>
                      <a:pt x="139039" y="561780"/>
                    </a:lnTo>
                    <a:lnTo>
                      <a:pt x="233605" y="567914"/>
                    </a:lnTo>
                    <a:lnTo>
                      <a:pt x="334306" y="676794"/>
                    </a:lnTo>
                    <a:lnTo>
                      <a:pt x="399225" y="748870"/>
                    </a:lnTo>
                    <a:lnTo>
                      <a:pt x="406381" y="709510"/>
                    </a:lnTo>
                    <a:lnTo>
                      <a:pt x="488169" y="673216"/>
                    </a:lnTo>
                    <a:lnTo>
                      <a:pt x="531107" y="623632"/>
                    </a:lnTo>
                    <a:lnTo>
                      <a:pt x="547465" y="627210"/>
                    </a:lnTo>
                    <a:lnTo>
                      <a:pt x="544398" y="669127"/>
                    </a:lnTo>
                    <a:lnTo>
                      <a:pt x="555132" y="688551"/>
                    </a:lnTo>
                    <a:lnTo>
                      <a:pt x="535708" y="742736"/>
                    </a:lnTo>
                    <a:lnTo>
                      <a:pt x="552065" y="750403"/>
                    </a:lnTo>
                    <a:lnTo>
                      <a:pt x="622607" y="814300"/>
                    </a:lnTo>
                    <a:lnTo>
                      <a:pt x="629252" y="830147"/>
                    </a:lnTo>
                    <a:lnTo>
                      <a:pt x="670146" y="842926"/>
                    </a:lnTo>
                    <a:lnTo>
                      <a:pt x="685481" y="860817"/>
                    </a:lnTo>
                    <a:lnTo>
                      <a:pt x="696727" y="861839"/>
                    </a:lnTo>
                    <a:lnTo>
                      <a:pt x="710017" y="852127"/>
                    </a:lnTo>
                    <a:lnTo>
                      <a:pt x="706439" y="806121"/>
                    </a:lnTo>
                    <a:lnTo>
                      <a:pt x="798961" y="719222"/>
                    </a:lnTo>
                    <a:lnTo>
                      <a:pt x="810718" y="657370"/>
                    </a:lnTo>
                    <a:lnTo>
                      <a:pt x="746821" y="625166"/>
                    </a:lnTo>
                    <a:lnTo>
                      <a:pt x="746310" y="553090"/>
                    </a:lnTo>
                    <a:lnTo>
                      <a:pt x="774936" y="543378"/>
                    </a:lnTo>
                    <a:lnTo>
                      <a:pt x="780048" y="531621"/>
                    </a:lnTo>
                    <a:lnTo>
                      <a:pt x="791804" y="504529"/>
                    </a:lnTo>
                    <a:lnTo>
                      <a:pt x="791804" y="504529"/>
                    </a:lnTo>
                    <a:lnTo>
                      <a:pt x="780048" y="531621"/>
                    </a:lnTo>
                    <a:lnTo>
                      <a:pt x="780048" y="488682"/>
                    </a:lnTo>
                    <a:lnTo>
                      <a:pt x="768291" y="487660"/>
                    </a:lnTo>
                    <a:lnTo>
                      <a:pt x="755000" y="493283"/>
                    </a:lnTo>
                    <a:lnTo>
                      <a:pt x="728930" y="450344"/>
                    </a:lnTo>
                    <a:lnTo>
                      <a:pt x="833209" y="371623"/>
                    </a:lnTo>
                    <a:lnTo>
                      <a:pt x="840877" y="359866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F0ED1244-12BC-40B3-8FF2-B598C41FF714}"/>
                  </a:ext>
                </a:extLst>
              </p:cNvPr>
              <p:cNvSpPr/>
              <p:nvPr/>
            </p:nvSpPr>
            <p:spPr>
              <a:xfrm>
                <a:off x="6687017" y="461748"/>
                <a:ext cx="90477" cy="184533"/>
              </a:xfrm>
              <a:custGeom>
                <a:avLst/>
                <a:gdLst>
                  <a:gd name="connsiteX0" fmla="*/ 44983 w 90477"/>
                  <a:gd name="connsiteY0" fmla="*/ 0 h 184533"/>
                  <a:gd name="connsiteX1" fmla="*/ 14824 w 90477"/>
                  <a:gd name="connsiteY1" fmla="*/ 68497 h 184533"/>
                  <a:gd name="connsiteX2" fmla="*/ 0 w 90477"/>
                  <a:gd name="connsiteY2" fmla="*/ 181467 h 184533"/>
                  <a:gd name="connsiteX3" fmla="*/ 28114 w 90477"/>
                  <a:gd name="connsiteY3" fmla="*/ 184534 h 184533"/>
                  <a:gd name="connsiteX4" fmla="*/ 36804 w 90477"/>
                  <a:gd name="connsiteY4" fmla="*/ 126771 h 184533"/>
                  <a:gd name="connsiteX5" fmla="*/ 53162 w 90477"/>
                  <a:gd name="connsiteY5" fmla="*/ 130861 h 184533"/>
                  <a:gd name="connsiteX6" fmla="*/ 88944 w 90477"/>
                  <a:gd name="connsiteY6" fmla="*/ 109902 h 184533"/>
                  <a:gd name="connsiteX7" fmla="*/ 90477 w 90477"/>
                  <a:gd name="connsiteY7" fmla="*/ 93545 h 184533"/>
                  <a:gd name="connsiteX8" fmla="*/ 47539 w 90477"/>
                  <a:gd name="connsiteY8" fmla="*/ 93545 h 184533"/>
                  <a:gd name="connsiteX9" fmla="*/ 78209 w 90477"/>
                  <a:gd name="connsiteY9" fmla="*/ 14313 h 184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477" h="184533">
                    <a:moveTo>
                      <a:pt x="44983" y="0"/>
                    </a:moveTo>
                    <a:lnTo>
                      <a:pt x="14824" y="68497"/>
                    </a:lnTo>
                    <a:lnTo>
                      <a:pt x="0" y="181467"/>
                    </a:lnTo>
                    <a:lnTo>
                      <a:pt x="28114" y="184534"/>
                    </a:lnTo>
                    <a:lnTo>
                      <a:pt x="36804" y="126771"/>
                    </a:lnTo>
                    <a:lnTo>
                      <a:pt x="53162" y="130861"/>
                    </a:lnTo>
                    <a:lnTo>
                      <a:pt x="88944" y="109902"/>
                    </a:lnTo>
                    <a:lnTo>
                      <a:pt x="90477" y="93545"/>
                    </a:lnTo>
                    <a:lnTo>
                      <a:pt x="47539" y="93545"/>
                    </a:lnTo>
                    <a:lnTo>
                      <a:pt x="78209" y="14313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BCEAC0C5-67DF-4AF0-960B-BDC74473976A}"/>
                  </a:ext>
                </a:extLst>
              </p:cNvPr>
              <p:cNvSpPr/>
              <p:nvPr/>
            </p:nvSpPr>
            <p:spPr>
              <a:xfrm>
                <a:off x="6065433" y="3572241"/>
                <a:ext cx="386445" cy="295969"/>
              </a:xfrm>
              <a:custGeom>
                <a:avLst/>
                <a:gdLst>
                  <a:gd name="connsiteX0" fmla="*/ 370088 w 386445"/>
                  <a:gd name="connsiteY0" fmla="*/ 197824 h 295969"/>
                  <a:gd name="connsiteX1" fmla="*/ 386446 w 386445"/>
                  <a:gd name="connsiteY1" fmla="*/ 189645 h 295969"/>
                  <a:gd name="connsiteX2" fmla="*/ 383890 w 386445"/>
                  <a:gd name="connsiteY2" fmla="*/ 149774 h 295969"/>
                  <a:gd name="connsiteX3" fmla="*/ 335840 w 386445"/>
                  <a:gd name="connsiteY3" fmla="*/ 120637 h 295969"/>
                  <a:gd name="connsiteX4" fmla="*/ 335840 w 386445"/>
                  <a:gd name="connsiteY4" fmla="*/ 108880 h 295969"/>
                  <a:gd name="connsiteX5" fmla="*/ 351686 w 386445"/>
                  <a:gd name="connsiteY5" fmla="*/ 90989 h 295969"/>
                  <a:gd name="connsiteX6" fmla="*/ 340951 w 386445"/>
                  <a:gd name="connsiteY6" fmla="*/ 37827 h 295969"/>
                  <a:gd name="connsiteX7" fmla="*/ 252008 w 386445"/>
                  <a:gd name="connsiteY7" fmla="*/ 0 h 295969"/>
                  <a:gd name="connsiteX8" fmla="*/ 219804 w 386445"/>
                  <a:gd name="connsiteY8" fmla="*/ 0 h 295969"/>
                  <a:gd name="connsiteX9" fmla="*/ 97123 w 386445"/>
                  <a:gd name="connsiteY9" fmla="*/ 61341 h 295969"/>
                  <a:gd name="connsiteX10" fmla="*/ 0 w 386445"/>
                  <a:gd name="connsiteY10" fmla="*/ 52651 h 295969"/>
                  <a:gd name="connsiteX11" fmla="*/ 3578 w 386445"/>
                  <a:gd name="connsiteY11" fmla="*/ 92522 h 295969"/>
                  <a:gd name="connsiteX12" fmla="*/ 70542 w 386445"/>
                  <a:gd name="connsiteY12" fmla="*/ 136995 h 295969"/>
                  <a:gd name="connsiteX13" fmla="*/ 74631 w 386445"/>
                  <a:gd name="connsiteY13" fmla="*/ 158975 h 295969"/>
                  <a:gd name="connsiteX14" fmla="*/ 115014 w 386445"/>
                  <a:gd name="connsiteY14" fmla="*/ 241274 h 295969"/>
                  <a:gd name="connsiteX15" fmla="*/ 176354 w 386445"/>
                  <a:gd name="connsiteY15" fmla="*/ 261210 h 295969"/>
                  <a:gd name="connsiteX16" fmla="*/ 193734 w 386445"/>
                  <a:gd name="connsiteY16" fmla="*/ 239741 h 295969"/>
                  <a:gd name="connsiteX17" fmla="*/ 232072 w 386445"/>
                  <a:gd name="connsiteY17" fmla="*/ 238718 h 295969"/>
                  <a:gd name="connsiteX18" fmla="*/ 242806 w 386445"/>
                  <a:gd name="connsiteY18" fmla="*/ 249453 h 295969"/>
                  <a:gd name="connsiteX19" fmla="*/ 249963 w 386445"/>
                  <a:gd name="connsiteY19" fmla="*/ 279612 h 295969"/>
                  <a:gd name="connsiteX20" fmla="*/ 324594 w 386445"/>
                  <a:gd name="connsiteY20" fmla="*/ 295970 h 295969"/>
                  <a:gd name="connsiteX21" fmla="*/ 352708 w 386445"/>
                  <a:gd name="connsiteY21" fmla="*/ 290858 h 295969"/>
                  <a:gd name="connsiteX22" fmla="*/ 374689 w 386445"/>
                  <a:gd name="connsiteY22" fmla="*/ 257120 h 295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86445" h="295969">
                    <a:moveTo>
                      <a:pt x="370088" y="197824"/>
                    </a:moveTo>
                    <a:lnTo>
                      <a:pt x="386446" y="189645"/>
                    </a:lnTo>
                    <a:lnTo>
                      <a:pt x="383890" y="149774"/>
                    </a:lnTo>
                    <a:lnTo>
                      <a:pt x="335840" y="120637"/>
                    </a:lnTo>
                    <a:lnTo>
                      <a:pt x="335840" y="108880"/>
                    </a:lnTo>
                    <a:lnTo>
                      <a:pt x="351686" y="90989"/>
                    </a:lnTo>
                    <a:lnTo>
                      <a:pt x="340951" y="37827"/>
                    </a:lnTo>
                    <a:lnTo>
                      <a:pt x="252008" y="0"/>
                    </a:lnTo>
                    <a:lnTo>
                      <a:pt x="219804" y="0"/>
                    </a:lnTo>
                    <a:lnTo>
                      <a:pt x="97123" y="61341"/>
                    </a:lnTo>
                    <a:lnTo>
                      <a:pt x="0" y="52651"/>
                    </a:lnTo>
                    <a:lnTo>
                      <a:pt x="3578" y="92522"/>
                    </a:lnTo>
                    <a:lnTo>
                      <a:pt x="70542" y="136995"/>
                    </a:lnTo>
                    <a:lnTo>
                      <a:pt x="74631" y="158975"/>
                    </a:lnTo>
                    <a:lnTo>
                      <a:pt x="115014" y="241274"/>
                    </a:lnTo>
                    <a:lnTo>
                      <a:pt x="176354" y="261210"/>
                    </a:lnTo>
                    <a:lnTo>
                      <a:pt x="193734" y="239741"/>
                    </a:lnTo>
                    <a:lnTo>
                      <a:pt x="232072" y="238718"/>
                    </a:lnTo>
                    <a:lnTo>
                      <a:pt x="242806" y="249453"/>
                    </a:lnTo>
                    <a:lnTo>
                      <a:pt x="249963" y="279612"/>
                    </a:lnTo>
                    <a:lnTo>
                      <a:pt x="324594" y="295970"/>
                    </a:lnTo>
                    <a:lnTo>
                      <a:pt x="352708" y="290858"/>
                    </a:lnTo>
                    <a:lnTo>
                      <a:pt x="374689" y="257120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765EC73F-06E2-462F-9EB2-FE5E1CF6C0B1}"/>
                  </a:ext>
                </a:extLst>
              </p:cNvPr>
              <p:cNvSpPr/>
              <p:nvPr/>
            </p:nvSpPr>
            <p:spPr>
              <a:xfrm>
                <a:off x="7546296" y="1575596"/>
                <a:ext cx="920619" cy="1164454"/>
              </a:xfrm>
              <a:custGeom>
                <a:avLst/>
                <a:gdLst>
                  <a:gd name="connsiteX0" fmla="*/ 39871 w 920619"/>
                  <a:gd name="connsiteY0" fmla="*/ 145173 h 1164454"/>
                  <a:gd name="connsiteX1" fmla="*/ 51628 w 920619"/>
                  <a:gd name="connsiteY1" fmla="*/ 109902 h 1164454"/>
                  <a:gd name="connsiteX2" fmla="*/ 118081 w 920619"/>
                  <a:gd name="connsiteY2" fmla="*/ 70542 h 1164454"/>
                  <a:gd name="connsiteX3" fmla="*/ 233605 w 920619"/>
                  <a:gd name="connsiteY3" fmla="*/ 81277 h 1164454"/>
                  <a:gd name="connsiteX4" fmla="*/ 317437 w 920619"/>
                  <a:gd name="connsiteY4" fmla="*/ 0 h 1164454"/>
                  <a:gd name="connsiteX5" fmla="*/ 451364 w 920619"/>
                  <a:gd name="connsiteY5" fmla="*/ 79232 h 1164454"/>
                  <a:gd name="connsiteX6" fmla="*/ 527018 w 920619"/>
                  <a:gd name="connsiteY6" fmla="*/ 57252 h 1164454"/>
                  <a:gd name="connsiteX7" fmla="*/ 553087 w 920619"/>
                  <a:gd name="connsiteY7" fmla="*/ 86388 h 1164454"/>
                  <a:gd name="connsiteX8" fmla="*/ 538264 w 920619"/>
                  <a:gd name="connsiteY8" fmla="*/ 121148 h 1164454"/>
                  <a:gd name="connsiteX9" fmla="*/ 549509 w 920619"/>
                  <a:gd name="connsiteY9" fmla="*/ 198847 h 1164454"/>
                  <a:gd name="connsiteX10" fmla="*/ 530085 w 920619"/>
                  <a:gd name="connsiteY10" fmla="*/ 214693 h 1164454"/>
                  <a:gd name="connsiteX11" fmla="*/ 528551 w 920619"/>
                  <a:gd name="connsiteY11" fmla="*/ 269900 h 1164454"/>
                  <a:gd name="connsiteX12" fmla="*/ 592448 w 920619"/>
                  <a:gd name="connsiteY12" fmla="*/ 285746 h 1164454"/>
                  <a:gd name="connsiteX13" fmla="*/ 572001 w 920619"/>
                  <a:gd name="connsiteY13" fmla="*/ 456990 h 1164454"/>
                  <a:gd name="connsiteX14" fmla="*/ 642031 w 920619"/>
                  <a:gd name="connsiteY14" fmla="*/ 541844 h 1164454"/>
                  <a:gd name="connsiteX15" fmla="*/ 699794 w 920619"/>
                  <a:gd name="connsiteY15" fmla="*/ 557691 h 1164454"/>
                  <a:gd name="connsiteX16" fmla="*/ 730975 w 920619"/>
                  <a:gd name="connsiteY16" fmla="*/ 538266 h 1164454"/>
                  <a:gd name="connsiteX17" fmla="*/ 888416 w 920619"/>
                  <a:gd name="connsiteY17" fmla="*/ 622099 h 1164454"/>
                  <a:gd name="connsiteX18" fmla="*/ 920620 w 920619"/>
                  <a:gd name="connsiteY18" fmla="*/ 694685 h 1164454"/>
                  <a:gd name="connsiteX19" fmla="*/ 879726 w 920619"/>
                  <a:gd name="connsiteY19" fmla="*/ 736602 h 1164454"/>
                  <a:gd name="connsiteX20" fmla="*/ 855701 w 920619"/>
                  <a:gd name="connsiteY20" fmla="*/ 729445 h 1164454"/>
                  <a:gd name="connsiteX21" fmla="*/ 836787 w 920619"/>
                  <a:gd name="connsiteY21" fmla="*/ 754493 h 1164454"/>
                  <a:gd name="connsiteX22" fmla="*/ 817874 w 920619"/>
                  <a:gd name="connsiteY22" fmla="*/ 758582 h 1164454"/>
                  <a:gd name="connsiteX23" fmla="*/ 792827 w 920619"/>
                  <a:gd name="connsiteY23" fmla="*/ 736602 h 1164454"/>
                  <a:gd name="connsiteX24" fmla="*/ 604205 w 920619"/>
                  <a:gd name="connsiteY24" fmla="*/ 813278 h 1164454"/>
                  <a:gd name="connsiteX25" fmla="*/ 565356 w 920619"/>
                  <a:gd name="connsiteY25" fmla="*/ 869507 h 1164454"/>
                  <a:gd name="connsiteX26" fmla="*/ 628741 w 920619"/>
                  <a:gd name="connsiteY26" fmla="*/ 1081644 h 1164454"/>
                  <a:gd name="connsiteX27" fmla="*/ 635386 w 920619"/>
                  <a:gd name="connsiteY27" fmla="*/ 1135317 h 1164454"/>
                  <a:gd name="connsiteX28" fmla="*/ 622096 w 920619"/>
                  <a:gd name="connsiteY28" fmla="*/ 1164454 h 1164454"/>
                  <a:gd name="connsiteX29" fmla="*/ 529574 w 920619"/>
                  <a:gd name="connsiteY29" fmla="*/ 1148608 h 1164454"/>
                  <a:gd name="connsiteX30" fmla="*/ 520373 w 920619"/>
                  <a:gd name="connsiteY30" fmla="*/ 1125094 h 1164454"/>
                  <a:gd name="connsiteX31" fmla="*/ 338395 w 920619"/>
                  <a:gd name="connsiteY31" fmla="*/ 1088289 h 1164454"/>
                  <a:gd name="connsiteX32" fmla="*/ 303125 w 920619"/>
                  <a:gd name="connsiteY32" fmla="*/ 1017747 h 1164454"/>
                  <a:gd name="connsiteX33" fmla="*/ 335328 w 920619"/>
                  <a:gd name="connsiteY33" fmla="*/ 982988 h 1164454"/>
                  <a:gd name="connsiteX34" fmla="*/ 304147 w 920619"/>
                  <a:gd name="connsiteY34" fmla="*/ 940560 h 1164454"/>
                  <a:gd name="connsiteX35" fmla="*/ 152329 w 920619"/>
                  <a:gd name="connsiteY35" fmla="*/ 903756 h 1164454"/>
                  <a:gd name="connsiteX36" fmla="*/ 130860 w 920619"/>
                  <a:gd name="connsiteY36" fmla="*/ 815834 h 1164454"/>
                  <a:gd name="connsiteX37" fmla="*/ 55207 w 920619"/>
                  <a:gd name="connsiteY37" fmla="*/ 794876 h 1164454"/>
                  <a:gd name="connsiteX38" fmla="*/ 15335 w 920619"/>
                  <a:gd name="connsiteY38" fmla="*/ 734557 h 1164454"/>
                  <a:gd name="connsiteX39" fmla="*/ 11246 w 920619"/>
                  <a:gd name="connsiteY39" fmla="*/ 694685 h 1164454"/>
                  <a:gd name="connsiteX40" fmla="*/ 28626 w 920619"/>
                  <a:gd name="connsiteY40" fmla="*/ 669127 h 1164454"/>
                  <a:gd name="connsiteX41" fmla="*/ 0 w 920619"/>
                  <a:gd name="connsiteY41" fmla="*/ 589895 h 1164454"/>
                  <a:gd name="connsiteX42" fmla="*/ 153352 w 920619"/>
                  <a:gd name="connsiteY42" fmla="*/ 521397 h 1164454"/>
                  <a:gd name="connsiteX43" fmla="*/ 146706 w 920619"/>
                  <a:gd name="connsiteY43" fmla="*/ 382358 h 1164454"/>
                  <a:gd name="connsiteX44" fmla="*/ 112458 w 920619"/>
                  <a:gd name="connsiteY44" fmla="*/ 338397 h 1164454"/>
                  <a:gd name="connsiteX45" fmla="*/ 117058 w 920619"/>
                  <a:gd name="connsiteY45" fmla="*/ 288813 h 1164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920619" h="1164454">
                    <a:moveTo>
                      <a:pt x="39871" y="145173"/>
                    </a:moveTo>
                    <a:lnTo>
                      <a:pt x="51628" y="109902"/>
                    </a:lnTo>
                    <a:lnTo>
                      <a:pt x="118081" y="70542"/>
                    </a:lnTo>
                    <a:lnTo>
                      <a:pt x="233605" y="81277"/>
                    </a:lnTo>
                    <a:lnTo>
                      <a:pt x="317437" y="0"/>
                    </a:lnTo>
                    <a:lnTo>
                      <a:pt x="451364" y="79232"/>
                    </a:lnTo>
                    <a:lnTo>
                      <a:pt x="527018" y="57252"/>
                    </a:lnTo>
                    <a:lnTo>
                      <a:pt x="553087" y="86388"/>
                    </a:lnTo>
                    <a:lnTo>
                      <a:pt x="538264" y="121148"/>
                    </a:lnTo>
                    <a:lnTo>
                      <a:pt x="549509" y="198847"/>
                    </a:lnTo>
                    <a:lnTo>
                      <a:pt x="530085" y="214693"/>
                    </a:lnTo>
                    <a:lnTo>
                      <a:pt x="528551" y="269900"/>
                    </a:lnTo>
                    <a:lnTo>
                      <a:pt x="592448" y="285746"/>
                    </a:lnTo>
                    <a:lnTo>
                      <a:pt x="572001" y="456990"/>
                    </a:lnTo>
                    <a:lnTo>
                      <a:pt x="642031" y="541844"/>
                    </a:lnTo>
                    <a:lnTo>
                      <a:pt x="699794" y="557691"/>
                    </a:lnTo>
                    <a:lnTo>
                      <a:pt x="730975" y="538266"/>
                    </a:lnTo>
                    <a:lnTo>
                      <a:pt x="888416" y="622099"/>
                    </a:lnTo>
                    <a:lnTo>
                      <a:pt x="920620" y="694685"/>
                    </a:lnTo>
                    <a:lnTo>
                      <a:pt x="879726" y="736602"/>
                    </a:lnTo>
                    <a:lnTo>
                      <a:pt x="855701" y="729445"/>
                    </a:lnTo>
                    <a:lnTo>
                      <a:pt x="836787" y="754493"/>
                    </a:lnTo>
                    <a:lnTo>
                      <a:pt x="817874" y="758582"/>
                    </a:lnTo>
                    <a:lnTo>
                      <a:pt x="792827" y="736602"/>
                    </a:lnTo>
                    <a:lnTo>
                      <a:pt x="604205" y="813278"/>
                    </a:lnTo>
                    <a:lnTo>
                      <a:pt x="565356" y="869507"/>
                    </a:lnTo>
                    <a:lnTo>
                      <a:pt x="628741" y="1081644"/>
                    </a:lnTo>
                    <a:lnTo>
                      <a:pt x="635386" y="1135317"/>
                    </a:lnTo>
                    <a:lnTo>
                      <a:pt x="622096" y="1164454"/>
                    </a:lnTo>
                    <a:lnTo>
                      <a:pt x="529574" y="1148608"/>
                    </a:lnTo>
                    <a:lnTo>
                      <a:pt x="520373" y="1125094"/>
                    </a:lnTo>
                    <a:lnTo>
                      <a:pt x="338395" y="1088289"/>
                    </a:lnTo>
                    <a:lnTo>
                      <a:pt x="303125" y="1017747"/>
                    </a:lnTo>
                    <a:lnTo>
                      <a:pt x="335328" y="982988"/>
                    </a:lnTo>
                    <a:lnTo>
                      <a:pt x="304147" y="940560"/>
                    </a:lnTo>
                    <a:lnTo>
                      <a:pt x="152329" y="903756"/>
                    </a:lnTo>
                    <a:lnTo>
                      <a:pt x="130860" y="815834"/>
                    </a:lnTo>
                    <a:lnTo>
                      <a:pt x="55207" y="794876"/>
                    </a:lnTo>
                    <a:lnTo>
                      <a:pt x="15335" y="734557"/>
                    </a:lnTo>
                    <a:lnTo>
                      <a:pt x="11246" y="694685"/>
                    </a:lnTo>
                    <a:lnTo>
                      <a:pt x="28626" y="669127"/>
                    </a:lnTo>
                    <a:lnTo>
                      <a:pt x="0" y="589895"/>
                    </a:lnTo>
                    <a:lnTo>
                      <a:pt x="153352" y="521397"/>
                    </a:lnTo>
                    <a:lnTo>
                      <a:pt x="146706" y="382358"/>
                    </a:lnTo>
                    <a:lnTo>
                      <a:pt x="112458" y="338397"/>
                    </a:lnTo>
                    <a:lnTo>
                      <a:pt x="117058" y="288813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43B8D33F-7420-4FE3-93C8-E3E23A9B7150}"/>
                  </a:ext>
                </a:extLst>
              </p:cNvPr>
              <p:cNvSpPr/>
              <p:nvPr/>
            </p:nvSpPr>
            <p:spPr>
              <a:xfrm>
                <a:off x="8071269" y="2294817"/>
                <a:ext cx="1101063" cy="866951"/>
              </a:xfrm>
              <a:custGeom>
                <a:avLst/>
                <a:gdLst>
                  <a:gd name="connsiteX0" fmla="*/ 1101063 w 1101063"/>
                  <a:gd name="connsiteY0" fmla="*/ 421207 h 866951"/>
                  <a:gd name="connsiteX1" fmla="*/ 1028988 w 1101063"/>
                  <a:gd name="connsiteY1" fmla="*/ 457501 h 866951"/>
                  <a:gd name="connsiteX2" fmla="*/ 969692 w 1101063"/>
                  <a:gd name="connsiteY2" fmla="*/ 444210 h 866951"/>
                  <a:gd name="connsiteX3" fmla="*/ 972759 w 1101063"/>
                  <a:gd name="connsiteY3" fmla="*/ 407917 h 866951"/>
                  <a:gd name="connsiteX4" fmla="*/ 906818 w 1101063"/>
                  <a:gd name="connsiteY4" fmla="*/ 349643 h 866951"/>
                  <a:gd name="connsiteX5" fmla="*/ 840366 w 1101063"/>
                  <a:gd name="connsiteY5" fmla="*/ 347087 h 866951"/>
                  <a:gd name="connsiteX6" fmla="*/ 836277 w 1101063"/>
                  <a:gd name="connsiteY6" fmla="*/ 390026 h 866951"/>
                  <a:gd name="connsiteX7" fmla="*/ 881260 w 1101063"/>
                  <a:gd name="connsiteY7" fmla="*/ 407917 h 866951"/>
                  <a:gd name="connsiteX8" fmla="*/ 881260 w 1101063"/>
                  <a:gd name="connsiteY8" fmla="*/ 430920 h 866951"/>
                  <a:gd name="connsiteX9" fmla="*/ 622096 w 1101063"/>
                  <a:gd name="connsiteY9" fmla="*/ 550023 h 866951"/>
                  <a:gd name="connsiteX10" fmla="*/ 570467 w 1101063"/>
                  <a:gd name="connsiteY10" fmla="*/ 617498 h 866951"/>
                  <a:gd name="connsiteX11" fmla="*/ 508616 w 1101063"/>
                  <a:gd name="connsiteY11" fmla="*/ 638456 h 866951"/>
                  <a:gd name="connsiteX12" fmla="*/ 488680 w 1101063"/>
                  <a:gd name="connsiteY12" fmla="*/ 632833 h 866951"/>
                  <a:gd name="connsiteX13" fmla="*/ 467722 w 1101063"/>
                  <a:gd name="connsiteY13" fmla="*/ 654814 h 866951"/>
                  <a:gd name="connsiteX14" fmla="*/ 471300 w 1101063"/>
                  <a:gd name="connsiteY14" fmla="*/ 682417 h 866951"/>
                  <a:gd name="connsiteX15" fmla="*/ 383890 w 1101063"/>
                  <a:gd name="connsiteY15" fmla="*/ 733535 h 866951"/>
                  <a:gd name="connsiteX16" fmla="*/ 334306 w 1101063"/>
                  <a:gd name="connsiteY16" fmla="*/ 721267 h 866951"/>
                  <a:gd name="connsiteX17" fmla="*/ 183000 w 1101063"/>
                  <a:gd name="connsiteY17" fmla="*/ 809189 h 866951"/>
                  <a:gd name="connsiteX18" fmla="*/ 164597 w 1101063"/>
                  <a:gd name="connsiteY18" fmla="*/ 862350 h 866951"/>
                  <a:gd name="connsiteX19" fmla="*/ 147729 w 1101063"/>
                  <a:gd name="connsiteY19" fmla="*/ 866951 h 866951"/>
                  <a:gd name="connsiteX20" fmla="*/ 123704 w 1101063"/>
                  <a:gd name="connsiteY20" fmla="*/ 842415 h 866951"/>
                  <a:gd name="connsiteX21" fmla="*/ 86899 w 1101063"/>
                  <a:gd name="connsiteY21" fmla="*/ 805610 h 866951"/>
                  <a:gd name="connsiteX22" fmla="*/ 0 w 1101063"/>
                  <a:gd name="connsiteY22" fmla="*/ 749892 h 866951"/>
                  <a:gd name="connsiteX23" fmla="*/ 14824 w 1101063"/>
                  <a:gd name="connsiteY23" fmla="*/ 676283 h 866951"/>
                  <a:gd name="connsiteX24" fmla="*/ 31182 w 1101063"/>
                  <a:gd name="connsiteY24" fmla="*/ 662993 h 866951"/>
                  <a:gd name="connsiteX25" fmla="*/ 83832 w 1101063"/>
                  <a:gd name="connsiteY25" fmla="*/ 662993 h 866951"/>
                  <a:gd name="connsiteX26" fmla="*/ 129327 w 1101063"/>
                  <a:gd name="connsiteY26" fmla="*/ 592451 h 866951"/>
                  <a:gd name="connsiteX27" fmla="*/ 103257 w 1101063"/>
                  <a:gd name="connsiteY27" fmla="*/ 526509 h 866951"/>
                  <a:gd name="connsiteX28" fmla="*/ 238206 w 1101063"/>
                  <a:gd name="connsiteY28" fmla="*/ 443699 h 866951"/>
                  <a:gd name="connsiteX29" fmla="*/ 227983 w 1101063"/>
                  <a:gd name="connsiteY29" fmla="*/ 411495 h 866951"/>
                  <a:gd name="connsiteX30" fmla="*/ 103768 w 1101063"/>
                  <a:gd name="connsiteY30" fmla="*/ 362422 h 866951"/>
                  <a:gd name="connsiteX31" fmla="*/ 40383 w 1101063"/>
                  <a:gd name="connsiteY31" fmla="*/ 150285 h 866951"/>
                  <a:gd name="connsiteX32" fmla="*/ 79232 w 1101063"/>
                  <a:gd name="connsiteY32" fmla="*/ 94056 h 866951"/>
                  <a:gd name="connsiteX33" fmla="*/ 267854 w 1101063"/>
                  <a:gd name="connsiteY33" fmla="*/ 17380 h 866951"/>
                  <a:gd name="connsiteX34" fmla="*/ 292901 w 1101063"/>
                  <a:gd name="connsiteY34" fmla="*/ 39360 h 866951"/>
                  <a:gd name="connsiteX35" fmla="*/ 311815 w 1101063"/>
                  <a:gd name="connsiteY35" fmla="*/ 35271 h 866951"/>
                  <a:gd name="connsiteX36" fmla="*/ 330728 w 1101063"/>
                  <a:gd name="connsiteY36" fmla="*/ 10223 h 866951"/>
                  <a:gd name="connsiteX37" fmla="*/ 354753 w 1101063"/>
                  <a:gd name="connsiteY37" fmla="*/ 17380 h 866951"/>
                  <a:gd name="connsiteX38" fmla="*/ 410471 w 1101063"/>
                  <a:gd name="connsiteY38" fmla="*/ 67986 h 866951"/>
                  <a:gd name="connsiteX39" fmla="*/ 416094 w 1101063"/>
                  <a:gd name="connsiteY39" fmla="*/ 102235 h 866951"/>
                  <a:gd name="connsiteX40" fmla="*/ 406893 w 1101063"/>
                  <a:gd name="connsiteY40" fmla="*/ 114503 h 866951"/>
                  <a:gd name="connsiteX41" fmla="*/ 418138 w 1101063"/>
                  <a:gd name="connsiteY41" fmla="*/ 159486 h 866951"/>
                  <a:gd name="connsiteX42" fmla="*/ 438074 w 1101063"/>
                  <a:gd name="connsiteY42" fmla="*/ 165109 h 866951"/>
                  <a:gd name="connsiteX43" fmla="*/ 453409 w 1101063"/>
                  <a:gd name="connsiteY43" fmla="*/ 136483 h 866951"/>
                  <a:gd name="connsiteX44" fmla="*/ 467722 w 1101063"/>
                  <a:gd name="connsiteY44" fmla="*/ 127793 h 866951"/>
                  <a:gd name="connsiteX45" fmla="*/ 561266 w 1101063"/>
                  <a:gd name="connsiteY45" fmla="*/ 158464 h 866951"/>
                  <a:gd name="connsiteX46" fmla="*/ 703883 w 1101063"/>
                  <a:gd name="connsiteY46" fmla="*/ 144151 h 866951"/>
                  <a:gd name="connsiteX47" fmla="*/ 712573 w 1101063"/>
                  <a:gd name="connsiteY47" fmla="*/ 100701 h 866951"/>
                  <a:gd name="connsiteX48" fmla="*/ 741199 w 1101063"/>
                  <a:gd name="connsiteY48" fmla="*/ 50606 h 866951"/>
                  <a:gd name="connsiteX49" fmla="*/ 811229 w 1101063"/>
                  <a:gd name="connsiteY49" fmla="*/ 66453 h 866951"/>
                  <a:gd name="connsiteX50" fmla="*/ 849567 w 1101063"/>
                  <a:gd name="connsiteY50" fmla="*/ 24025 h 866951"/>
                  <a:gd name="connsiteX51" fmla="*/ 959980 w 1101063"/>
                  <a:gd name="connsiteY51" fmla="*/ 0 h 866951"/>
                  <a:gd name="connsiteX52" fmla="*/ 950268 w 1101063"/>
                  <a:gd name="connsiteY52" fmla="*/ 32204 h 866951"/>
                  <a:gd name="connsiteX53" fmla="*/ 962025 w 1101063"/>
                  <a:gd name="connsiteY53" fmla="*/ 48050 h 866951"/>
                  <a:gd name="connsiteX54" fmla="*/ 1020809 w 1101063"/>
                  <a:gd name="connsiteY54" fmla="*/ 63897 h 866951"/>
                  <a:gd name="connsiteX55" fmla="*/ 1082661 w 1101063"/>
                  <a:gd name="connsiteY55" fmla="*/ 228495 h 866951"/>
                  <a:gd name="connsiteX56" fmla="*/ 1066815 w 1101063"/>
                  <a:gd name="connsiteY56" fmla="*/ 320506 h 866951"/>
                  <a:gd name="connsiteX57" fmla="*/ 1101063 w 1101063"/>
                  <a:gd name="connsiteY57" fmla="*/ 359355 h 866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1101063" h="866951">
                    <a:moveTo>
                      <a:pt x="1101063" y="421207"/>
                    </a:moveTo>
                    <a:lnTo>
                      <a:pt x="1028988" y="457501"/>
                    </a:lnTo>
                    <a:lnTo>
                      <a:pt x="969692" y="444210"/>
                    </a:lnTo>
                    <a:lnTo>
                      <a:pt x="972759" y="407917"/>
                    </a:lnTo>
                    <a:lnTo>
                      <a:pt x="906818" y="349643"/>
                    </a:lnTo>
                    <a:lnTo>
                      <a:pt x="840366" y="347087"/>
                    </a:lnTo>
                    <a:lnTo>
                      <a:pt x="836277" y="390026"/>
                    </a:lnTo>
                    <a:lnTo>
                      <a:pt x="881260" y="407917"/>
                    </a:lnTo>
                    <a:lnTo>
                      <a:pt x="881260" y="430920"/>
                    </a:lnTo>
                    <a:lnTo>
                      <a:pt x="622096" y="550023"/>
                    </a:lnTo>
                    <a:lnTo>
                      <a:pt x="570467" y="617498"/>
                    </a:lnTo>
                    <a:lnTo>
                      <a:pt x="508616" y="638456"/>
                    </a:lnTo>
                    <a:lnTo>
                      <a:pt x="488680" y="632833"/>
                    </a:lnTo>
                    <a:lnTo>
                      <a:pt x="467722" y="654814"/>
                    </a:lnTo>
                    <a:lnTo>
                      <a:pt x="471300" y="682417"/>
                    </a:lnTo>
                    <a:lnTo>
                      <a:pt x="383890" y="733535"/>
                    </a:lnTo>
                    <a:lnTo>
                      <a:pt x="334306" y="721267"/>
                    </a:lnTo>
                    <a:lnTo>
                      <a:pt x="183000" y="809189"/>
                    </a:lnTo>
                    <a:lnTo>
                      <a:pt x="164597" y="862350"/>
                    </a:lnTo>
                    <a:lnTo>
                      <a:pt x="147729" y="866951"/>
                    </a:lnTo>
                    <a:lnTo>
                      <a:pt x="123704" y="842415"/>
                    </a:lnTo>
                    <a:lnTo>
                      <a:pt x="86899" y="805610"/>
                    </a:lnTo>
                    <a:lnTo>
                      <a:pt x="0" y="749892"/>
                    </a:lnTo>
                    <a:lnTo>
                      <a:pt x="14824" y="676283"/>
                    </a:lnTo>
                    <a:lnTo>
                      <a:pt x="31182" y="662993"/>
                    </a:lnTo>
                    <a:lnTo>
                      <a:pt x="83832" y="662993"/>
                    </a:lnTo>
                    <a:lnTo>
                      <a:pt x="129327" y="592451"/>
                    </a:lnTo>
                    <a:lnTo>
                      <a:pt x="103257" y="526509"/>
                    </a:lnTo>
                    <a:lnTo>
                      <a:pt x="238206" y="443699"/>
                    </a:lnTo>
                    <a:lnTo>
                      <a:pt x="227983" y="411495"/>
                    </a:lnTo>
                    <a:lnTo>
                      <a:pt x="103768" y="362422"/>
                    </a:lnTo>
                    <a:lnTo>
                      <a:pt x="40383" y="150285"/>
                    </a:lnTo>
                    <a:lnTo>
                      <a:pt x="79232" y="94056"/>
                    </a:lnTo>
                    <a:lnTo>
                      <a:pt x="267854" y="17380"/>
                    </a:lnTo>
                    <a:lnTo>
                      <a:pt x="292901" y="39360"/>
                    </a:lnTo>
                    <a:lnTo>
                      <a:pt x="311815" y="35271"/>
                    </a:lnTo>
                    <a:lnTo>
                      <a:pt x="330728" y="10223"/>
                    </a:lnTo>
                    <a:lnTo>
                      <a:pt x="354753" y="17380"/>
                    </a:lnTo>
                    <a:lnTo>
                      <a:pt x="410471" y="67986"/>
                    </a:lnTo>
                    <a:lnTo>
                      <a:pt x="416094" y="102235"/>
                    </a:lnTo>
                    <a:lnTo>
                      <a:pt x="406893" y="114503"/>
                    </a:lnTo>
                    <a:lnTo>
                      <a:pt x="418138" y="159486"/>
                    </a:lnTo>
                    <a:lnTo>
                      <a:pt x="438074" y="165109"/>
                    </a:lnTo>
                    <a:lnTo>
                      <a:pt x="453409" y="136483"/>
                    </a:lnTo>
                    <a:lnTo>
                      <a:pt x="467722" y="127793"/>
                    </a:lnTo>
                    <a:lnTo>
                      <a:pt x="561266" y="158464"/>
                    </a:lnTo>
                    <a:lnTo>
                      <a:pt x="703883" y="144151"/>
                    </a:lnTo>
                    <a:lnTo>
                      <a:pt x="712573" y="100701"/>
                    </a:lnTo>
                    <a:lnTo>
                      <a:pt x="741199" y="50606"/>
                    </a:lnTo>
                    <a:lnTo>
                      <a:pt x="811229" y="66453"/>
                    </a:lnTo>
                    <a:lnTo>
                      <a:pt x="849567" y="24025"/>
                    </a:lnTo>
                    <a:lnTo>
                      <a:pt x="959980" y="0"/>
                    </a:lnTo>
                    <a:lnTo>
                      <a:pt x="950268" y="32204"/>
                    </a:lnTo>
                    <a:lnTo>
                      <a:pt x="962025" y="48050"/>
                    </a:lnTo>
                    <a:lnTo>
                      <a:pt x="1020809" y="63897"/>
                    </a:lnTo>
                    <a:lnTo>
                      <a:pt x="1082661" y="228495"/>
                    </a:lnTo>
                    <a:lnTo>
                      <a:pt x="1066815" y="320506"/>
                    </a:lnTo>
                    <a:lnTo>
                      <a:pt x="1101063" y="359355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D896B4F9-DD79-4284-A71C-E4B5B38A5262}"/>
                  </a:ext>
                </a:extLst>
              </p:cNvPr>
              <p:cNvSpPr/>
              <p:nvPr/>
            </p:nvSpPr>
            <p:spPr>
              <a:xfrm>
                <a:off x="5986201" y="2826949"/>
                <a:ext cx="858767" cy="1114359"/>
              </a:xfrm>
              <a:custGeom>
                <a:avLst/>
                <a:gdLst>
                  <a:gd name="connsiteX0" fmla="*/ 79232 w 858767"/>
                  <a:gd name="connsiteY0" fmla="*/ 797942 h 1114359"/>
                  <a:gd name="connsiteX1" fmla="*/ 77698 w 858767"/>
                  <a:gd name="connsiteY1" fmla="*/ 784141 h 1114359"/>
                  <a:gd name="connsiteX2" fmla="*/ 127793 w 858767"/>
                  <a:gd name="connsiteY2" fmla="*/ 709509 h 1114359"/>
                  <a:gd name="connsiteX3" fmla="*/ 144150 w 858767"/>
                  <a:gd name="connsiteY3" fmla="*/ 635900 h 1114359"/>
                  <a:gd name="connsiteX4" fmla="*/ 35782 w 858767"/>
                  <a:gd name="connsiteY4" fmla="*/ 576604 h 1114359"/>
                  <a:gd name="connsiteX5" fmla="*/ 0 w 858767"/>
                  <a:gd name="connsiteY5" fmla="*/ 517819 h 1114359"/>
                  <a:gd name="connsiteX6" fmla="*/ 12268 w 858767"/>
                  <a:gd name="connsiteY6" fmla="*/ 383892 h 1114359"/>
                  <a:gd name="connsiteX7" fmla="*/ 82810 w 858767"/>
                  <a:gd name="connsiteY7" fmla="*/ 307215 h 1114359"/>
                  <a:gd name="connsiteX8" fmla="*/ 126259 w 858767"/>
                  <a:gd name="connsiteY8" fmla="*/ 336863 h 1114359"/>
                  <a:gd name="connsiteX9" fmla="*/ 245362 w 858767"/>
                  <a:gd name="connsiteY9" fmla="*/ 334819 h 1114359"/>
                  <a:gd name="connsiteX10" fmla="*/ 226960 w 858767"/>
                  <a:gd name="connsiteY10" fmla="*/ 272967 h 1114359"/>
                  <a:gd name="connsiteX11" fmla="*/ 234117 w 858767"/>
                  <a:gd name="connsiteY11" fmla="*/ 246897 h 1114359"/>
                  <a:gd name="connsiteX12" fmla="*/ 515772 w 858767"/>
                  <a:gd name="connsiteY12" fmla="*/ 86388 h 1114359"/>
                  <a:gd name="connsiteX13" fmla="*/ 530596 w 858767"/>
                  <a:gd name="connsiteY13" fmla="*/ 90989 h 1114359"/>
                  <a:gd name="connsiteX14" fmla="*/ 557177 w 858767"/>
                  <a:gd name="connsiteY14" fmla="*/ 80765 h 1114359"/>
                  <a:gd name="connsiteX15" fmla="*/ 554621 w 858767"/>
                  <a:gd name="connsiteY15" fmla="*/ 53673 h 1114359"/>
                  <a:gd name="connsiteX16" fmla="*/ 575068 w 858767"/>
                  <a:gd name="connsiteY16" fmla="*/ 6645 h 1114359"/>
                  <a:gd name="connsiteX17" fmla="*/ 587847 w 858767"/>
                  <a:gd name="connsiteY17" fmla="*/ 0 h 1114359"/>
                  <a:gd name="connsiteX18" fmla="*/ 716662 w 858767"/>
                  <a:gd name="connsiteY18" fmla="*/ 134439 h 1114359"/>
                  <a:gd name="connsiteX19" fmla="*/ 726375 w 858767"/>
                  <a:gd name="connsiteY19" fmla="*/ 189645 h 1114359"/>
                  <a:gd name="connsiteX20" fmla="*/ 661967 w 858767"/>
                  <a:gd name="connsiteY20" fmla="*/ 235140 h 1114359"/>
                  <a:gd name="connsiteX21" fmla="*/ 665034 w 858767"/>
                  <a:gd name="connsiteY21" fmla="*/ 300059 h 1114359"/>
                  <a:gd name="connsiteX22" fmla="*/ 693660 w 858767"/>
                  <a:gd name="connsiteY22" fmla="*/ 311816 h 1114359"/>
                  <a:gd name="connsiteX23" fmla="*/ 719729 w 858767"/>
                  <a:gd name="connsiteY23" fmla="*/ 367534 h 1114359"/>
                  <a:gd name="connsiteX24" fmla="*/ 596026 w 858767"/>
                  <a:gd name="connsiteY24" fmla="*/ 489705 h 1114359"/>
                  <a:gd name="connsiteX25" fmla="*/ 643054 w 858767"/>
                  <a:gd name="connsiteY25" fmla="*/ 546956 h 1114359"/>
                  <a:gd name="connsiteX26" fmla="*/ 672702 w 858767"/>
                  <a:gd name="connsiteY26" fmla="*/ 548490 h 1114359"/>
                  <a:gd name="connsiteX27" fmla="*/ 723308 w 858767"/>
                  <a:gd name="connsiteY27" fmla="*/ 524976 h 1114359"/>
                  <a:gd name="connsiteX28" fmla="*/ 794360 w 858767"/>
                  <a:gd name="connsiteY28" fmla="*/ 538266 h 1114359"/>
                  <a:gd name="connsiteX29" fmla="*/ 820941 w 858767"/>
                  <a:gd name="connsiteY29" fmla="*/ 655325 h 1114359"/>
                  <a:gd name="connsiteX30" fmla="*/ 810207 w 858767"/>
                  <a:gd name="connsiteY30" fmla="*/ 720755 h 1114359"/>
                  <a:gd name="connsiteX31" fmla="*/ 827075 w 858767"/>
                  <a:gd name="connsiteY31" fmla="*/ 759604 h 1114359"/>
                  <a:gd name="connsiteX32" fmla="*/ 833721 w 858767"/>
                  <a:gd name="connsiteY32" fmla="*/ 815322 h 1114359"/>
                  <a:gd name="connsiteX33" fmla="*/ 858768 w 858767"/>
                  <a:gd name="connsiteY33" fmla="*/ 868484 h 1114359"/>
                  <a:gd name="connsiteX34" fmla="*/ 845478 w 858767"/>
                  <a:gd name="connsiteY34" fmla="*/ 922158 h 1114359"/>
                  <a:gd name="connsiteX35" fmla="*/ 852634 w 858767"/>
                  <a:gd name="connsiteY35" fmla="*/ 940560 h 1114359"/>
                  <a:gd name="connsiteX36" fmla="*/ 828609 w 858767"/>
                  <a:gd name="connsiteY36" fmla="*/ 968675 h 1114359"/>
                  <a:gd name="connsiteX37" fmla="*/ 783115 w 858767"/>
                  <a:gd name="connsiteY37" fmla="*/ 1114359 h 1114359"/>
                  <a:gd name="connsiteX38" fmla="*/ 695704 w 858767"/>
                  <a:gd name="connsiteY38" fmla="*/ 1088801 h 1114359"/>
                  <a:gd name="connsiteX39" fmla="*/ 685481 w 858767"/>
                  <a:gd name="connsiteY39" fmla="*/ 1072954 h 1114359"/>
                  <a:gd name="connsiteX40" fmla="*/ 668612 w 858767"/>
                  <a:gd name="connsiteY40" fmla="*/ 1062731 h 1114359"/>
                  <a:gd name="connsiteX41" fmla="*/ 639475 w 858767"/>
                  <a:gd name="connsiteY41" fmla="*/ 1074488 h 1114359"/>
                  <a:gd name="connsiteX42" fmla="*/ 501459 w 858767"/>
                  <a:gd name="connsiteY42" fmla="*/ 1028482 h 1114359"/>
                  <a:gd name="connsiteX43" fmla="*/ 493792 w 858767"/>
                  <a:gd name="connsiteY43" fmla="*/ 1002412 h 1114359"/>
                  <a:gd name="connsiteX44" fmla="*/ 453920 w 858767"/>
                  <a:gd name="connsiteY44" fmla="*/ 1002412 h 1114359"/>
                  <a:gd name="connsiteX45" fmla="*/ 449320 w 858767"/>
                  <a:gd name="connsiteY45" fmla="*/ 943116 h 1114359"/>
                  <a:gd name="connsiteX46" fmla="*/ 465677 w 858767"/>
                  <a:gd name="connsiteY46" fmla="*/ 934937 h 1114359"/>
                  <a:gd name="connsiteX47" fmla="*/ 463121 w 858767"/>
                  <a:gd name="connsiteY47" fmla="*/ 895066 h 1114359"/>
                  <a:gd name="connsiteX48" fmla="*/ 415071 w 858767"/>
                  <a:gd name="connsiteY48" fmla="*/ 865929 h 1114359"/>
                  <a:gd name="connsiteX49" fmla="*/ 415071 w 858767"/>
                  <a:gd name="connsiteY49" fmla="*/ 854172 h 1114359"/>
                  <a:gd name="connsiteX50" fmla="*/ 430918 w 858767"/>
                  <a:gd name="connsiteY50" fmla="*/ 836281 h 1114359"/>
                  <a:gd name="connsiteX51" fmla="*/ 420183 w 858767"/>
                  <a:gd name="connsiteY51" fmla="*/ 783119 h 1114359"/>
                  <a:gd name="connsiteX52" fmla="*/ 331239 w 858767"/>
                  <a:gd name="connsiteY52" fmla="*/ 745292 h 1114359"/>
                  <a:gd name="connsiteX53" fmla="*/ 299035 w 858767"/>
                  <a:gd name="connsiteY53" fmla="*/ 745292 h 1114359"/>
                  <a:gd name="connsiteX54" fmla="*/ 176354 w 858767"/>
                  <a:gd name="connsiteY54" fmla="*/ 806632 h 1114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858767" h="1114359">
                    <a:moveTo>
                      <a:pt x="79232" y="797942"/>
                    </a:moveTo>
                    <a:lnTo>
                      <a:pt x="77698" y="784141"/>
                    </a:lnTo>
                    <a:lnTo>
                      <a:pt x="127793" y="709509"/>
                    </a:lnTo>
                    <a:lnTo>
                      <a:pt x="144150" y="635900"/>
                    </a:lnTo>
                    <a:lnTo>
                      <a:pt x="35782" y="576604"/>
                    </a:lnTo>
                    <a:lnTo>
                      <a:pt x="0" y="517819"/>
                    </a:lnTo>
                    <a:lnTo>
                      <a:pt x="12268" y="383892"/>
                    </a:lnTo>
                    <a:lnTo>
                      <a:pt x="82810" y="307215"/>
                    </a:lnTo>
                    <a:lnTo>
                      <a:pt x="126259" y="336863"/>
                    </a:lnTo>
                    <a:lnTo>
                      <a:pt x="245362" y="334819"/>
                    </a:lnTo>
                    <a:lnTo>
                      <a:pt x="226960" y="272967"/>
                    </a:lnTo>
                    <a:lnTo>
                      <a:pt x="234117" y="246897"/>
                    </a:lnTo>
                    <a:lnTo>
                      <a:pt x="515772" y="86388"/>
                    </a:lnTo>
                    <a:lnTo>
                      <a:pt x="530596" y="90989"/>
                    </a:lnTo>
                    <a:lnTo>
                      <a:pt x="557177" y="80765"/>
                    </a:lnTo>
                    <a:lnTo>
                      <a:pt x="554621" y="53673"/>
                    </a:lnTo>
                    <a:lnTo>
                      <a:pt x="575068" y="6645"/>
                    </a:lnTo>
                    <a:lnTo>
                      <a:pt x="587847" y="0"/>
                    </a:lnTo>
                    <a:lnTo>
                      <a:pt x="716662" y="134439"/>
                    </a:lnTo>
                    <a:lnTo>
                      <a:pt x="726375" y="189645"/>
                    </a:lnTo>
                    <a:lnTo>
                      <a:pt x="661967" y="235140"/>
                    </a:lnTo>
                    <a:lnTo>
                      <a:pt x="665034" y="300059"/>
                    </a:lnTo>
                    <a:lnTo>
                      <a:pt x="693660" y="311816"/>
                    </a:lnTo>
                    <a:lnTo>
                      <a:pt x="719729" y="367534"/>
                    </a:lnTo>
                    <a:lnTo>
                      <a:pt x="596026" y="489705"/>
                    </a:lnTo>
                    <a:lnTo>
                      <a:pt x="643054" y="546956"/>
                    </a:lnTo>
                    <a:lnTo>
                      <a:pt x="672702" y="548490"/>
                    </a:lnTo>
                    <a:lnTo>
                      <a:pt x="723308" y="524976"/>
                    </a:lnTo>
                    <a:lnTo>
                      <a:pt x="794360" y="538266"/>
                    </a:lnTo>
                    <a:lnTo>
                      <a:pt x="820941" y="655325"/>
                    </a:lnTo>
                    <a:lnTo>
                      <a:pt x="810207" y="720755"/>
                    </a:lnTo>
                    <a:lnTo>
                      <a:pt x="827075" y="759604"/>
                    </a:lnTo>
                    <a:lnTo>
                      <a:pt x="833721" y="815322"/>
                    </a:lnTo>
                    <a:lnTo>
                      <a:pt x="858768" y="868484"/>
                    </a:lnTo>
                    <a:lnTo>
                      <a:pt x="845478" y="922158"/>
                    </a:lnTo>
                    <a:lnTo>
                      <a:pt x="852634" y="940560"/>
                    </a:lnTo>
                    <a:lnTo>
                      <a:pt x="828609" y="968675"/>
                    </a:lnTo>
                    <a:lnTo>
                      <a:pt x="783115" y="1114359"/>
                    </a:lnTo>
                    <a:lnTo>
                      <a:pt x="695704" y="1088801"/>
                    </a:lnTo>
                    <a:lnTo>
                      <a:pt x="685481" y="1072954"/>
                    </a:lnTo>
                    <a:lnTo>
                      <a:pt x="668612" y="1062731"/>
                    </a:lnTo>
                    <a:lnTo>
                      <a:pt x="639475" y="1074488"/>
                    </a:lnTo>
                    <a:lnTo>
                      <a:pt x="501459" y="1028482"/>
                    </a:lnTo>
                    <a:lnTo>
                      <a:pt x="493792" y="1002412"/>
                    </a:lnTo>
                    <a:lnTo>
                      <a:pt x="453920" y="1002412"/>
                    </a:lnTo>
                    <a:lnTo>
                      <a:pt x="449320" y="943116"/>
                    </a:lnTo>
                    <a:lnTo>
                      <a:pt x="465677" y="934937"/>
                    </a:lnTo>
                    <a:lnTo>
                      <a:pt x="463121" y="895066"/>
                    </a:lnTo>
                    <a:lnTo>
                      <a:pt x="415071" y="865929"/>
                    </a:lnTo>
                    <a:lnTo>
                      <a:pt x="415071" y="854172"/>
                    </a:lnTo>
                    <a:lnTo>
                      <a:pt x="430918" y="836281"/>
                    </a:lnTo>
                    <a:lnTo>
                      <a:pt x="420183" y="783119"/>
                    </a:lnTo>
                    <a:lnTo>
                      <a:pt x="331239" y="745292"/>
                    </a:lnTo>
                    <a:lnTo>
                      <a:pt x="299035" y="745292"/>
                    </a:lnTo>
                    <a:lnTo>
                      <a:pt x="176354" y="806632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00D6E4EE-BD5D-48B1-A9B3-74279E21C7AE}"/>
                  </a:ext>
                </a:extLst>
              </p:cNvPr>
              <p:cNvSpPr/>
              <p:nvPr/>
            </p:nvSpPr>
            <p:spPr>
              <a:xfrm>
                <a:off x="5907481" y="1894057"/>
                <a:ext cx="1240612" cy="1269755"/>
              </a:xfrm>
              <a:custGeom>
                <a:avLst/>
                <a:gdLst>
                  <a:gd name="connsiteX0" fmla="*/ 666568 w 1240612"/>
                  <a:gd name="connsiteY0" fmla="*/ 932893 h 1269755"/>
                  <a:gd name="connsiteX1" fmla="*/ 653788 w 1240612"/>
                  <a:gd name="connsiteY1" fmla="*/ 939538 h 1269755"/>
                  <a:gd name="connsiteX2" fmla="*/ 633341 w 1240612"/>
                  <a:gd name="connsiteY2" fmla="*/ 986566 h 1269755"/>
                  <a:gd name="connsiteX3" fmla="*/ 635897 w 1240612"/>
                  <a:gd name="connsiteY3" fmla="*/ 1013658 h 1269755"/>
                  <a:gd name="connsiteX4" fmla="*/ 609316 w 1240612"/>
                  <a:gd name="connsiteY4" fmla="*/ 1023881 h 1269755"/>
                  <a:gd name="connsiteX5" fmla="*/ 594492 w 1240612"/>
                  <a:gd name="connsiteY5" fmla="*/ 1019281 h 1269755"/>
                  <a:gd name="connsiteX6" fmla="*/ 312837 w 1240612"/>
                  <a:gd name="connsiteY6" fmla="*/ 1179789 h 1269755"/>
                  <a:gd name="connsiteX7" fmla="*/ 305681 w 1240612"/>
                  <a:gd name="connsiteY7" fmla="*/ 1205859 h 1269755"/>
                  <a:gd name="connsiteX8" fmla="*/ 324083 w 1240612"/>
                  <a:gd name="connsiteY8" fmla="*/ 1267711 h 1269755"/>
                  <a:gd name="connsiteX9" fmla="*/ 204980 w 1240612"/>
                  <a:gd name="connsiteY9" fmla="*/ 1269756 h 1269755"/>
                  <a:gd name="connsiteX10" fmla="*/ 161530 w 1240612"/>
                  <a:gd name="connsiteY10" fmla="*/ 1240108 h 1269755"/>
                  <a:gd name="connsiteX11" fmla="*/ 164086 w 1240612"/>
                  <a:gd name="connsiteY11" fmla="*/ 1213016 h 1269755"/>
                  <a:gd name="connsiteX12" fmla="*/ 108368 w 1240612"/>
                  <a:gd name="connsiteY12" fmla="*/ 1165988 h 1269755"/>
                  <a:gd name="connsiteX13" fmla="*/ 28114 w 1240612"/>
                  <a:gd name="connsiteY13" fmla="*/ 1000879 h 1269755"/>
                  <a:gd name="connsiteX14" fmla="*/ 72586 w 1240612"/>
                  <a:gd name="connsiteY14" fmla="*/ 986055 h 1269755"/>
                  <a:gd name="connsiteX15" fmla="*/ 44472 w 1240612"/>
                  <a:gd name="connsiteY15" fmla="*/ 898644 h 1269755"/>
                  <a:gd name="connsiteX16" fmla="*/ 7156 w 1240612"/>
                  <a:gd name="connsiteY16" fmla="*/ 887909 h 1269755"/>
                  <a:gd name="connsiteX17" fmla="*/ 0 w 1240612"/>
                  <a:gd name="connsiteY17" fmla="*/ 857239 h 1269755"/>
                  <a:gd name="connsiteX18" fmla="*/ 117058 w 1240612"/>
                  <a:gd name="connsiteY18" fmla="*/ 695708 h 1269755"/>
                  <a:gd name="connsiteX19" fmla="*/ 120636 w 1240612"/>
                  <a:gd name="connsiteY19" fmla="*/ 587850 h 1269755"/>
                  <a:gd name="connsiteX20" fmla="*/ 74120 w 1240612"/>
                  <a:gd name="connsiteY20" fmla="*/ 545423 h 1269755"/>
                  <a:gd name="connsiteX21" fmla="*/ 24025 w 1240612"/>
                  <a:gd name="connsiteY21" fmla="*/ 413540 h 1269755"/>
                  <a:gd name="connsiteX22" fmla="*/ 82810 w 1240612"/>
                  <a:gd name="connsiteY22" fmla="*/ 371623 h 1269755"/>
                  <a:gd name="connsiteX23" fmla="*/ 195267 w 1240612"/>
                  <a:gd name="connsiteY23" fmla="*/ 399227 h 1269755"/>
                  <a:gd name="connsiteX24" fmla="*/ 292901 w 1240612"/>
                  <a:gd name="connsiteY24" fmla="*/ 380825 h 1269755"/>
                  <a:gd name="connsiteX25" fmla="*/ 326638 w 1240612"/>
                  <a:gd name="connsiteY25" fmla="*/ 321528 h 1269755"/>
                  <a:gd name="connsiteX26" fmla="*/ 270921 w 1240612"/>
                  <a:gd name="connsiteY26" fmla="*/ 286768 h 1269755"/>
                  <a:gd name="connsiteX27" fmla="*/ 304147 w 1240612"/>
                  <a:gd name="connsiteY27" fmla="*/ 243319 h 1269755"/>
                  <a:gd name="connsiteX28" fmla="*/ 331750 w 1240612"/>
                  <a:gd name="connsiteY28" fmla="*/ 246897 h 1269755"/>
                  <a:gd name="connsiteX29" fmla="*/ 412515 w 1240612"/>
                  <a:gd name="connsiteY29" fmla="*/ 171243 h 1269755"/>
                  <a:gd name="connsiteX30" fmla="*/ 493280 w 1240612"/>
                  <a:gd name="connsiteY30" fmla="*/ 162042 h 1269755"/>
                  <a:gd name="connsiteX31" fmla="*/ 578135 w 1240612"/>
                  <a:gd name="connsiteY31" fmla="*/ 101724 h 1269755"/>
                  <a:gd name="connsiteX32" fmla="*/ 589892 w 1240612"/>
                  <a:gd name="connsiteY32" fmla="*/ 42939 h 1269755"/>
                  <a:gd name="connsiteX33" fmla="*/ 626696 w 1240612"/>
                  <a:gd name="connsiteY33" fmla="*/ 46006 h 1269755"/>
                  <a:gd name="connsiteX34" fmla="*/ 719729 w 1240612"/>
                  <a:gd name="connsiteY34" fmla="*/ 107858 h 1269755"/>
                  <a:gd name="connsiteX35" fmla="*/ 696215 w 1240612"/>
                  <a:gd name="connsiteY35" fmla="*/ 197313 h 1269755"/>
                  <a:gd name="connsiteX36" fmla="*/ 734042 w 1240612"/>
                  <a:gd name="connsiteY36" fmla="*/ 209070 h 1269755"/>
                  <a:gd name="connsiteX37" fmla="*/ 728419 w 1240612"/>
                  <a:gd name="connsiteY37" fmla="*/ 234118 h 1269755"/>
                  <a:gd name="connsiteX38" fmla="*/ 676791 w 1240612"/>
                  <a:gd name="connsiteY38" fmla="*/ 255076 h 1269755"/>
                  <a:gd name="connsiteX39" fmla="*/ 735576 w 1240612"/>
                  <a:gd name="connsiteY39" fmla="*/ 292903 h 1269755"/>
                  <a:gd name="connsiteX40" fmla="*/ 828609 w 1240612"/>
                  <a:gd name="connsiteY40" fmla="*/ 226961 h 1269755"/>
                  <a:gd name="connsiteX41" fmla="*/ 875637 w 1240612"/>
                  <a:gd name="connsiteY41" fmla="*/ 238718 h 1269755"/>
                  <a:gd name="connsiteX42" fmla="*/ 907329 w 1240612"/>
                  <a:gd name="connsiteY42" fmla="*/ 207537 h 1269755"/>
                  <a:gd name="connsiteX43" fmla="*/ 829120 w 1240612"/>
                  <a:gd name="connsiteY43" fmla="*/ 50606 h 1269755"/>
                  <a:gd name="connsiteX44" fmla="*/ 956913 w 1240612"/>
                  <a:gd name="connsiteY44" fmla="*/ 0 h 1269755"/>
                  <a:gd name="connsiteX45" fmla="*/ 973781 w 1240612"/>
                  <a:gd name="connsiteY45" fmla="*/ 15335 h 1269755"/>
                  <a:gd name="connsiteX46" fmla="*/ 972759 w 1240612"/>
                  <a:gd name="connsiteY46" fmla="*/ 66453 h 1269755"/>
                  <a:gd name="connsiteX47" fmla="*/ 1067326 w 1240612"/>
                  <a:gd name="connsiteY47" fmla="*/ 67475 h 1269755"/>
                  <a:gd name="connsiteX48" fmla="*/ 1091862 w 1240612"/>
                  <a:gd name="connsiteY48" fmla="*/ 26581 h 1269755"/>
                  <a:gd name="connsiteX49" fmla="*/ 1124577 w 1240612"/>
                  <a:gd name="connsiteY49" fmla="*/ 67475 h 1269755"/>
                  <a:gd name="connsiteX50" fmla="*/ 1070904 w 1240612"/>
                  <a:gd name="connsiteY50" fmla="*/ 144662 h 1269755"/>
                  <a:gd name="connsiteX51" fmla="*/ 1207387 w 1240612"/>
                  <a:gd name="connsiteY51" fmla="*/ 382869 h 1269755"/>
                  <a:gd name="connsiteX52" fmla="*/ 1240613 w 1240612"/>
                  <a:gd name="connsiteY52" fmla="*/ 383892 h 1269755"/>
                  <a:gd name="connsiteX53" fmla="*/ 1236524 w 1240612"/>
                  <a:gd name="connsiteY53" fmla="*/ 514241 h 1269755"/>
                  <a:gd name="connsiteX54" fmla="*/ 1158314 w 1240612"/>
                  <a:gd name="connsiteY54" fmla="*/ 640501 h 1269755"/>
                  <a:gd name="connsiteX55" fmla="*/ 1122532 w 1240612"/>
                  <a:gd name="connsiteY55" fmla="*/ 638967 h 1269755"/>
                  <a:gd name="connsiteX56" fmla="*/ 1119977 w 1240612"/>
                  <a:gd name="connsiteY56" fmla="*/ 599607 h 1269755"/>
                  <a:gd name="connsiteX57" fmla="*/ 1049435 w 1240612"/>
                  <a:gd name="connsiteY57" fmla="*/ 608808 h 1269755"/>
                  <a:gd name="connsiteX58" fmla="*/ 941578 w 1240612"/>
                  <a:gd name="connsiteY58" fmla="*/ 719733 h 1269755"/>
                  <a:gd name="connsiteX59" fmla="*/ 963047 w 1240612"/>
                  <a:gd name="connsiteY59" fmla="*/ 739157 h 1269755"/>
                  <a:gd name="connsiteX60" fmla="*/ 992184 w 1240612"/>
                  <a:gd name="connsiteY60" fmla="*/ 719733 h 1269755"/>
                  <a:gd name="connsiteX61" fmla="*/ 1017742 w 1240612"/>
                  <a:gd name="connsiteY61" fmla="*/ 781074 h 1269755"/>
                  <a:gd name="connsiteX62" fmla="*/ 926243 w 1240612"/>
                  <a:gd name="connsiteY62" fmla="*/ 835769 h 1269755"/>
                  <a:gd name="connsiteX63" fmla="*/ 795383 w 1240612"/>
                  <a:gd name="connsiteY63" fmla="*/ 1067331 h 1269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1240612" h="1269755">
                    <a:moveTo>
                      <a:pt x="666568" y="932893"/>
                    </a:moveTo>
                    <a:lnTo>
                      <a:pt x="653788" y="939538"/>
                    </a:lnTo>
                    <a:lnTo>
                      <a:pt x="633341" y="986566"/>
                    </a:lnTo>
                    <a:lnTo>
                      <a:pt x="635897" y="1013658"/>
                    </a:lnTo>
                    <a:lnTo>
                      <a:pt x="609316" y="1023881"/>
                    </a:lnTo>
                    <a:lnTo>
                      <a:pt x="594492" y="1019281"/>
                    </a:lnTo>
                    <a:lnTo>
                      <a:pt x="312837" y="1179789"/>
                    </a:lnTo>
                    <a:lnTo>
                      <a:pt x="305681" y="1205859"/>
                    </a:lnTo>
                    <a:lnTo>
                      <a:pt x="324083" y="1267711"/>
                    </a:lnTo>
                    <a:lnTo>
                      <a:pt x="204980" y="1269756"/>
                    </a:lnTo>
                    <a:lnTo>
                      <a:pt x="161530" y="1240108"/>
                    </a:lnTo>
                    <a:lnTo>
                      <a:pt x="164086" y="1213016"/>
                    </a:lnTo>
                    <a:lnTo>
                      <a:pt x="108368" y="1165988"/>
                    </a:lnTo>
                    <a:lnTo>
                      <a:pt x="28114" y="1000879"/>
                    </a:lnTo>
                    <a:lnTo>
                      <a:pt x="72586" y="986055"/>
                    </a:lnTo>
                    <a:lnTo>
                      <a:pt x="44472" y="898644"/>
                    </a:lnTo>
                    <a:lnTo>
                      <a:pt x="7156" y="887909"/>
                    </a:lnTo>
                    <a:lnTo>
                      <a:pt x="0" y="857239"/>
                    </a:lnTo>
                    <a:lnTo>
                      <a:pt x="117058" y="695708"/>
                    </a:lnTo>
                    <a:lnTo>
                      <a:pt x="120636" y="587850"/>
                    </a:lnTo>
                    <a:lnTo>
                      <a:pt x="74120" y="545423"/>
                    </a:lnTo>
                    <a:lnTo>
                      <a:pt x="24025" y="413540"/>
                    </a:lnTo>
                    <a:lnTo>
                      <a:pt x="82810" y="371623"/>
                    </a:lnTo>
                    <a:lnTo>
                      <a:pt x="195267" y="399227"/>
                    </a:lnTo>
                    <a:lnTo>
                      <a:pt x="292901" y="380825"/>
                    </a:lnTo>
                    <a:lnTo>
                      <a:pt x="326638" y="321528"/>
                    </a:lnTo>
                    <a:lnTo>
                      <a:pt x="270921" y="286768"/>
                    </a:lnTo>
                    <a:lnTo>
                      <a:pt x="304147" y="243319"/>
                    </a:lnTo>
                    <a:lnTo>
                      <a:pt x="331750" y="246897"/>
                    </a:lnTo>
                    <a:lnTo>
                      <a:pt x="412515" y="171243"/>
                    </a:lnTo>
                    <a:lnTo>
                      <a:pt x="493280" y="162042"/>
                    </a:lnTo>
                    <a:lnTo>
                      <a:pt x="578135" y="101724"/>
                    </a:lnTo>
                    <a:lnTo>
                      <a:pt x="589892" y="42939"/>
                    </a:lnTo>
                    <a:lnTo>
                      <a:pt x="626696" y="46006"/>
                    </a:lnTo>
                    <a:lnTo>
                      <a:pt x="719729" y="107858"/>
                    </a:lnTo>
                    <a:lnTo>
                      <a:pt x="696215" y="197313"/>
                    </a:lnTo>
                    <a:lnTo>
                      <a:pt x="734042" y="209070"/>
                    </a:lnTo>
                    <a:lnTo>
                      <a:pt x="728419" y="234118"/>
                    </a:lnTo>
                    <a:lnTo>
                      <a:pt x="676791" y="255076"/>
                    </a:lnTo>
                    <a:lnTo>
                      <a:pt x="735576" y="292903"/>
                    </a:lnTo>
                    <a:lnTo>
                      <a:pt x="828609" y="226961"/>
                    </a:lnTo>
                    <a:lnTo>
                      <a:pt x="875637" y="238718"/>
                    </a:lnTo>
                    <a:lnTo>
                      <a:pt x="907329" y="207537"/>
                    </a:lnTo>
                    <a:lnTo>
                      <a:pt x="829120" y="50606"/>
                    </a:lnTo>
                    <a:lnTo>
                      <a:pt x="956913" y="0"/>
                    </a:lnTo>
                    <a:lnTo>
                      <a:pt x="973781" y="15335"/>
                    </a:lnTo>
                    <a:lnTo>
                      <a:pt x="972759" y="66453"/>
                    </a:lnTo>
                    <a:lnTo>
                      <a:pt x="1067326" y="67475"/>
                    </a:lnTo>
                    <a:lnTo>
                      <a:pt x="1091862" y="26581"/>
                    </a:lnTo>
                    <a:lnTo>
                      <a:pt x="1124577" y="67475"/>
                    </a:lnTo>
                    <a:lnTo>
                      <a:pt x="1070904" y="144662"/>
                    </a:lnTo>
                    <a:lnTo>
                      <a:pt x="1207387" y="382869"/>
                    </a:lnTo>
                    <a:lnTo>
                      <a:pt x="1240613" y="383892"/>
                    </a:lnTo>
                    <a:lnTo>
                      <a:pt x="1236524" y="514241"/>
                    </a:lnTo>
                    <a:lnTo>
                      <a:pt x="1158314" y="640501"/>
                    </a:lnTo>
                    <a:lnTo>
                      <a:pt x="1122532" y="638967"/>
                    </a:lnTo>
                    <a:lnTo>
                      <a:pt x="1119977" y="599607"/>
                    </a:lnTo>
                    <a:lnTo>
                      <a:pt x="1049435" y="608808"/>
                    </a:lnTo>
                    <a:lnTo>
                      <a:pt x="941578" y="719733"/>
                    </a:lnTo>
                    <a:lnTo>
                      <a:pt x="963047" y="739157"/>
                    </a:lnTo>
                    <a:lnTo>
                      <a:pt x="992184" y="719733"/>
                    </a:lnTo>
                    <a:lnTo>
                      <a:pt x="1017742" y="781074"/>
                    </a:lnTo>
                    <a:lnTo>
                      <a:pt x="926243" y="835769"/>
                    </a:lnTo>
                    <a:lnTo>
                      <a:pt x="795383" y="1067331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D38552E0-D493-4B8C-A046-5AFA56523760}"/>
                  </a:ext>
                </a:extLst>
              </p:cNvPr>
              <p:cNvSpPr/>
              <p:nvPr/>
            </p:nvSpPr>
            <p:spPr>
              <a:xfrm>
                <a:off x="6182491" y="1121162"/>
                <a:ext cx="1679197" cy="1478826"/>
              </a:xfrm>
              <a:custGeom>
                <a:avLst/>
                <a:gdLst>
                  <a:gd name="connsiteX0" fmla="*/ 658389 w 1679197"/>
                  <a:gd name="connsiteY0" fmla="*/ 409962 h 1478826"/>
                  <a:gd name="connsiteX1" fmla="*/ 690593 w 1679197"/>
                  <a:gd name="connsiteY1" fmla="*/ 478459 h 1478826"/>
                  <a:gd name="connsiteX2" fmla="*/ 705928 w 1679197"/>
                  <a:gd name="connsiteY2" fmla="*/ 490216 h 1478826"/>
                  <a:gd name="connsiteX3" fmla="*/ 759601 w 1679197"/>
                  <a:gd name="connsiteY3" fmla="*/ 495328 h 1478826"/>
                  <a:gd name="connsiteX4" fmla="*/ 786693 w 1679197"/>
                  <a:gd name="connsiteY4" fmla="*/ 448300 h 1478826"/>
                  <a:gd name="connsiteX5" fmla="*/ 778003 w 1679197"/>
                  <a:gd name="connsiteY5" fmla="*/ 411495 h 1478826"/>
                  <a:gd name="connsiteX6" fmla="*/ 691104 w 1679197"/>
                  <a:gd name="connsiteY6" fmla="*/ 391559 h 1478826"/>
                  <a:gd name="connsiteX7" fmla="*/ 615962 w 1679197"/>
                  <a:gd name="connsiteY7" fmla="*/ 379291 h 1478826"/>
                  <a:gd name="connsiteX8" fmla="*/ 619029 w 1679197"/>
                  <a:gd name="connsiteY8" fmla="*/ 394626 h 1478826"/>
                  <a:gd name="connsiteX9" fmla="*/ 658389 w 1679197"/>
                  <a:gd name="connsiteY9" fmla="*/ 409962 h 1478826"/>
                  <a:gd name="connsiteX10" fmla="*/ 1403677 w 1679197"/>
                  <a:gd name="connsiteY10" fmla="*/ 599607 h 1478826"/>
                  <a:gd name="connsiteX11" fmla="*/ 1480863 w 1679197"/>
                  <a:gd name="connsiteY11" fmla="*/ 743247 h 1478826"/>
                  <a:gd name="connsiteX12" fmla="*/ 1476263 w 1679197"/>
                  <a:gd name="connsiteY12" fmla="*/ 792831 h 1478826"/>
                  <a:gd name="connsiteX13" fmla="*/ 1510511 w 1679197"/>
                  <a:gd name="connsiteY13" fmla="*/ 836792 h 1478826"/>
                  <a:gd name="connsiteX14" fmla="*/ 1517157 w 1679197"/>
                  <a:gd name="connsiteY14" fmla="*/ 975831 h 1478826"/>
                  <a:gd name="connsiteX15" fmla="*/ 1363805 w 1679197"/>
                  <a:gd name="connsiteY15" fmla="*/ 1044328 h 1478826"/>
                  <a:gd name="connsiteX16" fmla="*/ 1392431 w 1679197"/>
                  <a:gd name="connsiteY16" fmla="*/ 1123560 h 1478826"/>
                  <a:gd name="connsiteX17" fmla="*/ 1374540 w 1679197"/>
                  <a:gd name="connsiteY17" fmla="*/ 1149119 h 1478826"/>
                  <a:gd name="connsiteX18" fmla="*/ 1379140 w 1679197"/>
                  <a:gd name="connsiteY18" fmla="*/ 1188991 h 1478826"/>
                  <a:gd name="connsiteX19" fmla="*/ 1419012 w 1679197"/>
                  <a:gd name="connsiteY19" fmla="*/ 1249820 h 1478826"/>
                  <a:gd name="connsiteX20" fmla="*/ 1375051 w 1679197"/>
                  <a:gd name="connsiteY20" fmla="*/ 1305027 h 1478826"/>
                  <a:gd name="connsiteX21" fmla="*/ 1308599 w 1679197"/>
                  <a:gd name="connsiteY21" fmla="*/ 1297360 h 1478826"/>
                  <a:gd name="connsiteX22" fmla="*/ 1153203 w 1679197"/>
                  <a:gd name="connsiteY22" fmla="*/ 1428731 h 1478826"/>
                  <a:gd name="connsiteX23" fmla="*/ 1108731 w 1679197"/>
                  <a:gd name="connsiteY23" fmla="*/ 1400617 h 1478826"/>
                  <a:gd name="connsiteX24" fmla="*/ 1062214 w 1679197"/>
                  <a:gd name="connsiteY24" fmla="*/ 1478826 h 1478826"/>
                  <a:gd name="connsiteX25" fmla="*/ 1011608 w 1679197"/>
                  <a:gd name="connsiteY25" fmla="*/ 1458891 h 1478826"/>
                  <a:gd name="connsiteX26" fmla="*/ 1055569 w 1679197"/>
                  <a:gd name="connsiteY26" fmla="*/ 1327519 h 1478826"/>
                  <a:gd name="connsiteX27" fmla="*/ 1042278 w 1679197"/>
                  <a:gd name="connsiteY27" fmla="*/ 1284580 h 1478826"/>
                  <a:gd name="connsiteX28" fmla="*/ 961002 w 1679197"/>
                  <a:gd name="connsiteY28" fmla="*/ 1287136 h 1478826"/>
                  <a:gd name="connsiteX29" fmla="*/ 965092 w 1679197"/>
                  <a:gd name="connsiteY29" fmla="*/ 1156787 h 1478826"/>
                  <a:gd name="connsiteX30" fmla="*/ 931865 w 1679197"/>
                  <a:gd name="connsiteY30" fmla="*/ 1155764 h 1478826"/>
                  <a:gd name="connsiteX31" fmla="*/ 794872 w 1679197"/>
                  <a:gd name="connsiteY31" fmla="*/ 917557 h 1478826"/>
                  <a:gd name="connsiteX32" fmla="*/ 849056 w 1679197"/>
                  <a:gd name="connsiteY32" fmla="*/ 840370 h 1478826"/>
                  <a:gd name="connsiteX33" fmla="*/ 815830 w 1679197"/>
                  <a:gd name="connsiteY33" fmla="*/ 799476 h 1478826"/>
                  <a:gd name="connsiteX34" fmla="*/ 791804 w 1679197"/>
                  <a:gd name="connsiteY34" fmla="*/ 840370 h 1478826"/>
                  <a:gd name="connsiteX35" fmla="*/ 696727 w 1679197"/>
                  <a:gd name="connsiteY35" fmla="*/ 839348 h 1478826"/>
                  <a:gd name="connsiteX36" fmla="*/ 697749 w 1679197"/>
                  <a:gd name="connsiteY36" fmla="*/ 788741 h 1478826"/>
                  <a:gd name="connsiteX37" fmla="*/ 681391 w 1679197"/>
                  <a:gd name="connsiteY37" fmla="*/ 773406 h 1478826"/>
                  <a:gd name="connsiteX38" fmla="*/ 553599 w 1679197"/>
                  <a:gd name="connsiteY38" fmla="*/ 824013 h 1478826"/>
                  <a:gd name="connsiteX39" fmla="*/ 631808 w 1679197"/>
                  <a:gd name="connsiteY39" fmla="*/ 980432 h 1478826"/>
                  <a:gd name="connsiteX40" fmla="*/ 599604 w 1679197"/>
                  <a:gd name="connsiteY40" fmla="*/ 1011613 h 1478826"/>
                  <a:gd name="connsiteX41" fmla="*/ 552576 w 1679197"/>
                  <a:gd name="connsiteY41" fmla="*/ 999856 h 1478826"/>
                  <a:gd name="connsiteX42" fmla="*/ 460054 w 1679197"/>
                  <a:gd name="connsiteY42" fmla="*/ 1065798 h 1478826"/>
                  <a:gd name="connsiteX43" fmla="*/ 401270 w 1679197"/>
                  <a:gd name="connsiteY43" fmla="*/ 1027460 h 1478826"/>
                  <a:gd name="connsiteX44" fmla="*/ 452898 w 1679197"/>
                  <a:gd name="connsiteY44" fmla="*/ 1007013 h 1478826"/>
                  <a:gd name="connsiteX45" fmla="*/ 458521 w 1679197"/>
                  <a:gd name="connsiteY45" fmla="*/ 981965 h 1478826"/>
                  <a:gd name="connsiteX46" fmla="*/ 420183 w 1679197"/>
                  <a:gd name="connsiteY46" fmla="*/ 970208 h 1478826"/>
                  <a:gd name="connsiteX47" fmla="*/ 443697 w 1679197"/>
                  <a:gd name="connsiteY47" fmla="*/ 880242 h 1478826"/>
                  <a:gd name="connsiteX48" fmla="*/ 351175 w 1679197"/>
                  <a:gd name="connsiteY48" fmla="*/ 818390 h 1478826"/>
                  <a:gd name="connsiteX49" fmla="*/ 314370 w 1679197"/>
                  <a:gd name="connsiteY49" fmla="*/ 815322 h 1478826"/>
                  <a:gd name="connsiteX50" fmla="*/ 302613 w 1679197"/>
                  <a:gd name="connsiteY50" fmla="*/ 874108 h 1478826"/>
                  <a:gd name="connsiteX51" fmla="*/ 217248 w 1679197"/>
                  <a:gd name="connsiteY51" fmla="*/ 934426 h 1478826"/>
                  <a:gd name="connsiteX52" fmla="*/ 136994 w 1679197"/>
                  <a:gd name="connsiteY52" fmla="*/ 943116 h 1478826"/>
                  <a:gd name="connsiteX53" fmla="*/ 113480 w 1679197"/>
                  <a:gd name="connsiteY53" fmla="*/ 910912 h 1478826"/>
                  <a:gd name="connsiteX54" fmla="*/ 144150 w 1679197"/>
                  <a:gd name="connsiteY54" fmla="*/ 872063 h 1478826"/>
                  <a:gd name="connsiteX55" fmla="*/ 107857 w 1679197"/>
                  <a:gd name="connsiteY55" fmla="*/ 817367 h 1478826"/>
                  <a:gd name="connsiteX56" fmla="*/ 91500 w 1679197"/>
                  <a:gd name="connsiteY56" fmla="*/ 833214 h 1478826"/>
                  <a:gd name="connsiteX57" fmla="*/ 0 w 1679197"/>
                  <a:gd name="connsiteY57" fmla="*/ 804588 h 1478826"/>
                  <a:gd name="connsiteX58" fmla="*/ 23514 w 1679197"/>
                  <a:gd name="connsiteY58" fmla="*/ 716155 h 1478826"/>
                  <a:gd name="connsiteX59" fmla="*/ 123703 w 1679197"/>
                  <a:gd name="connsiteY59" fmla="*/ 712065 h 1478826"/>
                  <a:gd name="connsiteX60" fmla="*/ 135460 w 1679197"/>
                  <a:gd name="connsiteY60" fmla="*/ 600118 h 1478826"/>
                  <a:gd name="connsiteX61" fmla="*/ 180955 w 1679197"/>
                  <a:gd name="connsiteY61" fmla="*/ 336352 h 1478826"/>
                  <a:gd name="connsiteX62" fmla="*/ 223382 w 1679197"/>
                  <a:gd name="connsiteY62" fmla="*/ 348110 h 1478826"/>
                  <a:gd name="connsiteX63" fmla="*/ 194756 w 1679197"/>
                  <a:gd name="connsiteY63" fmla="*/ 330218 h 1478826"/>
                  <a:gd name="connsiteX64" fmla="*/ 105301 w 1679197"/>
                  <a:gd name="connsiteY64" fmla="*/ 317950 h 1478826"/>
                  <a:gd name="connsiteX65" fmla="*/ 104279 w 1679197"/>
                  <a:gd name="connsiteY65" fmla="*/ 236674 h 1478826"/>
                  <a:gd name="connsiteX66" fmla="*/ 118592 w 1679197"/>
                  <a:gd name="connsiteY66" fmla="*/ 215715 h 1478826"/>
                  <a:gd name="connsiteX67" fmla="*/ 148751 w 1679197"/>
                  <a:gd name="connsiteY67" fmla="*/ 225428 h 1478826"/>
                  <a:gd name="connsiteX68" fmla="*/ 154885 w 1679197"/>
                  <a:gd name="connsiteY68" fmla="*/ 212648 h 1478826"/>
                  <a:gd name="connsiteX69" fmla="*/ 148751 w 1679197"/>
                  <a:gd name="connsiteY69" fmla="*/ 201403 h 1478826"/>
                  <a:gd name="connsiteX70" fmla="*/ 126259 w 1679197"/>
                  <a:gd name="connsiteY70" fmla="*/ 187090 h 1478826"/>
                  <a:gd name="connsiteX71" fmla="*/ 151307 w 1679197"/>
                  <a:gd name="connsiteY71" fmla="*/ 153863 h 1478826"/>
                  <a:gd name="connsiteX72" fmla="*/ 194245 w 1679197"/>
                  <a:gd name="connsiteY72" fmla="*/ 129838 h 1478826"/>
                  <a:gd name="connsiteX73" fmla="*/ 427850 w 1679197"/>
                  <a:gd name="connsiteY73" fmla="*/ 106324 h 1478826"/>
                  <a:gd name="connsiteX74" fmla="*/ 451364 w 1679197"/>
                  <a:gd name="connsiteY74" fmla="*/ 121148 h 1478826"/>
                  <a:gd name="connsiteX75" fmla="*/ 450342 w 1679197"/>
                  <a:gd name="connsiteY75" fmla="*/ 139551 h 1478826"/>
                  <a:gd name="connsiteX76" fmla="*/ 490213 w 1679197"/>
                  <a:gd name="connsiteY76" fmla="*/ 211626 h 1478826"/>
                  <a:gd name="connsiteX77" fmla="*/ 459543 w 1679197"/>
                  <a:gd name="connsiteY77" fmla="*/ 223894 h 1478826"/>
                  <a:gd name="connsiteX78" fmla="*/ 458521 w 1679197"/>
                  <a:gd name="connsiteY78" fmla="*/ 241274 h 1478826"/>
                  <a:gd name="connsiteX79" fmla="*/ 498903 w 1679197"/>
                  <a:gd name="connsiteY79" fmla="*/ 282679 h 1478826"/>
                  <a:gd name="connsiteX80" fmla="*/ 525484 w 1679197"/>
                  <a:gd name="connsiteY80" fmla="*/ 285235 h 1478826"/>
                  <a:gd name="connsiteX81" fmla="*/ 541842 w 1679197"/>
                  <a:gd name="connsiteY81" fmla="*/ 227984 h 1478826"/>
                  <a:gd name="connsiteX82" fmla="*/ 509127 w 1679197"/>
                  <a:gd name="connsiteY82" fmla="*/ 214182 h 1478826"/>
                  <a:gd name="connsiteX83" fmla="*/ 522417 w 1679197"/>
                  <a:gd name="connsiteY83" fmla="*/ 162553 h 1478826"/>
                  <a:gd name="connsiteX84" fmla="*/ 536730 w 1679197"/>
                  <a:gd name="connsiteY84" fmla="*/ 158464 h 1478826"/>
                  <a:gd name="connsiteX85" fmla="*/ 615450 w 1679197"/>
                  <a:gd name="connsiteY85" fmla="*/ 206003 h 1478826"/>
                  <a:gd name="connsiteX86" fmla="*/ 622096 w 1679197"/>
                  <a:gd name="connsiteY86" fmla="*/ 220827 h 1478826"/>
                  <a:gd name="connsiteX87" fmla="*/ 633853 w 1679197"/>
                  <a:gd name="connsiteY87" fmla="*/ 248431 h 1478826"/>
                  <a:gd name="connsiteX88" fmla="*/ 658900 w 1679197"/>
                  <a:gd name="connsiteY88" fmla="*/ 253031 h 1478826"/>
                  <a:gd name="connsiteX89" fmla="*/ 666567 w 1679197"/>
                  <a:gd name="connsiteY89" fmla="*/ 230539 h 1478826"/>
                  <a:gd name="connsiteX90" fmla="*/ 654811 w 1679197"/>
                  <a:gd name="connsiteY90" fmla="*/ 183511 h 1478826"/>
                  <a:gd name="connsiteX91" fmla="*/ 617495 w 1679197"/>
                  <a:gd name="connsiteY91" fmla="*/ 184023 h 1478826"/>
                  <a:gd name="connsiteX92" fmla="*/ 596537 w 1679197"/>
                  <a:gd name="connsiteY92" fmla="*/ 122171 h 1478826"/>
                  <a:gd name="connsiteX93" fmla="*/ 646632 w 1679197"/>
                  <a:gd name="connsiteY93" fmla="*/ 6134 h 1478826"/>
                  <a:gd name="connsiteX94" fmla="*/ 674746 w 1679197"/>
                  <a:gd name="connsiteY94" fmla="*/ 0 h 1478826"/>
                  <a:gd name="connsiteX95" fmla="*/ 693660 w 1679197"/>
                  <a:gd name="connsiteY95" fmla="*/ 26581 h 1478826"/>
                  <a:gd name="connsiteX96" fmla="*/ 793338 w 1679197"/>
                  <a:gd name="connsiteY96" fmla="*/ 17891 h 1478826"/>
                  <a:gd name="connsiteX97" fmla="*/ 874103 w 1679197"/>
                  <a:gd name="connsiteY97" fmla="*/ 38338 h 1478826"/>
                  <a:gd name="connsiteX98" fmla="*/ 1036144 w 1679197"/>
                  <a:gd name="connsiteY98" fmla="*/ 201403 h 1478826"/>
                  <a:gd name="connsiteX99" fmla="*/ 1079083 w 1679197"/>
                  <a:gd name="connsiteY99" fmla="*/ 246386 h 1478826"/>
                  <a:gd name="connsiteX100" fmla="*/ 1130711 w 1679197"/>
                  <a:gd name="connsiteY100" fmla="*/ 249453 h 1478826"/>
                  <a:gd name="connsiteX101" fmla="*/ 1140423 w 1679197"/>
                  <a:gd name="connsiteY101" fmla="*/ 239741 h 1478826"/>
                  <a:gd name="connsiteX102" fmla="*/ 1161381 w 1679197"/>
                  <a:gd name="connsiteY102" fmla="*/ 237696 h 1478826"/>
                  <a:gd name="connsiteX103" fmla="*/ 1185406 w 1679197"/>
                  <a:gd name="connsiteY103" fmla="*/ 263255 h 1478826"/>
                  <a:gd name="connsiteX104" fmla="*/ 1195119 w 1679197"/>
                  <a:gd name="connsiteY104" fmla="*/ 263255 h 1478826"/>
                  <a:gd name="connsiteX105" fmla="*/ 1220677 w 1679197"/>
                  <a:gd name="connsiteY105" fmla="*/ 246897 h 1478826"/>
                  <a:gd name="connsiteX106" fmla="*/ 1238568 w 1679197"/>
                  <a:gd name="connsiteY106" fmla="*/ 245875 h 1478826"/>
                  <a:gd name="connsiteX107" fmla="*/ 1257482 w 1679197"/>
                  <a:gd name="connsiteY107" fmla="*/ 259165 h 1478826"/>
                  <a:gd name="connsiteX108" fmla="*/ 1298375 w 1679197"/>
                  <a:gd name="connsiteY108" fmla="*/ 272456 h 1478826"/>
                  <a:gd name="connsiteX109" fmla="*/ 1313711 w 1679197"/>
                  <a:gd name="connsiteY109" fmla="*/ 290347 h 1478826"/>
                  <a:gd name="connsiteX110" fmla="*/ 1324956 w 1679197"/>
                  <a:gd name="connsiteY110" fmla="*/ 291369 h 1478826"/>
                  <a:gd name="connsiteX111" fmla="*/ 1338247 w 1679197"/>
                  <a:gd name="connsiteY111" fmla="*/ 281657 h 1478826"/>
                  <a:gd name="connsiteX112" fmla="*/ 1420034 w 1679197"/>
                  <a:gd name="connsiteY112" fmla="*/ 296992 h 1478826"/>
                  <a:gd name="connsiteX113" fmla="*/ 1457350 w 1679197"/>
                  <a:gd name="connsiteY113" fmla="*/ 282679 h 1478826"/>
                  <a:gd name="connsiteX114" fmla="*/ 1524824 w 1679197"/>
                  <a:gd name="connsiteY114" fmla="*/ 364467 h 1478826"/>
                  <a:gd name="connsiteX115" fmla="*/ 1512556 w 1679197"/>
                  <a:gd name="connsiteY115" fmla="*/ 393093 h 1478826"/>
                  <a:gd name="connsiteX116" fmla="*/ 1568785 w 1679197"/>
                  <a:gd name="connsiteY116" fmla="*/ 432453 h 1478826"/>
                  <a:gd name="connsiteX117" fmla="*/ 1679198 w 1679197"/>
                  <a:gd name="connsiteY117" fmla="*/ 454945 h 1478826"/>
                  <a:gd name="connsiteX118" fmla="*/ 1595366 w 1679197"/>
                  <a:gd name="connsiteY118" fmla="*/ 536733 h 1478826"/>
                  <a:gd name="connsiteX119" fmla="*/ 1479330 w 1679197"/>
                  <a:gd name="connsiteY119" fmla="*/ 525487 h 1478826"/>
                  <a:gd name="connsiteX120" fmla="*/ 1412878 w 1679197"/>
                  <a:gd name="connsiteY120" fmla="*/ 565358 h 1478826"/>
                  <a:gd name="connsiteX121" fmla="*/ 1403677 w 1679197"/>
                  <a:gd name="connsiteY121" fmla="*/ 599607 h 147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1679197" h="1478826">
                    <a:moveTo>
                      <a:pt x="658389" y="409962"/>
                    </a:moveTo>
                    <a:lnTo>
                      <a:pt x="690593" y="478459"/>
                    </a:lnTo>
                    <a:lnTo>
                      <a:pt x="705928" y="490216"/>
                    </a:lnTo>
                    <a:lnTo>
                      <a:pt x="759601" y="495328"/>
                    </a:lnTo>
                    <a:lnTo>
                      <a:pt x="786693" y="448300"/>
                    </a:lnTo>
                    <a:lnTo>
                      <a:pt x="778003" y="411495"/>
                    </a:lnTo>
                    <a:lnTo>
                      <a:pt x="691104" y="391559"/>
                    </a:lnTo>
                    <a:lnTo>
                      <a:pt x="615962" y="379291"/>
                    </a:lnTo>
                    <a:lnTo>
                      <a:pt x="619029" y="394626"/>
                    </a:lnTo>
                    <a:lnTo>
                      <a:pt x="658389" y="409962"/>
                    </a:lnTo>
                    <a:close/>
                    <a:moveTo>
                      <a:pt x="1403677" y="599607"/>
                    </a:moveTo>
                    <a:lnTo>
                      <a:pt x="1480863" y="743247"/>
                    </a:lnTo>
                    <a:lnTo>
                      <a:pt x="1476263" y="792831"/>
                    </a:lnTo>
                    <a:lnTo>
                      <a:pt x="1510511" y="836792"/>
                    </a:lnTo>
                    <a:lnTo>
                      <a:pt x="1517157" y="975831"/>
                    </a:lnTo>
                    <a:lnTo>
                      <a:pt x="1363805" y="1044328"/>
                    </a:lnTo>
                    <a:lnTo>
                      <a:pt x="1392431" y="1123560"/>
                    </a:lnTo>
                    <a:lnTo>
                      <a:pt x="1374540" y="1149119"/>
                    </a:lnTo>
                    <a:lnTo>
                      <a:pt x="1379140" y="1188991"/>
                    </a:lnTo>
                    <a:lnTo>
                      <a:pt x="1419012" y="1249820"/>
                    </a:lnTo>
                    <a:lnTo>
                      <a:pt x="1375051" y="1305027"/>
                    </a:lnTo>
                    <a:lnTo>
                      <a:pt x="1308599" y="1297360"/>
                    </a:lnTo>
                    <a:lnTo>
                      <a:pt x="1153203" y="1428731"/>
                    </a:lnTo>
                    <a:lnTo>
                      <a:pt x="1108731" y="1400617"/>
                    </a:lnTo>
                    <a:lnTo>
                      <a:pt x="1062214" y="1478826"/>
                    </a:lnTo>
                    <a:lnTo>
                      <a:pt x="1011608" y="1458891"/>
                    </a:lnTo>
                    <a:lnTo>
                      <a:pt x="1055569" y="1327519"/>
                    </a:lnTo>
                    <a:lnTo>
                      <a:pt x="1042278" y="1284580"/>
                    </a:lnTo>
                    <a:lnTo>
                      <a:pt x="961002" y="1287136"/>
                    </a:lnTo>
                    <a:lnTo>
                      <a:pt x="965092" y="1156787"/>
                    </a:lnTo>
                    <a:lnTo>
                      <a:pt x="931865" y="1155764"/>
                    </a:lnTo>
                    <a:lnTo>
                      <a:pt x="794872" y="917557"/>
                    </a:lnTo>
                    <a:lnTo>
                      <a:pt x="849056" y="840370"/>
                    </a:lnTo>
                    <a:lnTo>
                      <a:pt x="815830" y="799476"/>
                    </a:lnTo>
                    <a:lnTo>
                      <a:pt x="791804" y="840370"/>
                    </a:lnTo>
                    <a:lnTo>
                      <a:pt x="696727" y="839348"/>
                    </a:lnTo>
                    <a:lnTo>
                      <a:pt x="697749" y="788741"/>
                    </a:lnTo>
                    <a:lnTo>
                      <a:pt x="681391" y="773406"/>
                    </a:lnTo>
                    <a:lnTo>
                      <a:pt x="553599" y="824013"/>
                    </a:lnTo>
                    <a:lnTo>
                      <a:pt x="631808" y="980432"/>
                    </a:lnTo>
                    <a:lnTo>
                      <a:pt x="599604" y="1011613"/>
                    </a:lnTo>
                    <a:lnTo>
                      <a:pt x="552576" y="999856"/>
                    </a:lnTo>
                    <a:lnTo>
                      <a:pt x="460054" y="1065798"/>
                    </a:lnTo>
                    <a:lnTo>
                      <a:pt x="401270" y="1027460"/>
                    </a:lnTo>
                    <a:lnTo>
                      <a:pt x="452898" y="1007013"/>
                    </a:lnTo>
                    <a:lnTo>
                      <a:pt x="458521" y="981965"/>
                    </a:lnTo>
                    <a:lnTo>
                      <a:pt x="420183" y="970208"/>
                    </a:lnTo>
                    <a:lnTo>
                      <a:pt x="443697" y="880242"/>
                    </a:lnTo>
                    <a:lnTo>
                      <a:pt x="351175" y="818390"/>
                    </a:lnTo>
                    <a:lnTo>
                      <a:pt x="314370" y="815322"/>
                    </a:lnTo>
                    <a:lnTo>
                      <a:pt x="302613" y="874108"/>
                    </a:lnTo>
                    <a:lnTo>
                      <a:pt x="217248" y="934426"/>
                    </a:lnTo>
                    <a:lnTo>
                      <a:pt x="136994" y="943116"/>
                    </a:lnTo>
                    <a:lnTo>
                      <a:pt x="113480" y="910912"/>
                    </a:lnTo>
                    <a:lnTo>
                      <a:pt x="144150" y="872063"/>
                    </a:lnTo>
                    <a:lnTo>
                      <a:pt x="107857" y="817367"/>
                    </a:lnTo>
                    <a:lnTo>
                      <a:pt x="91500" y="833214"/>
                    </a:lnTo>
                    <a:lnTo>
                      <a:pt x="0" y="804588"/>
                    </a:lnTo>
                    <a:lnTo>
                      <a:pt x="23514" y="716155"/>
                    </a:lnTo>
                    <a:lnTo>
                      <a:pt x="123703" y="712065"/>
                    </a:lnTo>
                    <a:lnTo>
                      <a:pt x="135460" y="600118"/>
                    </a:lnTo>
                    <a:lnTo>
                      <a:pt x="180955" y="336352"/>
                    </a:lnTo>
                    <a:lnTo>
                      <a:pt x="223382" y="348110"/>
                    </a:lnTo>
                    <a:lnTo>
                      <a:pt x="194756" y="330218"/>
                    </a:lnTo>
                    <a:lnTo>
                      <a:pt x="105301" y="317950"/>
                    </a:lnTo>
                    <a:lnTo>
                      <a:pt x="104279" y="236674"/>
                    </a:lnTo>
                    <a:lnTo>
                      <a:pt x="118592" y="215715"/>
                    </a:lnTo>
                    <a:lnTo>
                      <a:pt x="148751" y="225428"/>
                    </a:lnTo>
                    <a:lnTo>
                      <a:pt x="154885" y="212648"/>
                    </a:lnTo>
                    <a:lnTo>
                      <a:pt x="148751" y="201403"/>
                    </a:lnTo>
                    <a:lnTo>
                      <a:pt x="126259" y="187090"/>
                    </a:lnTo>
                    <a:lnTo>
                      <a:pt x="151307" y="153863"/>
                    </a:lnTo>
                    <a:lnTo>
                      <a:pt x="194245" y="129838"/>
                    </a:lnTo>
                    <a:lnTo>
                      <a:pt x="427850" y="106324"/>
                    </a:lnTo>
                    <a:lnTo>
                      <a:pt x="451364" y="121148"/>
                    </a:lnTo>
                    <a:lnTo>
                      <a:pt x="450342" y="139551"/>
                    </a:lnTo>
                    <a:lnTo>
                      <a:pt x="490213" y="211626"/>
                    </a:lnTo>
                    <a:lnTo>
                      <a:pt x="459543" y="223894"/>
                    </a:lnTo>
                    <a:lnTo>
                      <a:pt x="458521" y="241274"/>
                    </a:lnTo>
                    <a:lnTo>
                      <a:pt x="498903" y="282679"/>
                    </a:lnTo>
                    <a:lnTo>
                      <a:pt x="525484" y="285235"/>
                    </a:lnTo>
                    <a:lnTo>
                      <a:pt x="541842" y="227984"/>
                    </a:lnTo>
                    <a:lnTo>
                      <a:pt x="509127" y="214182"/>
                    </a:lnTo>
                    <a:lnTo>
                      <a:pt x="522417" y="162553"/>
                    </a:lnTo>
                    <a:lnTo>
                      <a:pt x="536730" y="158464"/>
                    </a:lnTo>
                    <a:lnTo>
                      <a:pt x="615450" y="206003"/>
                    </a:lnTo>
                    <a:lnTo>
                      <a:pt x="622096" y="220827"/>
                    </a:lnTo>
                    <a:lnTo>
                      <a:pt x="633853" y="248431"/>
                    </a:lnTo>
                    <a:lnTo>
                      <a:pt x="658900" y="253031"/>
                    </a:lnTo>
                    <a:lnTo>
                      <a:pt x="666567" y="230539"/>
                    </a:lnTo>
                    <a:lnTo>
                      <a:pt x="654811" y="183511"/>
                    </a:lnTo>
                    <a:lnTo>
                      <a:pt x="617495" y="184023"/>
                    </a:lnTo>
                    <a:lnTo>
                      <a:pt x="596537" y="122171"/>
                    </a:lnTo>
                    <a:lnTo>
                      <a:pt x="646632" y="6134"/>
                    </a:lnTo>
                    <a:lnTo>
                      <a:pt x="674746" y="0"/>
                    </a:lnTo>
                    <a:lnTo>
                      <a:pt x="693660" y="26581"/>
                    </a:lnTo>
                    <a:lnTo>
                      <a:pt x="793338" y="17891"/>
                    </a:lnTo>
                    <a:lnTo>
                      <a:pt x="874103" y="38338"/>
                    </a:lnTo>
                    <a:lnTo>
                      <a:pt x="1036144" y="201403"/>
                    </a:lnTo>
                    <a:lnTo>
                      <a:pt x="1079083" y="246386"/>
                    </a:lnTo>
                    <a:lnTo>
                      <a:pt x="1130711" y="249453"/>
                    </a:lnTo>
                    <a:lnTo>
                      <a:pt x="1140423" y="239741"/>
                    </a:lnTo>
                    <a:lnTo>
                      <a:pt x="1161381" y="237696"/>
                    </a:lnTo>
                    <a:lnTo>
                      <a:pt x="1185406" y="263255"/>
                    </a:lnTo>
                    <a:lnTo>
                      <a:pt x="1195119" y="263255"/>
                    </a:lnTo>
                    <a:lnTo>
                      <a:pt x="1220677" y="246897"/>
                    </a:lnTo>
                    <a:lnTo>
                      <a:pt x="1238568" y="245875"/>
                    </a:lnTo>
                    <a:lnTo>
                      <a:pt x="1257482" y="259165"/>
                    </a:lnTo>
                    <a:lnTo>
                      <a:pt x="1298375" y="272456"/>
                    </a:lnTo>
                    <a:lnTo>
                      <a:pt x="1313711" y="290347"/>
                    </a:lnTo>
                    <a:lnTo>
                      <a:pt x="1324956" y="291369"/>
                    </a:lnTo>
                    <a:lnTo>
                      <a:pt x="1338247" y="281657"/>
                    </a:lnTo>
                    <a:lnTo>
                      <a:pt x="1420034" y="296992"/>
                    </a:lnTo>
                    <a:lnTo>
                      <a:pt x="1457350" y="282679"/>
                    </a:lnTo>
                    <a:lnTo>
                      <a:pt x="1524824" y="364467"/>
                    </a:lnTo>
                    <a:lnTo>
                      <a:pt x="1512556" y="393093"/>
                    </a:lnTo>
                    <a:lnTo>
                      <a:pt x="1568785" y="432453"/>
                    </a:lnTo>
                    <a:lnTo>
                      <a:pt x="1679198" y="454945"/>
                    </a:lnTo>
                    <a:lnTo>
                      <a:pt x="1595366" y="536733"/>
                    </a:lnTo>
                    <a:lnTo>
                      <a:pt x="1479330" y="525487"/>
                    </a:lnTo>
                    <a:lnTo>
                      <a:pt x="1412878" y="565358"/>
                    </a:lnTo>
                    <a:lnTo>
                      <a:pt x="1403677" y="599607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F695B8AB-6C09-491D-8EB8-BDB5F097EE20}"/>
                  </a:ext>
                </a:extLst>
              </p:cNvPr>
              <p:cNvSpPr/>
              <p:nvPr/>
            </p:nvSpPr>
            <p:spPr>
              <a:xfrm>
                <a:off x="8560972" y="854840"/>
                <a:ext cx="181465" cy="194246"/>
              </a:xfrm>
              <a:custGeom>
                <a:avLst/>
                <a:gdLst>
                  <a:gd name="connsiteX0" fmla="*/ 181466 w 181465"/>
                  <a:gd name="connsiteY0" fmla="*/ 120637 h 194246"/>
                  <a:gd name="connsiteX1" fmla="*/ 176354 w 181465"/>
                  <a:gd name="connsiteY1" fmla="*/ 164598 h 194246"/>
                  <a:gd name="connsiteX2" fmla="*/ 60829 w 181465"/>
                  <a:gd name="connsiteY2" fmla="*/ 194246 h 194246"/>
                  <a:gd name="connsiteX3" fmla="*/ 39871 w 181465"/>
                  <a:gd name="connsiteY3" fmla="*/ 173799 h 194246"/>
                  <a:gd name="connsiteX4" fmla="*/ 107346 w 181465"/>
                  <a:gd name="connsiteY4" fmla="*/ 126771 h 194246"/>
                  <a:gd name="connsiteX5" fmla="*/ 107346 w 181465"/>
                  <a:gd name="connsiteY5" fmla="*/ 101212 h 194246"/>
                  <a:gd name="connsiteX6" fmla="*/ 71053 w 181465"/>
                  <a:gd name="connsiteY6" fmla="*/ 76165 h 194246"/>
                  <a:gd name="connsiteX7" fmla="*/ 44983 w 181465"/>
                  <a:gd name="connsiteY7" fmla="*/ 105302 h 194246"/>
                  <a:gd name="connsiteX8" fmla="*/ 8179 w 181465"/>
                  <a:gd name="connsiteY8" fmla="*/ 97123 h 194246"/>
                  <a:gd name="connsiteX9" fmla="*/ 17891 w 181465"/>
                  <a:gd name="connsiteY9" fmla="*/ 44983 h 194246"/>
                  <a:gd name="connsiteX10" fmla="*/ 0 w 181465"/>
                  <a:gd name="connsiteY10" fmla="*/ 25048 h 194246"/>
                  <a:gd name="connsiteX11" fmla="*/ 14313 w 181465"/>
                  <a:gd name="connsiteY11" fmla="*/ 0 h 194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81465" h="194246">
                    <a:moveTo>
                      <a:pt x="181466" y="120637"/>
                    </a:moveTo>
                    <a:lnTo>
                      <a:pt x="176354" y="164598"/>
                    </a:lnTo>
                    <a:lnTo>
                      <a:pt x="60829" y="194246"/>
                    </a:lnTo>
                    <a:lnTo>
                      <a:pt x="39871" y="173799"/>
                    </a:lnTo>
                    <a:lnTo>
                      <a:pt x="107346" y="126771"/>
                    </a:lnTo>
                    <a:lnTo>
                      <a:pt x="107346" y="101212"/>
                    </a:lnTo>
                    <a:lnTo>
                      <a:pt x="71053" y="76165"/>
                    </a:lnTo>
                    <a:lnTo>
                      <a:pt x="44983" y="105302"/>
                    </a:lnTo>
                    <a:lnTo>
                      <a:pt x="8179" y="97123"/>
                    </a:lnTo>
                    <a:lnTo>
                      <a:pt x="17891" y="44983"/>
                    </a:lnTo>
                    <a:lnTo>
                      <a:pt x="0" y="25048"/>
                    </a:lnTo>
                    <a:lnTo>
                      <a:pt x="14313" y="0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3895EDF4-BF8D-4E53-8869-8D7C95CC09D2}"/>
                  </a:ext>
                </a:extLst>
              </p:cNvPr>
              <p:cNvSpPr/>
              <p:nvPr/>
            </p:nvSpPr>
            <p:spPr>
              <a:xfrm>
                <a:off x="7519716" y="732670"/>
                <a:ext cx="1309621" cy="820434"/>
              </a:xfrm>
              <a:custGeom>
                <a:avLst/>
                <a:gdLst>
                  <a:gd name="connsiteX0" fmla="*/ 68497 w 1309621"/>
                  <a:gd name="connsiteY0" fmla="*/ 360889 h 820434"/>
                  <a:gd name="connsiteX1" fmla="*/ 39871 w 1309621"/>
                  <a:gd name="connsiteY1" fmla="*/ 370601 h 820434"/>
                  <a:gd name="connsiteX2" fmla="*/ 40383 w 1309621"/>
                  <a:gd name="connsiteY2" fmla="*/ 442677 h 820434"/>
                  <a:gd name="connsiteX3" fmla="*/ 104279 w 1309621"/>
                  <a:gd name="connsiteY3" fmla="*/ 474881 h 820434"/>
                  <a:gd name="connsiteX4" fmla="*/ 92522 w 1309621"/>
                  <a:gd name="connsiteY4" fmla="*/ 536733 h 820434"/>
                  <a:gd name="connsiteX5" fmla="*/ 0 w 1309621"/>
                  <a:gd name="connsiteY5" fmla="*/ 623632 h 820434"/>
                  <a:gd name="connsiteX6" fmla="*/ 3067 w 1309621"/>
                  <a:gd name="connsiteY6" fmla="*/ 669638 h 820434"/>
                  <a:gd name="connsiteX7" fmla="*/ 84854 w 1309621"/>
                  <a:gd name="connsiteY7" fmla="*/ 684973 h 820434"/>
                  <a:gd name="connsiteX8" fmla="*/ 122170 w 1309621"/>
                  <a:gd name="connsiteY8" fmla="*/ 670660 h 820434"/>
                  <a:gd name="connsiteX9" fmla="*/ 189644 w 1309621"/>
                  <a:gd name="connsiteY9" fmla="*/ 752448 h 820434"/>
                  <a:gd name="connsiteX10" fmla="*/ 177377 w 1309621"/>
                  <a:gd name="connsiteY10" fmla="*/ 781074 h 820434"/>
                  <a:gd name="connsiteX11" fmla="*/ 233605 w 1309621"/>
                  <a:gd name="connsiteY11" fmla="*/ 820434 h 820434"/>
                  <a:gd name="connsiteX12" fmla="*/ 282167 w 1309621"/>
                  <a:gd name="connsiteY12" fmla="*/ 780052 h 820434"/>
                  <a:gd name="connsiteX13" fmla="*/ 310792 w 1309621"/>
                  <a:gd name="connsiteY13" fmla="*/ 796409 h 820434"/>
                  <a:gd name="connsiteX14" fmla="*/ 327150 w 1309621"/>
                  <a:gd name="connsiteY14" fmla="*/ 777496 h 820434"/>
                  <a:gd name="connsiteX15" fmla="*/ 314881 w 1309621"/>
                  <a:gd name="connsiteY15" fmla="*/ 730979 h 820434"/>
                  <a:gd name="connsiteX16" fmla="*/ 344529 w 1309621"/>
                  <a:gd name="connsiteY16" fmla="*/ 710021 h 820434"/>
                  <a:gd name="connsiteX17" fmla="*/ 380823 w 1309621"/>
                  <a:gd name="connsiteY17" fmla="*/ 724334 h 820434"/>
                  <a:gd name="connsiteX18" fmla="*/ 462610 w 1309621"/>
                  <a:gd name="connsiteY18" fmla="*/ 684462 h 820434"/>
                  <a:gd name="connsiteX19" fmla="*/ 485613 w 1309621"/>
                  <a:gd name="connsiteY19" fmla="*/ 629255 h 820434"/>
                  <a:gd name="connsiteX20" fmla="*/ 583758 w 1309621"/>
                  <a:gd name="connsiteY20" fmla="*/ 652258 h 820434"/>
                  <a:gd name="connsiteX21" fmla="*/ 619028 w 1309621"/>
                  <a:gd name="connsiteY21" fmla="*/ 688551 h 820434"/>
                  <a:gd name="connsiteX22" fmla="*/ 684970 w 1309621"/>
                  <a:gd name="connsiteY22" fmla="*/ 679861 h 820434"/>
                  <a:gd name="connsiteX23" fmla="*/ 721263 w 1309621"/>
                  <a:gd name="connsiteY23" fmla="*/ 696219 h 820434"/>
                  <a:gd name="connsiteX24" fmla="*/ 727908 w 1309621"/>
                  <a:gd name="connsiteY24" fmla="*/ 712576 h 820434"/>
                  <a:gd name="connsiteX25" fmla="*/ 804073 w 1309621"/>
                  <a:gd name="connsiteY25" fmla="*/ 721267 h 820434"/>
                  <a:gd name="connsiteX26" fmla="*/ 827075 w 1309621"/>
                  <a:gd name="connsiteY26" fmla="*/ 683951 h 820434"/>
                  <a:gd name="connsiteX27" fmla="*/ 904262 w 1309621"/>
                  <a:gd name="connsiteY27" fmla="*/ 644079 h 820434"/>
                  <a:gd name="connsiteX28" fmla="*/ 934932 w 1309621"/>
                  <a:gd name="connsiteY28" fmla="*/ 662993 h 820434"/>
                  <a:gd name="connsiteX29" fmla="*/ 978893 w 1309621"/>
                  <a:gd name="connsiteY29" fmla="*/ 613409 h 820434"/>
                  <a:gd name="connsiteX30" fmla="*/ 985538 w 1309621"/>
                  <a:gd name="connsiteY30" fmla="*/ 563825 h 820434"/>
                  <a:gd name="connsiteX31" fmla="*/ 1066303 w 1309621"/>
                  <a:gd name="connsiteY31" fmla="*/ 481015 h 820434"/>
                  <a:gd name="connsiteX32" fmla="*/ 1120488 w 1309621"/>
                  <a:gd name="connsiteY32" fmla="*/ 541844 h 820434"/>
                  <a:gd name="connsiteX33" fmla="*/ 1175694 w 1309621"/>
                  <a:gd name="connsiteY33" fmla="*/ 519864 h 820434"/>
                  <a:gd name="connsiteX34" fmla="*/ 1211987 w 1309621"/>
                  <a:gd name="connsiteY34" fmla="*/ 525487 h 820434"/>
                  <a:gd name="connsiteX35" fmla="*/ 1218632 w 1309621"/>
                  <a:gd name="connsiteY35" fmla="*/ 574048 h 820434"/>
                  <a:gd name="connsiteX36" fmla="*/ 1185406 w 1309621"/>
                  <a:gd name="connsiteY36" fmla="*/ 599607 h 820434"/>
                  <a:gd name="connsiteX37" fmla="*/ 1190007 w 1309621"/>
                  <a:gd name="connsiteY37" fmla="*/ 627210 h 820434"/>
                  <a:gd name="connsiteX38" fmla="*/ 1244191 w 1309621"/>
                  <a:gd name="connsiteY38" fmla="*/ 619543 h 820434"/>
                  <a:gd name="connsiteX39" fmla="*/ 1257482 w 1309621"/>
                  <a:gd name="connsiteY39" fmla="*/ 592962 h 820434"/>
                  <a:gd name="connsiteX40" fmla="*/ 1309621 w 1309621"/>
                  <a:gd name="connsiteY40" fmla="*/ 574048 h 820434"/>
                  <a:gd name="connsiteX41" fmla="*/ 1262082 w 1309621"/>
                  <a:gd name="connsiteY41" fmla="*/ 415584 h 820434"/>
                  <a:gd name="connsiteX42" fmla="*/ 1193074 w 1309621"/>
                  <a:gd name="connsiteY42" fmla="*/ 365489 h 820434"/>
                  <a:gd name="connsiteX43" fmla="*/ 1159337 w 1309621"/>
                  <a:gd name="connsiteY43" fmla="*/ 369068 h 820434"/>
                  <a:gd name="connsiteX44" fmla="*/ 1063748 w 1309621"/>
                  <a:gd name="connsiteY44" fmla="*/ 317950 h 820434"/>
                  <a:gd name="connsiteX45" fmla="*/ 1056080 w 1309621"/>
                  <a:gd name="connsiteY45" fmla="*/ 307216 h 820434"/>
                  <a:gd name="connsiteX46" fmla="*/ 1091862 w 1309621"/>
                  <a:gd name="connsiteY46" fmla="*/ 264277 h 820434"/>
                  <a:gd name="connsiteX47" fmla="*/ 1033077 w 1309621"/>
                  <a:gd name="connsiteY47" fmla="*/ 220827 h 820434"/>
                  <a:gd name="connsiteX48" fmla="*/ 1043301 w 1309621"/>
                  <a:gd name="connsiteY48" fmla="*/ 178911 h 820434"/>
                  <a:gd name="connsiteX49" fmla="*/ 1002918 w 1309621"/>
                  <a:gd name="connsiteY49" fmla="*/ 137506 h 820434"/>
                  <a:gd name="connsiteX50" fmla="*/ 935444 w 1309621"/>
                  <a:gd name="connsiteY50" fmla="*/ 168687 h 820434"/>
                  <a:gd name="connsiteX51" fmla="*/ 805606 w 1309621"/>
                  <a:gd name="connsiteY51" fmla="*/ 97123 h 820434"/>
                  <a:gd name="connsiteX52" fmla="*/ 798961 w 1309621"/>
                  <a:gd name="connsiteY52" fmla="*/ 43961 h 820434"/>
                  <a:gd name="connsiteX53" fmla="*/ 769824 w 1309621"/>
                  <a:gd name="connsiteY53" fmla="*/ 6645 h 820434"/>
                  <a:gd name="connsiteX54" fmla="*/ 749377 w 1309621"/>
                  <a:gd name="connsiteY54" fmla="*/ 10735 h 820434"/>
                  <a:gd name="connsiteX55" fmla="*/ 698771 w 1309621"/>
                  <a:gd name="connsiteY55" fmla="*/ 58274 h 820434"/>
                  <a:gd name="connsiteX56" fmla="*/ 614939 w 1309621"/>
                  <a:gd name="connsiteY56" fmla="*/ 53673 h 820434"/>
                  <a:gd name="connsiteX57" fmla="*/ 592447 w 1309621"/>
                  <a:gd name="connsiteY57" fmla="*/ 75143 h 820434"/>
                  <a:gd name="connsiteX58" fmla="*/ 556665 w 1309621"/>
                  <a:gd name="connsiteY58" fmla="*/ 117059 h 820434"/>
                  <a:gd name="connsiteX59" fmla="*/ 611361 w 1309621"/>
                  <a:gd name="connsiteY59" fmla="*/ 41916 h 820434"/>
                  <a:gd name="connsiteX60" fmla="*/ 714107 w 1309621"/>
                  <a:gd name="connsiteY60" fmla="*/ 30159 h 820434"/>
                  <a:gd name="connsiteX61" fmla="*/ 721263 w 1309621"/>
                  <a:gd name="connsiteY61" fmla="*/ 1534 h 820434"/>
                  <a:gd name="connsiteX62" fmla="*/ 591425 w 1309621"/>
                  <a:gd name="connsiteY62" fmla="*/ 0 h 820434"/>
                  <a:gd name="connsiteX63" fmla="*/ 496347 w 1309621"/>
                  <a:gd name="connsiteY63" fmla="*/ 134950 h 820434"/>
                  <a:gd name="connsiteX64" fmla="*/ 397180 w 1309621"/>
                  <a:gd name="connsiteY64" fmla="*/ 199358 h 820434"/>
                  <a:gd name="connsiteX65" fmla="*/ 338907 w 1309621"/>
                  <a:gd name="connsiteY65" fmla="*/ 195780 h 820434"/>
                  <a:gd name="connsiteX66" fmla="*/ 307725 w 1309621"/>
                  <a:gd name="connsiteY66" fmla="*/ 223383 h 820434"/>
                  <a:gd name="connsiteX67" fmla="*/ 300569 w 1309621"/>
                  <a:gd name="connsiteY67" fmla="*/ 269389 h 820434"/>
                  <a:gd name="connsiteX68" fmla="*/ 274499 w 1309621"/>
                  <a:gd name="connsiteY68" fmla="*/ 295970 h 820434"/>
                  <a:gd name="connsiteX69" fmla="*/ 276544 w 1309621"/>
                  <a:gd name="connsiteY69" fmla="*/ 311816 h 820434"/>
                  <a:gd name="connsiteX70" fmla="*/ 261208 w 1309621"/>
                  <a:gd name="connsiteY70" fmla="*/ 341464 h 820434"/>
                  <a:gd name="connsiteX71" fmla="*/ 214181 w 1309621"/>
                  <a:gd name="connsiteY71" fmla="*/ 325618 h 820434"/>
                  <a:gd name="connsiteX72" fmla="*/ 201913 w 1309621"/>
                  <a:gd name="connsiteY72" fmla="*/ 337375 h 820434"/>
                  <a:gd name="connsiteX73" fmla="*/ 174309 w 1309621"/>
                  <a:gd name="connsiteY73" fmla="*/ 293414 h 820434"/>
                  <a:gd name="connsiteX74" fmla="*/ 115014 w 1309621"/>
                  <a:gd name="connsiteY74" fmla="*/ 299037 h 820434"/>
                  <a:gd name="connsiteX75" fmla="*/ 85366 w 1309621"/>
                  <a:gd name="connsiteY75" fmla="*/ 321528 h 820434"/>
                  <a:gd name="connsiteX76" fmla="*/ 68497 w 1309621"/>
                  <a:gd name="connsiteY76" fmla="*/ 360889 h 820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1309621" h="820434">
                    <a:moveTo>
                      <a:pt x="68497" y="360889"/>
                    </a:moveTo>
                    <a:lnTo>
                      <a:pt x="39871" y="370601"/>
                    </a:lnTo>
                    <a:lnTo>
                      <a:pt x="40383" y="442677"/>
                    </a:lnTo>
                    <a:lnTo>
                      <a:pt x="104279" y="474881"/>
                    </a:lnTo>
                    <a:lnTo>
                      <a:pt x="92522" y="536733"/>
                    </a:lnTo>
                    <a:lnTo>
                      <a:pt x="0" y="623632"/>
                    </a:lnTo>
                    <a:lnTo>
                      <a:pt x="3067" y="669638"/>
                    </a:lnTo>
                    <a:lnTo>
                      <a:pt x="84854" y="684973"/>
                    </a:lnTo>
                    <a:lnTo>
                      <a:pt x="122170" y="670660"/>
                    </a:lnTo>
                    <a:lnTo>
                      <a:pt x="189644" y="752448"/>
                    </a:lnTo>
                    <a:lnTo>
                      <a:pt x="177377" y="781074"/>
                    </a:lnTo>
                    <a:lnTo>
                      <a:pt x="233605" y="820434"/>
                    </a:lnTo>
                    <a:lnTo>
                      <a:pt x="282167" y="780052"/>
                    </a:lnTo>
                    <a:lnTo>
                      <a:pt x="310792" y="796409"/>
                    </a:lnTo>
                    <a:lnTo>
                      <a:pt x="327150" y="777496"/>
                    </a:lnTo>
                    <a:lnTo>
                      <a:pt x="314881" y="730979"/>
                    </a:lnTo>
                    <a:lnTo>
                      <a:pt x="344529" y="710021"/>
                    </a:lnTo>
                    <a:lnTo>
                      <a:pt x="380823" y="724334"/>
                    </a:lnTo>
                    <a:lnTo>
                      <a:pt x="462610" y="684462"/>
                    </a:lnTo>
                    <a:lnTo>
                      <a:pt x="485613" y="629255"/>
                    </a:lnTo>
                    <a:lnTo>
                      <a:pt x="583758" y="652258"/>
                    </a:lnTo>
                    <a:lnTo>
                      <a:pt x="619028" y="688551"/>
                    </a:lnTo>
                    <a:lnTo>
                      <a:pt x="684970" y="679861"/>
                    </a:lnTo>
                    <a:lnTo>
                      <a:pt x="721263" y="696219"/>
                    </a:lnTo>
                    <a:lnTo>
                      <a:pt x="727908" y="712576"/>
                    </a:lnTo>
                    <a:lnTo>
                      <a:pt x="804073" y="721267"/>
                    </a:lnTo>
                    <a:lnTo>
                      <a:pt x="827075" y="683951"/>
                    </a:lnTo>
                    <a:lnTo>
                      <a:pt x="904262" y="644079"/>
                    </a:lnTo>
                    <a:lnTo>
                      <a:pt x="934932" y="662993"/>
                    </a:lnTo>
                    <a:lnTo>
                      <a:pt x="978893" y="613409"/>
                    </a:lnTo>
                    <a:lnTo>
                      <a:pt x="985538" y="563825"/>
                    </a:lnTo>
                    <a:cubicBezTo>
                      <a:pt x="985538" y="563825"/>
                      <a:pt x="1062725" y="479992"/>
                      <a:pt x="1066303" y="481015"/>
                    </a:cubicBezTo>
                    <a:cubicBezTo>
                      <a:pt x="1069371" y="482037"/>
                      <a:pt x="1120488" y="541844"/>
                      <a:pt x="1120488" y="541844"/>
                    </a:cubicBezTo>
                    <a:lnTo>
                      <a:pt x="1175694" y="519864"/>
                    </a:lnTo>
                    <a:lnTo>
                      <a:pt x="1211987" y="525487"/>
                    </a:lnTo>
                    <a:lnTo>
                      <a:pt x="1218632" y="574048"/>
                    </a:lnTo>
                    <a:lnTo>
                      <a:pt x="1185406" y="599607"/>
                    </a:lnTo>
                    <a:lnTo>
                      <a:pt x="1190007" y="627210"/>
                    </a:lnTo>
                    <a:lnTo>
                      <a:pt x="1244191" y="619543"/>
                    </a:lnTo>
                    <a:lnTo>
                      <a:pt x="1257482" y="592962"/>
                    </a:lnTo>
                    <a:lnTo>
                      <a:pt x="1309621" y="574048"/>
                    </a:lnTo>
                    <a:lnTo>
                      <a:pt x="1262082" y="415584"/>
                    </a:lnTo>
                    <a:lnTo>
                      <a:pt x="1193074" y="365489"/>
                    </a:lnTo>
                    <a:lnTo>
                      <a:pt x="1159337" y="369068"/>
                    </a:lnTo>
                    <a:lnTo>
                      <a:pt x="1063748" y="317950"/>
                    </a:lnTo>
                    <a:lnTo>
                      <a:pt x="1056080" y="307216"/>
                    </a:lnTo>
                    <a:lnTo>
                      <a:pt x="1091862" y="264277"/>
                    </a:lnTo>
                    <a:lnTo>
                      <a:pt x="1033077" y="220827"/>
                    </a:lnTo>
                    <a:lnTo>
                      <a:pt x="1043301" y="178911"/>
                    </a:lnTo>
                    <a:lnTo>
                      <a:pt x="1002918" y="137506"/>
                    </a:lnTo>
                    <a:lnTo>
                      <a:pt x="935444" y="168687"/>
                    </a:lnTo>
                    <a:lnTo>
                      <a:pt x="805606" y="97123"/>
                    </a:lnTo>
                    <a:lnTo>
                      <a:pt x="798961" y="43961"/>
                    </a:lnTo>
                    <a:lnTo>
                      <a:pt x="769824" y="6645"/>
                    </a:lnTo>
                    <a:lnTo>
                      <a:pt x="749377" y="10735"/>
                    </a:lnTo>
                    <a:lnTo>
                      <a:pt x="698771" y="58274"/>
                    </a:lnTo>
                    <a:lnTo>
                      <a:pt x="614939" y="53673"/>
                    </a:lnTo>
                    <a:lnTo>
                      <a:pt x="592447" y="75143"/>
                    </a:lnTo>
                    <a:lnTo>
                      <a:pt x="556665" y="117059"/>
                    </a:lnTo>
                    <a:lnTo>
                      <a:pt x="611361" y="41916"/>
                    </a:lnTo>
                    <a:lnTo>
                      <a:pt x="714107" y="30159"/>
                    </a:lnTo>
                    <a:lnTo>
                      <a:pt x="721263" y="1534"/>
                    </a:lnTo>
                    <a:lnTo>
                      <a:pt x="591425" y="0"/>
                    </a:lnTo>
                    <a:lnTo>
                      <a:pt x="496347" y="134950"/>
                    </a:lnTo>
                    <a:lnTo>
                      <a:pt x="397180" y="199358"/>
                    </a:lnTo>
                    <a:lnTo>
                      <a:pt x="338907" y="195780"/>
                    </a:lnTo>
                    <a:lnTo>
                      <a:pt x="307725" y="223383"/>
                    </a:lnTo>
                    <a:lnTo>
                      <a:pt x="300569" y="269389"/>
                    </a:lnTo>
                    <a:lnTo>
                      <a:pt x="274499" y="295970"/>
                    </a:lnTo>
                    <a:lnTo>
                      <a:pt x="276544" y="311816"/>
                    </a:lnTo>
                    <a:lnTo>
                      <a:pt x="261208" y="341464"/>
                    </a:lnTo>
                    <a:lnTo>
                      <a:pt x="214181" y="325618"/>
                    </a:lnTo>
                    <a:lnTo>
                      <a:pt x="201913" y="337375"/>
                    </a:lnTo>
                    <a:lnTo>
                      <a:pt x="174309" y="293414"/>
                    </a:lnTo>
                    <a:lnTo>
                      <a:pt x="115014" y="299037"/>
                    </a:lnTo>
                    <a:lnTo>
                      <a:pt x="85366" y="321528"/>
                    </a:lnTo>
                    <a:lnTo>
                      <a:pt x="68497" y="360889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8ED6F759-6EB7-44BD-88C3-E2353337D97D}"/>
                  </a:ext>
                </a:extLst>
              </p:cNvPr>
              <p:cNvSpPr/>
              <p:nvPr/>
            </p:nvSpPr>
            <p:spPr>
              <a:xfrm>
                <a:off x="8328900" y="574206"/>
                <a:ext cx="213669" cy="261209"/>
              </a:xfrm>
              <a:custGeom>
                <a:avLst/>
                <a:gdLst>
                  <a:gd name="connsiteX0" fmla="*/ 87410 w 213669"/>
                  <a:gd name="connsiteY0" fmla="*/ 261210 h 261209"/>
                  <a:gd name="connsiteX1" fmla="*/ 2045 w 213669"/>
                  <a:gd name="connsiteY1" fmla="*/ 198847 h 261209"/>
                  <a:gd name="connsiteX2" fmla="*/ 19424 w 213669"/>
                  <a:gd name="connsiteY2" fmla="*/ 183511 h 261209"/>
                  <a:gd name="connsiteX3" fmla="*/ 38849 w 213669"/>
                  <a:gd name="connsiteY3" fmla="*/ 158464 h 261209"/>
                  <a:gd name="connsiteX4" fmla="*/ 0 w 213669"/>
                  <a:gd name="connsiteY4" fmla="*/ 147729 h 261209"/>
                  <a:gd name="connsiteX5" fmla="*/ 13802 w 213669"/>
                  <a:gd name="connsiteY5" fmla="*/ 96612 h 261209"/>
                  <a:gd name="connsiteX6" fmla="*/ 76165 w 213669"/>
                  <a:gd name="connsiteY6" fmla="*/ 84855 h 261209"/>
                  <a:gd name="connsiteX7" fmla="*/ 73097 w 213669"/>
                  <a:gd name="connsiteY7" fmla="*/ 51117 h 261209"/>
                  <a:gd name="connsiteX8" fmla="*/ 52140 w 213669"/>
                  <a:gd name="connsiteY8" fmla="*/ 43450 h 261209"/>
                  <a:gd name="connsiteX9" fmla="*/ 17891 w 213669"/>
                  <a:gd name="connsiteY9" fmla="*/ 63897 h 261209"/>
                  <a:gd name="connsiteX10" fmla="*/ 14313 w 213669"/>
                  <a:gd name="connsiteY10" fmla="*/ 41916 h 261209"/>
                  <a:gd name="connsiteX11" fmla="*/ 46005 w 213669"/>
                  <a:gd name="connsiteY11" fmla="*/ 0 h 261209"/>
                  <a:gd name="connsiteX12" fmla="*/ 81276 w 213669"/>
                  <a:gd name="connsiteY12" fmla="*/ 7668 h 261209"/>
                  <a:gd name="connsiteX13" fmla="*/ 119103 w 213669"/>
                  <a:gd name="connsiteY13" fmla="*/ 43961 h 261209"/>
                  <a:gd name="connsiteX14" fmla="*/ 169709 w 213669"/>
                  <a:gd name="connsiteY14" fmla="*/ 49584 h 261209"/>
                  <a:gd name="connsiteX15" fmla="*/ 182999 w 213669"/>
                  <a:gd name="connsiteY15" fmla="*/ 90989 h 261209"/>
                  <a:gd name="connsiteX16" fmla="*/ 145684 w 213669"/>
                  <a:gd name="connsiteY16" fmla="*/ 124726 h 261209"/>
                  <a:gd name="connsiteX17" fmla="*/ 161019 w 213669"/>
                  <a:gd name="connsiteY17" fmla="*/ 154375 h 261209"/>
                  <a:gd name="connsiteX18" fmla="*/ 213670 w 213669"/>
                  <a:gd name="connsiteY18" fmla="*/ 200380 h 261209"/>
                  <a:gd name="connsiteX19" fmla="*/ 190667 w 213669"/>
                  <a:gd name="connsiteY19" fmla="*/ 223894 h 261209"/>
                  <a:gd name="connsiteX20" fmla="*/ 159997 w 213669"/>
                  <a:gd name="connsiteY20" fmla="*/ 202425 h 261209"/>
                  <a:gd name="connsiteX21" fmla="*/ 95078 w 213669"/>
                  <a:gd name="connsiteY21" fmla="*/ 219294 h 261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13669" h="261209">
                    <a:moveTo>
                      <a:pt x="87410" y="261210"/>
                    </a:moveTo>
                    <a:lnTo>
                      <a:pt x="2045" y="198847"/>
                    </a:lnTo>
                    <a:lnTo>
                      <a:pt x="19424" y="183511"/>
                    </a:lnTo>
                    <a:lnTo>
                      <a:pt x="38849" y="158464"/>
                    </a:lnTo>
                    <a:lnTo>
                      <a:pt x="0" y="147729"/>
                    </a:lnTo>
                    <a:lnTo>
                      <a:pt x="13802" y="96612"/>
                    </a:lnTo>
                    <a:lnTo>
                      <a:pt x="76165" y="84855"/>
                    </a:lnTo>
                    <a:lnTo>
                      <a:pt x="73097" y="51117"/>
                    </a:lnTo>
                    <a:lnTo>
                      <a:pt x="52140" y="43450"/>
                    </a:lnTo>
                    <a:lnTo>
                      <a:pt x="17891" y="63897"/>
                    </a:lnTo>
                    <a:lnTo>
                      <a:pt x="14313" y="41916"/>
                    </a:lnTo>
                    <a:lnTo>
                      <a:pt x="46005" y="0"/>
                    </a:lnTo>
                    <a:lnTo>
                      <a:pt x="81276" y="7668"/>
                    </a:lnTo>
                    <a:lnTo>
                      <a:pt x="119103" y="43961"/>
                    </a:lnTo>
                    <a:lnTo>
                      <a:pt x="169709" y="49584"/>
                    </a:lnTo>
                    <a:lnTo>
                      <a:pt x="182999" y="90989"/>
                    </a:lnTo>
                    <a:lnTo>
                      <a:pt x="145684" y="124726"/>
                    </a:lnTo>
                    <a:lnTo>
                      <a:pt x="161019" y="154375"/>
                    </a:lnTo>
                    <a:lnTo>
                      <a:pt x="213670" y="200380"/>
                    </a:lnTo>
                    <a:lnTo>
                      <a:pt x="190667" y="223894"/>
                    </a:lnTo>
                    <a:lnTo>
                      <a:pt x="159997" y="202425"/>
                    </a:lnTo>
                    <a:lnTo>
                      <a:pt x="95078" y="219294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52F7370D-5D05-4E89-B03A-76E3DF4F3FED}"/>
                  </a:ext>
                </a:extLst>
              </p:cNvPr>
              <p:cNvSpPr/>
              <p:nvPr/>
            </p:nvSpPr>
            <p:spPr>
              <a:xfrm>
                <a:off x="5836939" y="3256847"/>
                <a:ext cx="292390" cy="417629"/>
              </a:xfrm>
              <a:custGeom>
                <a:avLst/>
                <a:gdLst>
                  <a:gd name="connsiteX0" fmla="*/ 126259 w 292390"/>
                  <a:gd name="connsiteY0" fmla="*/ 0 h 417629"/>
                  <a:gd name="connsiteX1" fmla="*/ 136483 w 292390"/>
                  <a:gd name="connsiteY1" fmla="*/ 4089 h 417629"/>
                  <a:gd name="connsiteX2" fmla="*/ 154374 w 292390"/>
                  <a:gd name="connsiteY2" fmla="*/ 19425 h 417629"/>
                  <a:gd name="connsiteX3" fmla="*/ 148751 w 292390"/>
                  <a:gd name="connsiteY3" fmla="*/ 88944 h 417629"/>
                  <a:gd name="connsiteX4" fmla="*/ 183511 w 292390"/>
                  <a:gd name="connsiteY4" fmla="*/ 146707 h 417629"/>
                  <a:gd name="connsiteX5" fmla="*/ 292390 w 292390"/>
                  <a:gd name="connsiteY5" fmla="*/ 206003 h 417629"/>
                  <a:gd name="connsiteX6" fmla="*/ 277566 w 292390"/>
                  <a:gd name="connsiteY6" fmla="*/ 277567 h 417629"/>
                  <a:gd name="connsiteX7" fmla="*/ 227982 w 292390"/>
                  <a:gd name="connsiteY7" fmla="*/ 354755 h 417629"/>
                  <a:gd name="connsiteX8" fmla="*/ 232583 w 292390"/>
                  <a:gd name="connsiteY8" fmla="*/ 408939 h 417629"/>
                  <a:gd name="connsiteX9" fmla="*/ 191178 w 292390"/>
                  <a:gd name="connsiteY9" fmla="*/ 380825 h 417629"/>
                  <a:gd name="connsiteX10" fmla="*/ 147729 w 292390"/>
                  <a:gd name="connsiteY10" fmla="*/ 394115 h 417629"/>
                  <a:gd name="connsiteX11" fmla="*/ 138527 w 292390"/>
                  <a:gd name="connsiteY11" fmla="*/ 413029 h 417629"/>
                  <a:gd name="connsiteX12" fmla="*/ 111947 w 292390"/>
                  <a:gd name="connsiteY12" fmla="*/ 416607 h 417629"/>
                  <a:gd name="connsiteX13" fmla="*/ 91500 w 292390"/>
                  <a:gd name="connsiteY13" fmla="*/ 417629 h 417629"/>
                  <a:gd name="connsiteX14" fmla="*/ 79743 w 292390"/>
                  <a:gd name="connsiteY14" fmla="*/ 393093 h 417629"/>
                  <a:gd name="connsiteX15" fmla="*/ 50095 w 292390"/>
                  <a:gd name="connsiteY15" fmla="*/ 384914 h 417629"/>
                  <a:gd name="connsiteX16" fmla="*/ 34248 w 292390"/>
                  <a:gd name="connsiteY16" fmla="*/ 361400 h 417629"/>
                  <a:gd name="connsiteX17" fmla="*/ 47028 w 292390"/>
                  <a:gd name="connsiteY17" fmla="*/ 344020 h 417629"/>
                  <a:gd name="connsiteX18" fmla="*/ 43961 w 292390"/>
                  <a:gd name="connsiteY18" fmla="*/ 327151 h 417629"/>
                  <a:gd name="connsiteX19" fmla="*/ 51628 w 292390"/>
                  <a:gd name="connsiteY19" fmla="*/ 298526 h 417629"/>
                  <a:gd name="connsiteX20" fmla="*/ 29137 w 292390"/>
                  <a:gd name="connsiteY20" fmla="*/ 247919 h 417629"/>
                  <a:gd name="connsiteX21" fmla="*/ 5623 w 292390"/>
                  <a:gd name="connsiteY21" fmla="*/ 219294 h 417629"/>
                  <a:gd name="connsiteX22" fmla="*/ 0 w 292390"/>
                  <a:gd name="connsiteY22" fmla="*/ 168176 h 417629"/>
                  <a:gd name="connsiteX23" fmla="*/ 13290 w 292390"/>
                  <a:gd name="connsiteY23" fmla="*/ 129838 h 417629"/>
                  <a:gd name="connsiteX24" fmla="*/ 35782 w 292390"/>
                  <a:gd name="connsiteY24" fmla="*/ 107858 h 417629"/>
                  <a:gd name="connsiteX25" fmla="*/ 38338 w 292390"/>
                  <a:gd name="connsiteY25" fmla="*/ 73098 h 417629"/>
                  <a:gd name="connsiteX26" fmla="*/ 78209 w 292390"/>
                  <a:gd name="connsiteY26" fmla="*/ 35271 h 417629"/>
                  <a:gd name="connsiteX27" fmla="*/ 85877 w 292390"/>
                  <a:gd name="connsiteY27" fmla="*/ 5112 h 417629"/>
                  <a:gd name="connsiteX28" fmla="*/ 106835 w 292390"/>
                  <a:gd name="connsiteY28" fmla="*/ 511 h 417629"/>
                  <a:gd name="connsiteX29" fmla="*/ 116036 w 292390"/>
                  <a:gd name="connsiteY29" fmla="*/ 5623 h 417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92390" h="417629">
                    <a:moveTo>
                      <a:pt x="126259" y="0"/>
                    </a:moveTo>
                    <a:lnTo>
                      <a:pt x="136483" y="4089"/>
                    </a:lnTo>
                    <a:lnTo>
                      <a:pt x="154374" y="19425"/>
                    </a:lnTo>
                    <a:lnTo>
                      <a:pt x="148751" y="88944"/>
                    </a:lnTo>
                    <a:lnTo>
                      <a:pt x="183511" y="146707"/>
                    </a:lnTo>
                    <a:lnTo>
                      <a:pt x="292390" y="206003"/>
                    </a:lnTo>
                    <a:lnTo>
                      <a:pt x="277566" y="277567"/>
                    </a:lnTo>
                    <a:lnTo>
                      <a:pt x="227982" y="354755"/>
                    </a:lnTo>
                    <a:lnTo>
                      <a:pt x="232583" y="408939"/>
                    </a:lnTo>
                    <a:lnTo>
                      <a:pt x="191178" y="380825"/>
                    </a:lnTo>
                    <a:lnTo>
                      <a:pt x="147729" y="394115"/>
                    </a:lnTo>
                    <a:lnTo>
                      <a:pt x="138527" y="413029"/>
                    </a:lnTo>
                    <a:lnTo>
                      <a:pt x="111947" y="416607"/>
                    </a:lnTo>
                    <a:lnTo>
                      <a:pt x="91500" y="417629"/>
                    </a:lnTo>
                    <a:lnTo>
                      <a:pt x="79743" y="393093"/>
                    </a:lnTo>
                    <a:lnTo>
                      <a:pt x="50095" y="384914"/>
                    </a:lnTo>
                    <a:lnTo>
                      <a:pt x="34248" y="361400"/>
                    </a:lnTo>
                    <a:lnTo>
                      <a:pt x="47028" y="344020"/>
                    </a:lnTo>
                    <a:lnTo>
                      <a:pt x="43961" y="327151"/>
                    </a:lnTo>
                    <a:lnTo>
                      <a:pt x="51628" y="298526"/>
                    </a:lnTo>
                    <a:lnTo>
                      <a:pt x="29137" y="247919"/>
                    </a:lnTo>
                    <a:lnTo>
                      <a:pt x="5623" y="219294"/>
                    </a:lnTo>
                    <a:lnTo>
                      <a:pt x="0" y="168176"/>
                    </a:lnTo>
                    <a:lnTo>
                      <a:pt x="13290" y="129838"/>
                    </a:lnTo>
                    <a:lnTo>
                      <a:pt x="35782" y="107858"/>
                    </a:lnTo>
                    <a:lnTo>
                      <a:pt x="38338" y="73098"/>
                    </a:lnTo>
                    <a:lnTo>
                      <a:pt x="78209" y="35271"/>
                    </a:lnTo>
                    <a:lnTo>
                      <a:pt x="85877" y="5112"/>
                    </a:lnTo>
                    <a:lnTo>
                      <a:pt x="106835" y="511"/>
                    </a:lnTo>
                    <a:lnTo>
                      <a:pt x="116036" y="5623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3CF9C365-1D3C-48BD-99A4-94CA69212C32}"/>
                  </a:ext>
                </a:extLst>
              </p:cNvPr>
              <p:cNvSpPr/>
              <p:nvPr/>
            </p:nvSpPr>
            <p:spPr>
              <a:xfrm>
                <a:off x="6582227" y="2405742"/>
                <a:ext cx="864902" cy="1220683"/>
              </a:xfrm>
              <a:custGeom>
                <a:avLst/>
                <a:gdLst>
                  <a:gd name="connsiteX0" fmla="*/ 120636 w 864902"/>
                  <a:gd name="connsiteY0" fmla="*/ 555646 h 1220683"/>
                  <a:gd name="connsiteX1" fmla="*/ 251496 w 864902"/>
                  <a:gd name="connsiteY1" fmla="*/ 324084 h 1220683"/>
                  <a:gd name="connsiteX2" fmla="*/ 342996 w 864902"/>
                  <a:gd name="connsiteY2" fmla="*/ 269389 h 1220683"/>
                  <a:gd name="connsiteX3" fmla="*/ 317437 w 864902"/>
                  <a:gd name="connsiteY3" fmla="*/ 208048 h 1220683"/>
                  <a:gd name="connsiteX4" fmla="*/ 288301 w 864902"/>
                  <a:gd name="connsiteY4" fmla="*/ 227472 h 1220683"/>
                  <a:gd name="connsiteX5" fmla="*/ 266832 w 864902"/>
                  <a:gd name="connsiteY5" fmla="*/ 208048 h 1220683"/>
                  <a:gd name="connsiteX6" fmla="*/ 374689 w 864902"/>
                  <a:gd name="connsiteY6" fmla="*/ 97123 h 1220683"/>
                  <a:gd name="connsiteX7" fmla="*/ 445230 w 864902"/>
                  <a:gd name="connsiteY7" fmla="*/ 87922 h 1220683"/>
                  <a:gd name="connsiteX8" fmla="*/ 447786 w 864902"/>
                  <a:gd name="connsiteY8" fmla="*/ 127282 h 1220683"/>
                  <a:gd name="connsiteX9" fmla="*/ 483568 w 864902"/>
                  <a:gd name="connsiteY9" fmla="*/ 128816 h 1220683"/>
                  <a:gd name="connsiteX10" fmla="*/ 561778 w 864902"/>
                  <a:gd name="connsiteY10" fmla="*/ 2556 h 1220683"/>
                  <a:gd name="connsiteX11" fmla="*/ 643054 w 864902"/>
                  <a:gd name="connsiteY11" fmla="*/ 0 h 1220683"/>
                  <a:gd name="connsiteX12" fmla="*/ 656344 w 864902"/>
                  <a:gd name="connsiteY12" fmla="*/ 43450 h 1220683"/>
                  <a:gd name="connsiteX13" fmla="*/ 612383 w 864902"/>
                  <a:gd name="connsiteY13" fmla="*/ 174310 h 1220683"/>
                  <a:gd name="connsiteX14" fmla="*/ 662989 w 864902"/>
                  <a:gd name="connsiteY14" fmla="*/ 194246 h 1220683"/>
                  <a:gd name="connsiteX15" fmla="*/ 708995 w 864902"/>
                  <a:gd name="connsiteY15" fmla="*/ 116037 h 1220683"/>
                  <a:gd name="connsiteX16" fmla="*/ 753467 w 864902"/>
                  <a:gd name="connsiteY16" fmla="*/ 143640 h 1220683"/>
                  <a:gd name="connsiteX17" fmla="*/ 864902 w 864902"/>
                  <a:gd name="connsiteY17" fmla="*/ 243830 h 1220683"/>
                  <a:gd name="connsiteX18" fmla="*/ 850589 w 864902"/>
                  <a:gd name="connsiteY18" fmla="*/ 353732 h 1220683"/>
                  <a:gd name="connsiteX19" fmla="*/ 774425 w 864902"/>
                  <a:gd name="connsiteY19" fmla="*/ 443188 h 1220683"/>
                  <a:gd name="connsiteX20" fmla="*/ 752444 w 864902"/>
                  <a:gd name="connsiteY20" fmla="*/ 531621 h 1220683"/>
                  <a:gd name="connsiteX21" fmla="*/ 825542 w 864902"/>
                  <a:gd name="connsiteY21" fmla="*/ 555135 h 1220683"/>
                  <a:gd name="connsiteX22" fmla="*/ 841388 w 864902"/>
                  <a:gd name="connsiteY22" fmla="*/ 605230 h 1220683"/>
                  <a:gd name="connsiteX23" fmla="*/ 758067 w 864902"/>
                  <a:gd name="connsiteY23" fmla="*/ 703887 h 1220683"/>
                  <a:gd name="connsiteX24" fmla="*/ 714618 w 864902"/>
                  <a:gd name="connsiteY24" fmla="*/ 688040 h 1220683"/>
                  <a:gd name="connsiteX25" fmla="*/ 677302 w 864902"/>
                  <a:gd name="connsiteY25" fmla="*/ 714110 h 1220683"/>
                  <a:gd name="connsiteX26" fmla="*/ 678836 w 864902"/>
                  <a:gd name="connsiteY26" fmla="*/ 803055 h 1220683"/>
                  <a:gd name="connsiteX27" fmla="*/ 626696 w 864902"/>
                  <a:gd name="connsiteY27" fmla="*/ 804588 h 1220683"/>
                  <a:gd name="connsiteX28" fmla="*/ 630786 w 864902"/>
                  <a:gd name="connsiteY28" fmla="*/ 873596 h 1220683"/>
                  <a:gd name="connsiteX29" fmla="*/ 591937 w 864902"/>
                  <a:gd name="connsiteY29" fmla="*/ 880753 h 1220683"/>
                  <a:gd name="connsiteX30" fmla="*/ 578135 w 864902"/>
                  <a:gd name="connsiteY30" fmla="*/ 860817 h 1220683"/>
                  <a:gd name="connsiteX31" fmla="*/ 434496 w 864902"/>
                  <a:gd name="connsiteY31" fmla="*/ 888420 h 1220683"/>
                  <a:gd name="connsiteX32" fmla="*/ 496347 w 864902"/>
                  <a:gd name="connsiteY32" fmla="*/ 1100046 h 1220683"/>
                  <a:gd name="connsiteX33" fmla="*/ 490213 w 864902"/>
                  <a:gd name="connsiteY33" fmla="*/ 1184390 h 1220683"/>
                  <a:gd name="connsiteX34" fmla="*/ 467722 w 864902"/>
                  <a:gd name="connsiteY34" fmla="*/ 1219150 h 1220683"/>
                  <a:gd name="connsiteX35" fmla="*/ 362421 w 864902"/>
                  <a:gd name="connsiteY35" fmla="*/ 1220683 h 1220683"/>
                  <a:gd name="connsiteX36" fmla="*/ 350152 w 864902"/>
                  <a:gd name="connsiteY36" fmla="*/ 1158320 h 1220683"/>
                  <a:gd name="connsiteX37" fmla="*/ 231050 w 864902"/>
                  <a:gd name="connsiteY37" fmla="*/ 1180812 h 1220683"/>
                  <a:gd name="connsiteX38" fmla="*/ 214181 w 864902"/>
                  <a:gd name="connsiteY38" fmla="*/ 1141963 h 1220683"/>
                  <a:gd name="connsiteX39" fmla="*/ 224915 w 864902"/>
                  <a:gd name="connsiteY39" fmla="*/ 1076533 h 1220683"/>
                  <a:gd name="connsiteX40" fmla="*/ 198335 w 864902"/>
                  <a:gd name="connsiteY40" fmla="*/ 959474 h 1220683"/>
                  <a:gd name="connsiteX41" fmla="*/ 127282 w 864902"/>
                  <a:gd name="connsiteY41" fmla="*/ 946183 h 1220683"/>
                  <a:gd name="connsiteX42" fmla="*/ 76676 w 864902"/>
                  <a:gd name="connsiteY42" fmla="*/ 969697 h 1220683"/>
                  <a:gd name="connsiteX43" fmla="*/ 47028 w 864902"/>
                  <a:gd name="connsiteY43" fmla="*/ 968164 h 1220683"/>
                  <a:gd name="connsiteX44" fmla="*/ 0 w 864902"/>
                  <a:gd name="connsiteY44" fmla="*/ 910912 h 1220683"/>
                  <a:gd name="connsiteX45" fmla="*/ 123704 w 864902"/>
                  <a:gd name="connsiteY45" fmla="*/ 788741 h 1220683"/>
                  <a:gd name="connsiteX46" fmla="*/ 97634 w 864902"/>
                  <a:gd name="connsiteY46" fmla="*/ 733024 h 1220683"/>
                  <a:gd name="connsiteX47" fmla="*/ 69008 w 864902"/>
                  <a:gd name="connsiteY47" fmla="*/ 721267 h 1220683"/>
                  <a:gd name="connsiteX48" fmla="*/ 65941 w 864902"/>
                  <a:gd name="connsiteY48" fmla="*/ 656348 h 1220683"/>
                  <a:gd name="connsiteX49" fmla="*/ 130349 w 864902"/>
                  <a:gd name="connsiteY49" fmla="*/ 610853 h 12206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864902" h="1220683">
                    <a:moveTo>
                      <a:pt x="120636" y="555646"/>
                    </a:moveTo>
                    <a:lnTo>
                      <a:pt x="251496" y="324084"/>
                    </a:lnTo>
                    <a:lnTo>
                      <a:pt x="342996" y="269389"/>
                    </a:lnTo>
                    <a:lnTo>
                      <a:pt x="317437" y="208048"/>
                    </a:lnTo>
                    <a:lnTo>
                      <a:pt x="288301" y="227472"/>
                    </a:lnTo>
                    <a:lnTo>
                      <a:pt x="266832" y="208048"/>
                    </a:lnTo>
                    <a:lnTo>
                      <a:pt x="374689" y="97123"/>
                    </a:lnTo>
                    <a:lnTo>
                      <a:pt x="445230" y="87922"/>
                    </a:lnTo>
                    <a:lnTo>
                      <a:pt x="447786" y="127282"/>
                    </a:lnTo>
                    <a:lnTo>
                      <a:pt x="483568" y="128816"/>
                    </a:lnTo>
                    <a:lnTo>
                      <a:pt x="561778" y="2556"/>
                    </a:lnTo>
                    <a:lnTo>
                      <a:pt x="643054" y="0"/>
                    </a:lnTo>
                    <a:lnTo>
                      <a:pt x="656344" y="43450"/>
                    </a:lnTo>
                    <a:lnTo>
                      <a:pt x="612383" y="174310"/>
                    </a:lnTo>
                    <a:lnTo>
                      <a:pt x="662989" y="194246"/>
                    </a:lnTo>
                    <a:lnTo>
                      <a:pt x="708995" y="116037"/>
                    </a:lnTo>
                    <a:lnTo>
                      <a:pt x="753467" y="143640"/>
                    </a:lnTo>
                    <a:lnTo>
                      <a:pt x="864902" y="243830"/>
                    </a:lnTo>
                    <a:lnTo>
                      <a:pt x="850589" y="353732"/>
                    </a:lnTo>
                    <a:lnTo>
                      <a:pt x="774425" y="443188"/>
                    </a:lnTo>
                    <a:lnTo>
                      <a:pt x="752444" y="531621"/>
                    </a:lnTo>
                    <a:lnTo>
                      <a:pt x="825542" y="555135"/>
                    </a:lnTo>
                    <a:lnTo>
                      <a:pt x="841388" y="605230"/>
                    </a:lnTo>
                    <a:lnTo>
                      <a:pt x="758067" y="703887"/>
                    </a:lnTo>
                    <a:lnTo>
                      <a:pt x="714618" y="688040"/>
                    </a:lnTo>
                    <a:lnTo>
                      <a:pt x="677302" y="714110"/>
                    </a:lnTo>
                    <a:lnTo>
                      <a:pt x="678836" y="803055"/>
                    </a:lnTo>
                    <a:lnTo>
                      <a:pt x="626696" y="804588"/>
                    </a:lnTo>
                    <a:lnTo>
                      <a:pt x="630786" y="873596"/>
                    </a:lnTo>
                    <a:lnTo>
                      <a:pt x="591937" y="880753"/>
                    </a:lnTo>
                    <a:lnTo>
                      <a:pt x="578135" y="860817"/>
                    </a:lnTo>
                    <a:lnTo>
                      <a:pt x="434496" y="888420"/>
                    </a:lnTo>
                    <a:lnTo>
                      <a:pt x="496347" y="1100046"/>
                    </a:lnTo>
                    <a:lnTo>
                      <a:pt x="490213" y="1184390"/>
                    </a:lnTo>
                    <a:lnTo>
                      <a:pt x="467722" y="1219150"/>
                    </a:lnTo>
                    <a:lnTo>
                      <a:pt x="362421" y="1220683"/>
                    </a:lnTo>
                    <a:lnTo>
                      <a:pt x="350152" y="1158320"/>
                    </a:lnTo>
                    <a:lnTo>
                      <a:pt x="231050" y="1180812"/>
                    </a:lnTo>
                    <a:lnTo>
                      <a:pt x="214181" y="1141963"/>
                    </a:lnTo>
                    <a:lnTo>
                      <a:pt x="224915" y="1076533"/>
                    </a:lnTo>
                    <a:lnTo>
                      <a:pt x="198335" y="959474"/>
                    </a:lnTo>
                    <a:lnTo>
                      <a:pt x="127282" y="946183"/>
                    </a:lnTo>
                    <a:lnTo>
                      <a:pt x="76676" y="969697"/>
                    </a:lnTo>
                    <a:lnTo>
                      <a:pt x="47028" y="968164"/>
                    </a:lnTo>
                    <a:lnTo>
                      <a:pt x="0" y="910912"/>
                    </a:lnTo>
                    <a:lnTo>
                      <a:pt x="123704" y="788741"/>
                    </a:lnTo>
                    <a:lnTo>
                      <a:pt x="97634" y="733024"/>
                    </a:lnTo>
                    <a:lnTo>
                      <a:pt x="69008" y="721267"/>
                    </a:lnTo>
                    <a:lnTo>
                      <a:pt x="65941" y="656348"/>
                    </a:lnTo>
                    <a:lnTo>
                      <a:pt x="130349" y="610853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3" name="Freihandform: Form 62">
                <a:extLst>
                  <a:ext uri="{FF2B5EF4-FFF2-40B4-BE49-F238E27FC236}">
                    <a16:creationId xmlns:a16="http://schemas.microsoft.com/office/drawing/2014/main" id="{8E92BE60-AE38-4CF5-B044-7AE011E005D9}"/>
                  </a:ext>
                </a:extLst>
              </p:cNvPr>
              <p:cNvSpPr/>
              <p:nvPr/>
            </p:nvSpPr>
            <p:spPr>
              <a:xfrm>
                <a:off x="7212502" y="1173813"/>
                <a:ext cx="230027" cy="210603"/>
              </a:xfrm>
              <a:custGeom>
                <a:avLst/>
                <a:gdLst>
                  <a:gd name="connsiteX0" fmla="*/ 152840 w 230027"/>
                  <a:gd name="connsiteY0" fmla="*/ 126771 h 210603"/>
                  <a:gd name="connsiteX1" fmla="*/ 136483 w 230027"/>
                  <a:gd name="connsiteY1" fmla="*/ 119104 h 210603"/>
                  <a:gd name="connsiteX2" fmla="*/ 155907 w 230027"/>
                  <a:gd name="connsiteY2" fmla="*/ 64919 h 210603"/>
                  <a:gd name="connsiteX3" fmla="*/ 145173 w 230027"/>
                  <a:gd name="connsiteY3" fmla="*/ 45494 h 210603"/>
                  <a:gd name="connsiteX4" fmla="*/ 148240 w 230027"/>
                  <a:gd name="connsiteY4" fmla="*/ 3578 h 210603"/>
                  <a:gd name="connsiteX5" fmla="*/ 131882 w 230027"/>
                  <a:gd name="connsiteY5" fmla="*/ 0 h 210603"/>
                  <a:gd name="connsiteX6" fmla="*/ 88944 w 230027"/>
                  <a:gd name="connsiteY6" fmla="*/ 49584 h 210603"/>
                  <a:gd name="connsiteX7" fmla="*/ 7156 w 230027"/>
                  <a:gd name="connsiteY7" fmla="*/ 85877 h 210603"/>
                  <a:gd name="connsiteX8" fmla="*/ 0 w 230027"/>
                  <a:gd name="connsiteY8" fmla="*/ 125238 h 210603"/>
                  <a:gd name="connsiteX9" fmla="*/ 8179 w 230027"/>
                  <a:gd name="connsiteY9" fmla="*/ 148752 h 210603"/>
                  <a:gd name="connsiteX10" fmla="*/ 51117 w 230027"/>
                  <a:gd name="connsiteY10" fmla="*/ 194246 h 210603"/>
                  <a:gd name="connsiteX11" fmla="*/ 103257 w 230027"/>
                  <a:gd name="connsiteY11" fmla="*/ 197313 h 210603"/>
                  <a:gd name="connsiteX12" fmla="*/ 112969 w 230027"/>
                  <a:gd name="connsiteY12" fmla="*/ 187601 h 210603"/>
                  <a:gd name="connsiteX13" fmla="*/ 133927 w 230027"/>
                  <a:gd name="connsiteY13" fmla="*/ 185556 h 210603"/>
                  <a:gd name="connsiteX14" fmla="*/ 158463 w 230027"/>
                  <a:gd name="connsiteY14" fmla="*/ 210604 h 210603"/>
                  <a:gd name="connsiteX15" fmla="*/ 168175 w 230027"/>
                  <a:gd name="connsiteY15" fmla="*/ 210604 h 210603"/>
                  <a:gd name="connsiteX16" fmla="*/ 193734 w 230027"/>
                  <a:gd name="connsiteY16" fmla="*/ 194246 h 210603"/>
                  <a:gd name="connsiteX17" fmla="*/ 211114 w 230027"/>
                  <a:gd name="connsiteY17" fmla="*/ 193224 h 210603"/>
                  <a:gd name="connsiteX18" fmla="*/ 230027 w 230027"/>
                  <a:gd name="connsiteY18" fmla="*/ 206514 h 210603"/>
                  <a:gd name="connsiteX19" fmla="*/ 223382 w 230027"/>
                  <a:gd name="connsiteY19" fmla="*/ 190668 h 2106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30027" h="210603">
                    <a:moveTo>
                      <a:pt x="152840" y="126771"/>
                    </a:moveTo>
                    <a:lnTo>
                      <a:pt x="136483" y="119104"/>
                    </a:lnTo>
                    <a:lnTo>
                      <a:pt x="155907" y="64919"/>
                    </a:lnTo>
                    <a:lnTo>
                      <a:pt x="145173" y="45494"/>
                    </a:lnTo>
                    <a:lnTo>
                      <a:pt x="148240" y="3578"/>
                    </a:lnTo>
                    <a:lnTo>
                      <a:pt x="131882" y="0"/>
                    </a:lnTo>
                    <a:lnTo>
                      <a:pt x="88944" y="49584"/>
                    </a:lnTo>
                    <a:lnTo>
                      <a:pt x="7156" y="85877"/>
                    </a:lnTo>
                    <a:lnTo>
                      <a:pt x="0" y="125238"/>
                    </a:lnTo>
                    <a:lnTo>
                      <a:pt x="8179" y="148752"/>
                    </a:lnTo>
                    <a:lnTo>
                      <a:pt x="51117" y="194246"/>
                    </a:lnTo>
                    <a:lnTo>
                      <a:pt x="103257" y="197313"/>
                    </a:lnTo>
                    <a:lnTo>
                      <a:pt x="112969" y="187601"/>
                    </a:lnTo>
                    <a:lnTo>
                      <a:pt x="133927" y="185556"/>
                    </a:lnTo>
                    <a:lnTo>
                      <a:pt x="158463" y="210604"/>
                    </a:lnTo>
                    <a:lnTo>
                      <a:pt x="168175" y="210604"/>
                    </a:lnTo>
                    <a:lnTo>
                      <a:pt x="193734" y="194246"/>
                    </a:lnTo>
                    <a:lnTo>
                      <a:pt x="211114" y="193224"/>
                    </a:lnTo>
                    <a:lnTo>
                      <a:pt x="230027" y="206514"/>
                    </a:lnTo>
                    <a:lnTo>
                      <a:pt x="223382" y="190668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4" name="Freihandform: Form 63">
                <a:extLst>
                  <a:ext uri="{FF2B5EF4-FFF2-40B4-BE49-F238E27FC236}">
                    <a16:creationId xmlns:a16="http://schemas.microsoft.com/office/drawing/2014/main" id="{22148A01-7C57-45FE-BFF7-16308B87F69B}"/>
                  </a:ext>
                </a:extLst>
              </p:cNvPr>
              <p:cNvSpPr/>
              <p:nvPr/>
            </p:nvSpPr>
            <p:spPr>
              <a:xfrm>
                <a:off x="6801520" y="1304673"/>
                <a:ext cx="49072" cy="69519"/>
              </a:xfrm>
              <a:custGeom>
                <a:avLst/>
                <a:gdLst>
                  <a:gd name="connsiteX0" fmla="*/ 41916 w 49072"/>
                  <a:gd name="connsiteY0" fmla="*/ 69520 h 69519"/>
                  <a:gd name="connsiteX1" fmla="*/ 49072 w 49072"/>
                  <a:gd name="connsiteY1" fmla="*/ 47028 h 69519"/>
                  <a:gd name="connsiteX2" fmla="*/ 37827 w 49072"/>
                  <a:gd name="connsiteY2" fmla="*/ 0 h 69519"/>
                  <a:gd name="connsiteX3" fmla="*/ 0 w 49072"/>
                  <a:gd name="connsiteY3" fmla="*/ 1022 h 69519"/>
                  <a:gd name="connsiteX4" fmla="*/ 4601 w 49072"/>
                  <a:gd name="connsiteY4" fmla="*/ 37316 h 69519"/>
                  <a:gd name="connsiteX5" fmla="*/ 16357 w 49072"/>
                  <a:gd name="connsiteY5" fmla="*/ 64919 h 695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072" h="69519">
                    <a:moveTo>
                      <a:pt x="41916" y="69520"/>
                    </a:moveTo>
                    <a:lnTo>
                      <a:pt x="49072" y="47028"/>
                    </a:lnTo>
                    <a:lnTo>
                      <a:pt x="37827" y="0"/>
                    </a:lnTo>
                    <a:lnTo>
                      <a:pt x="0" y="1022"/>
                    </a:lnTo>
                    <a:lnTo>
                      <a:pt x="4601" y="37316"/>
                    </a:lnTo>
                    <a:lnTo>
                      <a:pt x="16357" y="64919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5" name="Freihandform: Form 64">
                <a:extLst>
                  <a:ext uri="{FF2B5EF4-FFF2-40B4-BE49-F238E27FC236}">
                    <a16:creationId xmlns:a16="http://schemas.microsoft.com/office/drawing/2014/main" id="{830EF8B2-C67C-4FBA-BA2B-089942117B7B}"/>
                  </a:ext>
                </a:extLst>
              </p:cNvPr>
              <p:cNvSpPr/>
              <p:nvPr/>
            </p:nvSpPr>
            <p:spPr>
              <a:xfrm>
                <a:off x="6798964" y="1500453"/>
                <a:ext cx="170731" cy="116036"/>
              </a:xfrm>
              <a:custGeom>
                <a:avLst/>
                <a:gdLst>
                  <a:gd name="connsiteX0" fmla="*/ 41916 w 170731"/>
                  <a:gd name="connsiteY0" fmla="*/ 30670 h 116036"/>
                  <a:gd name="connsiteX1" fmla="*/ 74631 w 170731"/>
                  <a:gd name="connsiteY1" fmla="*/ 99168 h 116036"/>
                  <a:gd name="connsiteX2" fmla="*/ 89966 w 170731"/>
                  <a:gd name="connsiteY2" fmla="*/ 110925 h 116036"/>
                  <a:gd name="connsiteX3" fmla="*/ 143639 w 170731"/>
                  <a:gd name="connsiteY3" fmla="*/ 116036 h 116036"/>
                  <a:gd name="connsiteX4" fmla="*/ 170731 w 170731"/>
                  <a:gd name="connsiteY4" fmla="*/ 69008 h 116036"/>
                  <a:gd name="connsiteX5" fmla="*/ 162041 w 170731"/>
                  <a:gd name="connsiteY5" fmla="*/ 32204 h 116036"/>
                  <a:gd name="connsiteX6" fmla="*/ 75142 w 170731"/>
                  <a:gd name="connsiteY6" fmla="*/ 12268 h 116036"/>
                  <a:gd name="connsiteX7" fmla="*/ 0 w 170731"/>
                  <a:gd name="connsiteY7" fmla="*/ 0 h 116036"/>
                  <a:gd name="connsiteX8" fmla="*/ 3067 w 170731"/>
                  <a:gd name="connsiteY8" fmla="*/ 15335 h 1160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0731" h="116036">
                    <a:moveTo>
                      <a:pt x="41916" y="30670"/>
                    </a:moveTo>
                    <a:lnTo>
                      <a:pt x="74631" y="99168"/>
                    </a:lnTo>
                    <a:lnTo>
                      <a:pt x="89966" y="110925"/>
                    </a:lnTo>
                    <a:lnTo>
                      <a:pt x="143639" y="116036"/>
                    </a:lnTo>
                    <a:lnTo>
                      <a:pt x="170731" y="69008"/>
                    </a:lnTo>
                    <a:lnTo>
                      <a:pt x="162041" y="32204"/>
                    </a:lnTo>
                    <a:lnTo>
                      <a:pt x="75142" y="12268"/>
                    </a:lnTo>
                    <a:lnTo>
                      <a:pt x="0" y="0"/>
                    </a:lnTo>
                    <a:lnTo>
                      <a:pt x="3067" y="15335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6" name="Freihandform: Form 65">
                <a:extLst>
                  <a:ext uri="{FF2B5EF4-FFF2-40B4-BE49-F238E27FC236}">
                    <a16:creationId xmlns:a16="http://schemas.microsoft.com/office/drawing/2014/main" id="{A9490448-646C-4695-9A53-CA4C65D05E5F}"/>
                  </a:ext>
                </a:extLst>
              </p:cNvPr>
              <p:cNvSpPr/>
              <p:nvPr/>
            </p:nvSpPr>
            <p:spPr>
              <a:xfrm>
                <a:off x="7753321" y="1213675"/>
                <a:ext cx="1286107" cy="1247273"/>
              </a:xfrm>
              <a:custGeom>
                <a:avLst/>
                <a:gdLst>
                  <a:gd name="connsiteX0" fmla="*/ 832187 w 1286107"/>
                  <a:gd name="connsiteY0" fmla="*/ 606773 h 1247273"/>
                  <a:gd name="connsiteX1" fmla="*/ 836787 w 1286107"/>
                  <a:gd name="connsiteY1" fmla="*/ 583770 h 1247273"/>
                  <a:gd name="connsiteX2" fmla="*/ 796916 w 1286107"/>
                  <a:gd name="connsiteY2" fmla="*/ 523963 h 1247273"/>
                  <a:gd name="connsiteX3" fmla="*/ 782603 w 1286107"/>
                  <a:gd name="connsiteY3" fmla="*/ 506072 h 1247273"/>
                  <a:gd name="connsiteX4" fmla="*/ 763690 w 1286107"/>
                  <a:gd name="connsiteY4" fmla="*/ 509139 h 1247273"/>
                  <a:gd name="connsiteX5" fmla="*/ 741710 w 1286107"/>
                  <a:gd name="connsiteY5" fmla="*/ 537764 h 1247273"/>
                  <a:gd name="connsiteX6" fmla="*/ 704394 w 1286107"/>
                  <a:gd name="connsiteY6" fmla="*/ 518851 h 1247273"/>
                  <a:gd name="connsiteX7" fmla="*/ 654810 w 1286107"/>
                  <a:gd name="connsiteY7" fmla="*/ 563834 h 1247273"/>
                  <a:gd name="connsiteX8" fmla="*/ 659411 w 1286107"/>
                  <a:gd name="connsiteY8" fmla="*/ 644600 h 1247273"/>
                  <a:gd name="connsiteX9" fmla="*/ 643054 w 1286107"/>
                  <a:gd name="connsiteY9" fmla="*/ 675270 h 1247273"/>
                  <a:gd name="connsiteX10" fmla="*/ 654299 w 1286107"/>
                  <a:gd name="connsiteY10" fmla="*/ 684982 h 1247273"/>
                  <a:gd name="connsiteX11" fmla="*/ 723819 w 1286107"/>
                  <a:gd name="connsiteY11" fmla="*/ 657379 h 1247273"/>
                  <a:gd name="connsiteX12" fmla="*/ 815318 w 1286107"/>
                  <a:gd name="connsiteY12" fmla="*/ 660446 h 1247273"/>
                  <a:gd name="connsiteX13" fmla="*/ 842921 w 1286107"/>
                  <a:gd name="connsiteY13" fmla="*/ 692650 h 1247273"/>
                  <a:gd name="connsiteX14" fmla="*/ 870525 w 1286107"/>
                  <a:gd name="connsiteY14" fmla="*/ 648689 h 1247273"/>
                  <a:gd name="connsiteX15" fmla="*/ 868480 w 1286107"/>
                  <a:gd name="connsiteY15" fmla="*/ 620063 h 1247273"/>
                  <a:gd name="connsiteX16" fmla="*/ 832187 w 1286107"/>
                  <a:gd name="connsiteY16" fmla="*/ 606773 h 1247273"/>
                  <a:gd name="connsiteX17" fmla="*/ 1024899 w 1286107"/>
                  <a:gd name="connsiteY17" fmla="*/ 112468 h 1247273"/>
                  <a:gd name="connsiteX18" fmla="*/ 1077038 w 1286107"/>
                  <a:gd name="connsiteY18" fmla="*/ 93554 h 1247273"/>
                  <a:gd name="connsiteX19" fmla="*/ 1085217 w 1286107"/>
                  <a:gd name="connsiteY19" fmla="*/ 120135 h 1247273"/>
                  <a:gd name="connsiteX20" fmla="*/ 1054035 w 1286107"/>
                  <a:gd name="connsiteY20" fmla="*/ 189655 h 1247273"/>
                  <a:gd name="connsiteX21" fmla="*/ 1066303 w 1286107"/>
                  <a:gd name="connsiteY21" fmla="*/ 230038 h 1247273"/>
                  <a:gd name="connsiteX22" fmla="*/ 1022854 w 1286107"/>
                  <a:gd name="connsiteY22" fmla="*/ 313359 h 1247273"/>
                  <a:gd name="connsiteX23" fmla="*/ 979915 w 1286107"/>
                  <a:gd name="connsiteY23" fmla="*/ 340962 h 1247273"/>
                  <a:gd name="connsiteX24" fmla="*/ 987072 w 1286107"/>
                  <a:gd name="connsiteY24" fmla="*/ 400770 h 1247273"/>
                  <a:gd name="connsiteX25" fmla="*/ 1058636 w 1286107"/>
                  <a:gd name="connsiteY25" fmla="*/ 436552 h 1247273"/>
                  <a:gd name="connsiteX26" fmla="*/ 1116910 w 1286107"/>
                  <a:gd name="connsiteY26" fmla="*/ 497381 h 1247273"/>
                  <a:gd name="connsiteX27" fmla="*/ 1142979 w 1286107"/>
                  <a:gd name="connsiteY27" fmla="*/ 504538 h 1247273"/>
                  <a:gd name="connsiteX28" fmla="*/ 1176205 w 1286107"/>
                  <a:gd name="connsiteY28" fmla="*/ 536742 h 1247273"/>
                  <a:gd name="connsiteX29" fmla="*/ 1181828 w 1286107"/>
                  <a:gd name="connsiteY29" fmla="*/ 585815 h 1247273"/>
                  <a:gd name="connsiteX30" fmla="*/ 1153714 w 1286107"/>
                  <a:gd name="connsiteY30" fmla="*/ 658401 h 1247273"/>
                  <a:gd name="connsiteX31" fmla="*/ 1176716 w 1286107"/>
                  <a:gd name="connsiteY31" fmla="*/ 713608 h 1247273"/>
                  <a:gd name="connsiteX32" fmla="*/ 1219144 w 1286107"/>
                  <a:gd name="connsiteY32" fmla="*/ 734566 h 1247273"/>
                  <a:gd name="connsiteX33" fmla="*/ 1247258 w 1286107"/>
                  <a:gd name="connsiteY33" fmla="*/ 823511 h 1247273"/>
                  <a:gd name="connsiteX34" fmla="*/ 1240613 w 1286107"/>
                  <a:gd name="connsiteY34" fmla="*/ 920122 h 1247273"/>
                  <a:gd name="connsiteX35" fmla="*/ 1216588 w 1286107"/>
                  <a:gd name="connsiteY35" fmla="*/ 945170 h 1247273"/>
                  <a:gd name="connsiteX36" fmla="*/ 1212498 w 1286107"/>
                  <a:gd name="connsiteY36" fmla="*/ 970729 h 1247273"/>
                  <a:gd name="connsiteX37" fmla="*/ 1286107 w 1286107"/>
                  <a:gd name="connsiteY37" fmla="*/ 1075008 h 1247273"/>
                  <a:gd name="connsiteX38" fmla="*/ 1278951 w 1286107"/>
                  <a:gd name="connsiteY38" fmla="*/ 1082165 h 1247273"/>
                  <a:gd name="connsiteX39" fmla="*/ 1168538 w 1286107"/>
                  <a:gd name="connsiteY39" fmla="*/ 1106190 h 1247273"/>
                  <a:gd name="connsiteX40" fmla="*/ 1130200 w 1286107"/>
                  <a:gd name="connsiteY40" fmla="*/ 1148617 h 1247273"/>
                  <a:gd name="connsiteX41" fmla="*/ 1060169 w 1286107"/>
                  <a:gd name="connsiteY41" fmla="*/ 1132260 h 1247273"/>
                  <a:gd name="connsiteX42" fmla="*/ 1031544 w 1286107"/>
                  <a:gd name="connsiteY42" fmla="*/ 1182355 h 1247273"/>
                  <a:gd name="connsiteX43" fmla="*/ 1022854 w 1286107"/>
                  <a:gd name="connsiteY43" fmla="*/ 1226316 h 1247273"/>
                  <a:gd name="connsiteX44" fmla="*/ 880748 w 1286107"/>
                  <a:gd name="connsiteY44" fmla="*/ 1240628 h 1247273"/>
                  <a:gd name="connsiteX45" fmla="*/ 787204 w 1286107"/>
                  <a:gd name="connsiteY45" fmla="*/ 1209958 h 1247273"/>
                  <a:gd name="connsiteX46" fmla="*/ 772891 w 1286107"/>
                  <a:gd name="connsiteY46" fmla="*/ 1218648 h 1247273"/>
                  <a:gd name="connsiteX47" fmla="*/ 757556 w 1286107"/>
                  <a:gd name="connsiteY47" fmla="*/ 1247274 h 1247273"/>
                  <a:gd name="connsiteX48" fmla="*/ 737620 w 1286107"/>
                  <a:gd name="connsiteY48" fmla="*/ 1241651 h 1247273"/>
                  <a:gd name="connsiteX49" fmla="*/ 726374 w 1286107"/>
                  <a:gd name="connsiteY49" fmla="*/ 1196668 h 1247273"/>
                  <a:gd name="connsiteX50" fmla="*/ 735064 w 1286107"/>
                  <a:gd name="connsiteY50" fmla="*/ 1184399 h 1247273"/>
                  <a:gd name="connsiteX51" fmla="*/ 729441 w 1286107"/>
                  <a:gd name="connsiteY51" fmla="*/ 1150151 h 1247273"/>
                  <a:gd name="connsiteX52" fmla="*/ 672701 w 1286107"/>
                  <a:gd name="connsiteY52" fmla="*/ 1098522 h 1247273"/>
                  <a:gd name="connsiteX53" fmla="*/ 713595 w 1286107"/>
                  <a:gd name="connsiteY53" fmla="*/ 1056606 h 1247273"/>
                  <a:gd name="connsiteX54" fmla="*/ 681391 w 1286107"/>
                  <a:gd name="connsiteY54" fmla="*/ 984019 h 1247273"/>
                  <a:gd name="connsiteX55" fmla="*/ 523951 w 1286107"/>
                  <a:gd name="connsiteY55" fmla="*/ 900187 h 1247273"/>
                  <a:gd name="connsiteX56" fmla="*/ 493280 w 1286107"/>
                  <a:gd name="connsiteY56" fmla="*/ 920122 h 1247273"/>
                  <a:gd name="connsiteX57" fmla="*/ 435007 w 1286107"/>
                  <a:gd name="connsiteY57" fmla="*/ 903765 h 1247273"/>
                  <a:gd name="connsiteX58" fmla="*/ 364976 w 1286107"/>
                  <a:gd name="connsiteY58" fmla="*/ 819421 h 1247273"/>
                  <a:gd name="connsiteX59" fmla="*/ 385423 w 1286107"/>
                  <a:gd name="connsiteY59" fmla="*/ 648178 h 1247273"/>
                  <a:gd name="connsiteX60" fmla="*/ 321527 w 1286107"/>
                  <a:gd name="connsiteY60" fmla="*/ 631820 h 1247273"/>
                  <a:gd name="connsiteX61" fmla="*/ 323060 w 1286107"/>
                  <a:gd name="connsiteY61" fmla="*/ 576613 h 1247273"/>
                  <a:gd name="connsiteX62" fmla="*/ 341973 w 1286107"/>
                  <a:gd name="connsiteY62" fmla="*/ 561278 h 1247273"/>
                  <a:gd name="connsiteX63" fmla="*/ 330728 w 1286107"/>
                  <a:gd name="connsiteY63" fmla="*/ 483069 h 1247273"/>
                  <a:gd name="connsiteX64" fmla="*/ 345552 w 1286107"/>
                  <a:gd name="connsiteY64" fmla="*/ 448309 h 1247273"/>
                  <a:gd name="connsiteX65" fmla="*/ 319993 w 1286107"/>
                  <a:gd name="connsiteY65" fmla="*/ 418661 h 1247273"/>
                  <a:gd name="connsiteX66" fmla="*/ 244340 w 1286107"/>
                  <a:gd name="connsiteY66" fmla="*/ 440641 h 1247273"/>
                  <a:gd name="connsiteX67" fmla="*/ 110413 w 1286107"/>
                  <a:gd name="connsiteY67" fmla="*/ 361920 h 1247273"/>
                  <a:gd name="connsiteX68" fmla="*/ 0 w 1286107"/>
                  <a:gd name="connsiteY68" fmla="*/ 339429 h 1247273"/>
                  <a:gd name="connsiteX69" fmla="*/ 48561 w 1286107"/>
                  <a:gd name="connsiteY69" fmla="*/ 299046 h 1247273"/>
                  <a:gd name="connsiteX70" fmla="*/ 77187 w 1286107"/>
                  <a:gd name="connsiteY70" fmla="*/ 315404 h 1247273"/>
                  <a:gd name="connsiteX71" fmla="*/ 93544 w 1286107"/>
                  <a:gd name="connsiteY71" fmla="*/ 296490 h 1247273"/>
                  <a:gd name="connsiteX72" fmla="*/ 81276 w 1286107"/>
                  <a:gd name="connsiteY72" fmla="*/ 249973 h 1247273"/>
                  <a:gd name="connsiteX73" fmla="*/ 110924 w 1286107"/>
                  <a:gd name="connsiteY73" fmla="*/ 229015 h 1247273"/>
                  <a:gd name="connsiteX74" fmla="*/ 147217 w 1286107"/>
                  <a:gd name="connsiteY74" fmla="*/ 243328 h 1247273"/>
                  <a:gd name="connsiteX75" fmla="*/ 229005 w 1286107"/>
                  <a:gd name="connsiteY75" fmla="*/ 203456 h 1247273"/>
                  <a:gd name="connsiteX76" fmla="*/ 252007 w 1286107"/>
                  <a:gd name="connsiteY76" fmla="*/ 148250 h 1247273"/>
                  <a:gd name="connsiteX77" fmla="*/ 350152 w 1286107"/>
                  <a:gd name="connsiteY77" fmla="*/ 171253 h 1247273"/>
                  <a:gd name="connsiteX78" fmla="*/ 385423 w 1286107"/>
                  <a:gd name="connsiteY78" fmla="*/ 207546 h 1247273"/>
                  <a:gd name="connsiteX79" fmla="*/ 451364 w 1286107"/>
                  <a:gd name="connsiteY79" fmla="*/ 198856 h 1247273"/>
                  <a:gd name="connsiteX80" fmla="*/ 487657 w 1286107"/>
                  <a:gd name="connsiteY80" fmla="*/ 215213 h 1247273"/>
                  <a:gd name="connsiteX81" fmla="*/ 494302 w 1286107"/>
                  <a:gd name="connsiteY81" fmla="*/ 231571 h 1247273"/>
                  <a:gd name="connsiteX82" fmla="*/ 570467 w 1286107"/>
                  <a:gd name="connsiteY82" fmla="*/ 240261 h 1247273"/>
                  <a:gd name="connsiteX83" fmla="*/ 593470 w 1286107"/>
                  <a:gd name="connsiteY83" fmla="*/ 202945 h 1247273"/>
                  <a:gd name="connsiteX84" fmla="*/ 670657 w 1286107"/>
                  <a:gd name="connsiteY84" fmla="*/ 163074 h 1247273"/>
                  <a:gd name="connsiteX85" fmla="*/ 701327 w 1286107"/>
                  <a:gd name="connsiteY85" fmla="*/ 181987 h 1247273"/>
                  <a:gd name="connsiteX86" fmla="*/ 745288 w 1286107"/>
                  <a:gd name="connsiteY86" fmla="*/ 132403 h 1247273"/>
                  <a:gd name="connsiteX87" fmla="*/ 751933 w 1286107"/>
                  <a:gd name="connsiteY87" fmla="*/ 82819 h 1247273"/>
                  <a:gd name="connsiteX88" fmla="*/ 832698 w 1286107"/>
                  <a:gd name="connsiteY88" fmla="*/ 9 h 1247273"/>
                  <a:gd name="connsiteX89" fmla="*/ 886882 w 1286107"/>
                  <a:gd name="connsiteY89" fmla="*/ 60839 h 1247273"/>
                  <a:gd name="connsiteX90" fmla="*/ 942089 w 1286107"/>
                  <a:gd name="connsiteY90" fmla="*/ 38858 h 1247273"/>
                  <a:gd name="connsiteX91" fmla="*/ 978382 w 1286107"/>
                  <a:gd name="connsiteY91" fmla="*/ 44481 h 1247273"/>
                  <a:gd name="connsiteX92" fmla="*/ 985027 w 1286107"/>
                  <a:gd name="connsiteY92" fmla="*/ 93043 h 1247273"/>
                  <a:gd name="connsiteX93" fmla="*/ 951801 w 1286107"/>
                  <a:gd name="connsiteY93" fmla="*/ 118602 h 1247273"/>
                  <a:gd name="connsiteX94" fmla="*/ 956402 w 1286107"/>
                  <a:gd name="connsiteY94" fmla="*/ 146205 h 1247273"/>
                  <a:gd name="connsiteX95" fmla="*/ 1010586 w 1286107"/>
                  <a:gd name="connsiteY95" fmla="*/ 138537 h 1247273"/>
                  <a:gd name="connsiteX96" fmla="*/ 1024899 w 1286107"/>
                  <a:gd name="connsiteY96" fmla="*/ 112468 h 1247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1286107" h="1247273">
                    <a:moveTo>
                      <a:pt x="832187" y="606773"/>
                    </a:moveTo>
                    <a:lnTo>
                      <a:pt x="836787" y="583770"/>
                    </a:lnTo>
                    <a:lnTo>
                      <a:pt x="796916" y="523963"/>
                    </a:lnTo>
                    <a:lnTo>
                      <a:pt x="782603" y="506072"/>
                    </a:lnTo>
                    <a:lnTo>
                      <a:pt x="763690" y="509139"/>
                    </a:lnTo>
                    <a:lnTo>
                      <a:pt x="741710" y="537764"/>
                    </a:lnTo>
                    <a:lnTo>
                      <a:pt x="704394" y="518851"/>
                    </a:lnTo>
                    <a:lnTo>
                      <a:pt x="654810" y="563834"/>
                    </a:lnTo>
                    <a:lnTo>
                      <a:pt x="659411" y="644600"/>
                    </a:lnTo>
                    <a:lnTo>
                      <a:pt x="643054" y="675270"/>
                    </a:lnTo>
                    <a:lnTo>
                      <a:pt x="654299" y="684982"/>
                    </a:lnTo>
                    <a:lnTo>
                      <a:pt x="723819" y="657379"/>
                    </a:lnTo>
                    <a:lnTo>
                      <a:pt x="815318" y="660446"/>
                    </a:lnTo>
                    <a:lnTo>
                      <a:pt x="842921" y="692650"/>
                    </a:lnTo>
                    <a:lnTo>
                      <a:pt x="870525" y="648689"/>
                    </a:lnTo>
                    <a:lnTo>
                      <a:pt x="868480" y="620063"/>
                    </a:lnTo>
                    <a:lnTo>
                      <a:pt x="832187" y="606773"/>
                    </a:lnTo>
                    <a:close/>
                    <a:moveTo>
                      <a:pt x="1024899" y="112468"/>
                    </a:moveTo>
                    <a:lnTo>
                      <a:pt x="1077038" y="93554"/>
                    </a:lnTo>
                    <a:lnTo>
                      <a:pt x="1085217" y="120135"/>
                    </a:lnTo>
                    <a:lnTo>
                      <a:pt x="1054035" y="189655"/>
                    </a:lnTo>
                    <a:lnTo>
                      <a:pt x="1066303" y="230038"/>
                    </a:lnTo>
                    <a:lnTo>
                      <a:pt x="1022854" y="313359"/>
                    </a:lnTo>
                    <a:lnTo>
                      <a:pt x="979915" y="340962"/>
                    </a:lnTo>
                    <a:lnTo>
                      <a:pt x="987072" y="400770"/>
                    </a:lnTo>
                    <a:lnTo>
                      <a:pt x="1058636" y="436552"/>
                    </a:lnTo>
                    <a:lnTo>
                      <a:pt x="1116910" y="497381"/>
                    </a:lnTo>
                    <a:lnTo>
                      <a:pt x="1142979" y="504538"/>
                    </a:lnTo>
                    <a:lnTo>
                      <a:pt x="1176205" y="536742"/>
                    </a:lnTo>
                    <a:lnTo>
                      <a:pt x="1181828" y="585815"/>
                    </a:lnTo>
                    <a:lnTo>
                      <a:pt x="1153714" y="658401"/>
                    </a:lnTo>
                    <a:lnTo>
                      <a:pt x="1176716" y="713608"/>
                    </a:lnTo>
                    <a:lnTo>
                      <a:pt x="1219144" y="734566"/>
                    </a:lnTo>
                    <a:lnTo>
                      <a:pt x="1247258" y="823511"/>
                    </a:lnTo>
                    <a:lnTo>
                      <a:pt x="1240613" y="920122"/>
                    </a:lnTo>
                    <a:lnTo>
                      <a:pt x="1216588" y="945170"/>
                    </a:lnTo>
                    <a:lnTo>
                      <a:pt x="1212498" y="970729"/>
                    </a:lnTo>
                    <a:lnTo>
                      <a:pt x="1286107" y="1075008"/>
                    </a:lnTo>
                    <a:lnTo>
                      <a:pt x="1278951" y="1082165"/>
                    </a:lnTo>
                    <a:lnTo>
                      <a:pt x="1168538" y="1106190"/>
                    </a:lnTo>
                    <a:lnTo>
                      <a:pt x="1130200" y="1148617"/>
                    </a:lnTo>
                    <a:lnTo>
                      <a:pt x="1060169" y="1132260"/>
                    </a:lnTo>
                    <a:lnTo>
                      <a:pt x="1031544" y="1182355"/>
                    </a:lnTo>
                    <a:lnTo>
                      <a:pt x="1022854" y="1226316"/>
                    </a:lnTo>
                    <a:lnTo>
                      <a:pt x="880748" y="1240628"/>
                    </a:lnTo>
                    <a:lnTo>
                      <a:pt x="787204" y="1209958"/>
                    </a:lnTo>
                    <a:lnTo>
                      <a:pt x="772891" y="1218648"/>
                    </a:lnTo>
                    <a:lnTo>
                      <a:pt x="757556" y="1247274"/>
                    </a:lnTo>
                    <a:lnTo>
                      <a:pt x="737620" y="1241651"/>
                    </a:lnTo>
                    <a:lnTo>
                      <a:pt x="726374" y="1196668"/>
                    </a:lnTo>
                    <a:lnTo>
                      <a:pt x="735064" y="1184399"/>
                    </a:lnTo>
                    <a:lnTo>
                      <a:pt x="729441" y="1150151"/>
                    </a:lnTo>
                    <a:lnTo>
                      <a:pt x="672701" y="1098522"/>
                    </a:lnTo>
                    <a:lnTo>
                      <a:pt x="713595" y="1056606"/>
                    </a:lnTo>
                    <a:lnTo>
                      <a:pt x="681391" y="984019"/>
                    </a:lnTo>
                    <a:lnTo>
                      <a:pt x="523951" y="900187"/>
                    </a:lnTo>
                    <a:lnTo>
                      <a:pt x="493280" y="920122"/>
                    </a:lnTo>
                    <a:lnTo>
                      <a:pt x="435007" y="903765"/>
                    </a:lnTo>
                    <a:lnTo>
                      <a:pt x="364976" y="819421"/>
                    </a:lnTo>
                    <a:lnTo>
                      <a:pt x="385423" y="648178"/>
                    </a:lnTo>
                    <a:lnTo>
                      <a:pt x="321527" y="631820"/>
                    </a:lnTo>
                    <a:lnTo>
                      <a:pt x="323060" y="576613"/>
                    </a:lnTo>
                    <a:lnTo>
                      <a:pt x="341973" y="561278"/>
                    </a:lnTo>
                    <a:lnTo>
                      <a:pt x="330728" y="483069"/>
                    </a:lnTo>
                    <a:lnTo>
                      <a:pt x="345552" y="448309"/>
                    </a:lnTo>
                    <a:lnTo>
                      <a:pt x="319993" y="418661"/>
                    </a:lnTo>
                    <a:lnTo>
                      <a:pt x="244340" y="440641"/>
                    </a:lnTo>
                    <a:lnTo>
                      <a:pt x="110413" y="361920"/>
                    </a:lnTo>
                    <a:lnTo>
                      <a:pt x="0" y="339429"/>
                    </a:lnTo>
                    <a:lnTo>
                      <a:pt x="48561" y="299046"/>
                    </a:lnTo>
                    <a:lnTo>
                      <a:pt x="77187" y="315404"/>
                    </a:lnTo>
                    <a:lnTo>
                      <a:pt x="93544" y="296490"/>
                    </a:lnTo>
                    <a:lnTo>
                      <a:pt x="81276" y="249973"/>
                    </a:lnTo>
                    <a:lnTo>
                      <a:pt x="110924" y="229015"/>
                    </a:lnTo>
                    <a:lnTo>
                      <a:pt x="147217" y="243328"/>
                    </a:lnTo>
                    <a:lnTo>
                      <a:pt x="229005" y="203456"/>
                    </a:lnTo>
                    <a:lnTo>
                      <a:pt x="252007" y="148250"/>
                    </a:lnTo>
                    <a:lnTo>
                      <a:pt x="350152" y="171253"/>
                    </a:lnTo>
                    <a:lnTo>
                      <a:pt x="385423" y="207546"/>
                    </a:lnTo>
                    <a:lnTo>
                      <a:pt x="451364" y="198856"/>
                    </a:lnTo>
                    <a:lnTo>
                      <a:pt x="487657" y="215213"/>
                    </a:lnTo>
                    <a:lnTo>
                      <a:pt x="494302" y="231571"/>
                    </a:lnTo>
                    <a:lnTo>
                      <a:pt x="570467" y="240261"/>
                    </a:lnTo>
                    <a:lnTo>
                      <a:pt x="593470" y="202945"/>
                    </a:lnTo>
                    <a:lnTo>
                      <a:pt x="670657" y="163074"/>
                    </a:lnTo>
                    <a:lnTo>
                      <a:pt x="701327" y="181987"/>
                    </a:lnTo>
                    <a:lnTo>
                      <a:pt x="745288" y="132403"/>
                    </a:lnTo>
                    <a:lnTo>
                      <a:pt x="751933" y="82819"/>
                    </a:lnTo>
                    <a:cubicBezTo>
                      <a:pt x="751933" y="82819"/>
                      <a:pt x="829120" y="-1013"/>
                      <a:pt x="832698" y="9"/>
                    </a:cubicBezTo>
                    <a:cubicBezTo>
                      <a:pt x="835765" y="1032"/>
                      <a:pt x="886882" y="60839"/>
                      <a:pt x="886882" y="60839"/>
                    </a:cubicBezTo>
                    <a:lnTo>
                      <a:pt x="942089" y="38858"/>
                    </a:lnTo>
                    <a:lnTo>
                      <a:pt x="978382" y="44481"/>
                    </a:lnTo>
                    <a:lnTo>
                      <a:pt x="985027" y="93043"/>
                    </a:lnTo>
                    <a:lnTo>
                      <a:pt x="951801" y="118602"/>
                    </a:lnTo>
                    <a:lnTo>
                      <a:pt x="956402" y="146205"/>
                    </a:lnTo>
                    <a:lnTo>
                      <a:pt x="1010586" y="138537"/>
                    </a:lnTo>
                    <a:lnTo>
                      <a:pt x="1024899" y="112468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7" name="Freihandform: Form 66">
                <a:extLst>
                  <a:ext uri="{FF2B5EF4-FFF2-40B4-BE49-F238E27FC236}">
                    <a16:creationId xmlns:a16="http://schemas.microsoft.com/office/drawing/2014/main" id="{6C235FDF-FDD9-4F13-939F-67306D7ACCC9}"/>
                  </a:ext>
                </a:extLst>
              </p:cNvPr>
              <p:cNvSpPr/>
              <p:nvPr/>
            </p:nvSpPr>
            <p:spPr>
              <a:xfrm>
                <a:off x="8395863" y="1719747"/>
                <a:ext cx="226960" cy="187600"/>
              </a:xfrm>
              <a:custGeom>
                <a:avLst/>
                <a:gdLst>
                  <a:gd name="connsiteX0" fmla="*/ 189645 w 226960"/>
                  <a:gd name="connsiteY0" fmla="*/ 100701 h 187600"/>
                  <a:gd name="connsiteX1" fmla="*/ 193734 w 226960"/>
                  <a:gd name="connsiteY1" fmla="*/ 77187 h 187600"/>
                  <a:gd name="connsiteX2" fmla="*/ 154374 w 226960"/>
                  <a:gd name="connsiteY2" fmla="*/ 17891 h 187600"/>
                  <a:gd name="connsiteX3" fmla="*/ 140061 w 226960"/>
                  <a:gd name="connsiteY3" fmla="*/ 0 h 187600"/>
                  <a:gd name="connsiteX4" fmla="*/ 121148 w 226960"/>
                  <a:gd name="connsiteY4" fmla="*/ 3578 h 187600"/>
                  <a:gd name="connsiteX5" fmla="*/ 99167 w 226960"/>
                  <a:gd name="connsiteY5" fmla="*/ 32204 h 187600"/>
                  <a:gd name="connsiteX6" fmla="*/ 61341 w 226960"/>
                  <a:gd name="connsiteY6" fmla="*/ 13290 h 187600"/>
                  <a:gd name="connsiteX7" fmla="*/ 11757 w 226960"/>
                  <a:gd name="connsiteY7" fmla="*/ 58785 h 187600"/>
                  <a:gd name="connsiteX8" fmla="*/ 16358 w 226960"/>
                  <a:gd name="connsiteY8" fmla="*/ 139039 h 187600"/>
                  <a:gd name="connsiteX9" fmla="*/ 0 w 226960"/>
                  <a:gd name="connsiteY9" fmla="*/ 170221 h 187600"/>
                  <a:gd name="connsiteX10" fmla="*/ 10735 w 226960"/>
                  <a:gd name="connsiteY10" fmla="*/ 179933 h 187600"/>
                  <a:gd name="connsiteX11" fmla="*/ 80254 w 226960"/>
                  <a:gd name="connsiteY11" fmla="*/ 152330 h 187600"/>
                  <a:gd name="connsiteX12" fmla="*/ 171754 w 226960"/>
                  <a:gd name="connsiteY12" fmla="*/ 155397 h 187600"/>
                  <a:gd name="connsiteX13" fmla="*/ 199357 w 226960"/>
                  <a:gd name="connsiteY13" fmla="*/ 187601 h 187600"/>
                  <a:gd name="connsiteX14" fmla="*/ 226960 w 226960"/>
                  <a:gd name="connsiteY14" fmla="*/ 143640 h 187600"/>
                  <a:gd name="connsiteX15" fmla="*/ 224915 w 226960"/>
                  <a:gd name="connsiteY15" fmla="*/ 115014 h 187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26960" h="187600">
                    <a:moveTo>
                      <a:pt x="189645" y="100701"/>
                    </a:moveTo>
                    <a:lnTo>
                      <a:pt x="193734" y="77187"/>
                    </a:lnTo>
                    <a:lnTo>
                      <a:pt x="154374" y="17891"/>
                    </a:lnTo>
                    <a:lnTo>
                      <a:pt x="140061" y="0"/>
                    </a:lnTo>
                    <a:lnTo>
                      <a:pt x="121148" y="3578"/>
                    </a:lnTo>
                    <a:lnTo>
                      <a:pt x="99167" y="32204"/>
                    </a:lnTo>
                    <a:lnTo>
                      <a:pt x="61341" y="13290"/>
                    </a:lnTo>
                    <a:lnTo>
                      <a:pt x="11757" y="58785"/>
                    </a:lnTo>
                    <a:lnTo>
                      <a:pt x="16358" y="139039"/>
                    </a:lnTo>
                    <a:lnTo>
                      <a:pt x="0" y="170221"/>
                    </a:lnTo>
                    <a:lnTo>
                      <a:pt x="10735" y="179933"/>
                    </a:lnTo>
                    <a:lnTo>
                      <a:pt x="80254" y="152330"/>
                    </a:lnTo>
                    <a:lnTo>
                      <a:pt x="171754" y="155397"/>
                    </a:lnTo>
                    <a:lnTo>
                      <a:pt x="199357" y="187601"/>
                    </a:lnTo>
                    <a:lnTo>
                      <a:pt x="226960" y="143640"/>
                    </a:lnTo>
                    <a:lnTo>
                      <a:pt x="224915" y="115014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8" name="Freihandform: Form 67">
                <a:extLst>
                  <a:ext uri="{FF2B5EF4-FFF2-40B4-BE49-F238E27FC236}">
                    <a16:creationId xmlns:a16="http://schemas.microsoft.com/office/drawing/2014/main" id="{1837ABAF-7AAC-4DE7-955E-A6FD3E02226D}"/>
                  </a:ext>
                </a:extLst>
              </p:cNvPr>
              <p:cNvSpPr/>
              <p:nvPr/>
            </p:nvSpPr>
            <p:spPr>
              <a:xfrm>
                <a:off x="7016723" y="3000749"/>
                <a:ext cx="1837661" cy="1871919"/>
              </a:xfrm>
              <a:custGeom>
                <a:avLst/>
                <a:gdLst>
                  <a:gd name="connsiteX0" fmla="*/ 504526 w 1837661"/>
                  <a:gd name="connsiteY0" fmla="*/ 884331 h 1871919"/>
                  <a:gd name="connsiteX1" fmla="*/ 436029 w 1837661"/>
                  <a:gd name="connsiteY1" fmla="*/ 633856 h 1871919"/>
                  <a:gd name="connsiteX2" fmla="*/ 413538 w 1837661"/>
                  <a:gd name="connsiteY2" fmla="*/ 598585 h 1871919"/>
                  <a:gd name="connsiteX3" fmla="*/ 381845 w 1837661"/>
                  <a:gd name="connsiteY3" fmla="*/ 627722 h 1871919"/>
                  <a:gd name="connsiteX4" fmla="*/ 353731 w 1837661"/>
                  <a:gd name="connsiteY4" fmla="*/ 619543 h 1871919"/>
                  <a:gd name="connsiteX5" fmla="*/ 352197 w 1837661"/>
                  <a:gd name="connsiteY5" fmla="*/ 581716 h 1871919"/>
                  <a:gd name="connsiteX6" fmla="*/ 246385 w 1837661"/>
                  <a:gd name="connsiteY6" fmla="*/ 456989 h 1871919"/>
                  <a:gd name="connsiteX7" fmla="*/ 136994 w 1837661"/>
                  <a:gd name="connsiteY7" fmla="*/ 478459 h 1871919"/>
                  <a:gd name="connsiteX8" fmla="*/ 166642 w 1837661"/>
                  <a:gd name="connsiteY8" fmla="*/ 531621 h 1871919"/>
                  <a:gd name="connsiteX9" fmla="*/ 85877 w 1837661"/>
                  <a:gd name="connsiteY9" fmla="*/ 589895 h 1871919"/>
                  <a:gd name="connsiteX10" fmla="*/ 55718 w 1837661"/>
                  <a:gd name="connsiteY10" fmla="*/ 589384 h 1871919"/>
                  <a:gd name="connsiteX11" fmla="*/ 61852 w 1837661"/>
                  <a:gd name="connsiteY11" fmla="*/ 505040 h 1871919"/>
                  <a:gd name="connsiteX12" fmla="*/ 0 w 1837661"/>
                  <a:gd name="connsiteY12" fmla="*/ 293414 h 1871919"/>
                  <a:gd name="connsiteX13" fmla="*/ 143639 w 1837661"/>
                  <a:gd name="connsiteY13" fmla="*/ 265810 h 1871919"/>
                  <a:gd name="connsiteX14" fmla="*/ 157441 w 1837661"/>
                  <a:gd name="connsiteY14" fmla="*/ 285746 h 1871919"/>
                  <a:gd name="connsiteX15" fmla="*/ 196290 w 1837661"/>
                  <a:gd name="connsiteY15" fmla="*/ 278590 h 1871919"/>
                  <a:gd name="connsiteX16" fmla="*/ 192200 w 1837661"/>
                  <a:gd name="connsiteY16" fmla="*/ 209581 h 1871919"/>
                  <a:gd name="connsiteX17" fmla="*/ 244340 w 1837661"/>
                  <a:gd name="connsiteY17" fmla="*/ 208048 h 1871919"/>
                  <a:gd name="connsiteX18" fmla="*/ 242806 w 1837661"/>
                  <a:gd name="connsiteY18" fmla="*/ 119103 h 1871919"/>
                  <a:gd name="connsiteX19" fmla="*/ 280122 w 1837661"/>
                  <a:gd name="connsiteY19" fmla="*/ 93034 h 1871919"/>
                  <a:gd name="connsiteX20" fmla="*/ 323572 w 1837661"/>
                  <a:gd name="connsiteY20" fmla="*/ 108880 h 1871919"/>
                  <a:gd name="connsiteX21" fmla="*/ 406892 w 1837661"/>
                  <a:gd name="connsiteY21" fmla="*/ 10223 h 1871919"/>
                  <a:gd name="connsiteX22" fmla="*/ 569445 w 1837661"/>
                  <a:gd name="connsiteY22" fmla="*/ 116037 h 1871919"/>
                  <a:gd name="connsiteX23" fmla="*/ 592959 w 1837661"/>
                  <a:gd name="connsiteY23" fmla="*/ 174822 h 1871919"/>
                  <a:gd name="connsiteX24" fmla="*/ 633853 w 1837661"/>
                  <a:gd name="connsiteY24" fmla="*/ 199869 h 1871919"/>
                  <a:gd name="connsiteX25" fmla="*/ 678325 w 1837661"/>
                  <a:gd name="connsiteY25" fmla="*/ 161531 h 1871919"/>
                  <a:gd name="connsiteX26" fmla="*/ 632319 w 1837661"/>
                  <a:gd name="connsiteY26" fmla="*/ 132394 h 1871919"/>
                  <a:gd name="connsiteX27" fmla="*/ 630786 w 1837661"/>
                  <a:gd name="connsiteY27" fmla="*/ 116037 h 1871919"/>
                  <a:gd name="connsiteX28" fmla="*/ 763179 w 1837661"/>
                  <a:gd name="connsiteY28" fmla="*/ 98145 h 1871919"/>
                  <a:gd name="connsiteX29" fmla="*/ 791293 w 1837661"/>
                  <a:gd name="connsiteY29" fmla="*/ 154375 h 1871919"/>
                  <a:gd name="connsiteX30" fmla="*/ 829631 w 1837661"/>
                  <a:gd name="connsiteY30" fmla="*/ 146707 h 1871919"/>
                  <a:gd name="connsiteX31" fmla="*/ 831165 w 1837661"/>
                  <a:gd name="connsiteY31" fmla="*/ 102746 h 1871919"/>
                  <a:gd name="connsiteX32" fmla="*/ 810207 w 1837661"/>
                  <a:gd name="connsiteY32" fmla="*/ 54184 h 1871919"/>
                  <a:gd name="connsiteX33" fmla="*/ 861835 w 1837661"/>
                  <a:gd name="connsiteY33" fmla="*/ 0 h 1871919"/>
                  <a:gd name="connsiteX34" fmla="*/ 908863 w 1837661"/>
                  <a:gd name="connsiteY34" fmla="*/ 87922 h 1871919"/>
                  <a:gd name="connsiteX35" fmla="*/ 1054547 w 1837661"/>
                  <a:gd name="connsiteY35" fmla="*/ 43961 h 1871919"/>
                  <a:gd name="connsiteX36" fmla="*/ 1141446 w 1837661"/>
                  <a:gd name="connsiteY36" fmla="*/ 99679 h 1871919"/>
                  <a:gd name="connsiteX37" fmla="*/ 1174161 w 1837661"/>
                  <a:gd name="connsiteY37" fmla="*/ 227983 h 1871919"/>
                  <a:gd name="connsiteX38" fmla="*/ 1301443 w 1837661"/>
                  <a:gd name="connsiteY38" fmla="*/ 329707 h 1871919"/>
                  <a:gd name="connsiteX39" fmla="*/ 1283040 w 1837661"/>
                  <a:gd name="connsiteY39" fmla="*/ 409962 h 1871919"/>
                  <a:gd name="connsiteX40" fmla="*/ 1258504 w 1837661"/>
                  <a:gd name="connsiteY40" fmla="*/ 417629 h 1871919"/>
                  <a:gd name="connsiteX41" fmla="*/ 1419523 w 1837661"/>
                  <a:gd name="connsiteY41" fmla="*/ 646124 h 1871919"/>
                  <a:gd name="connsiteX42" fmla="*/ 1462462 w 1837661"/>
                  <a:gd name="connsiteY42" fmla="*/ 640501 h 1871919"/>
                  <a:gd name="connsiteX43" fmla="*/ 1654662 w 1837661"/>
                  <a:gd name="connsiteY43" fmla="*/ 792831 h 1871919"/>
                  <a:gd name="connsiteX44" fmla="*/ 1657729 w 1837661"/>
                  <a:gd name="connsiteY44" fmla="*/ 833725 h 1871919"/>
                  <a:gd name="connsiteX45" fmla="*/ 1697600 w 1837661"/>
                  <a:gd name="connsiteY45" fmla="*/ 855705 h 1871919"/>
                  <a:gd name="connsiteX46" fmla="*/ 1724181 w 1837661"/>
                  <a:gd name="connsiteY46" fmla="*/ 841392 h 1871919"/>
                  <a:gd name="connsiteX47" fmla="*/ 1837661 w 1837661"/>
                  <a:gd name="connsiteY47" fmla="*/ 946183 h 1871919"/>
                  <a:gd name="connsiteX48" fmla="*/ 1831016 w 1837661"/>
                  <a:gd name="connsiteY48" fmla="*/ 1050463 h 1871919"/>
                  <a:gd name="connsiteX49" fmla="*/ 1789100 w 1837661"/>
                  <a:gd name="connsiteY49" fmla="*/ 1096979 h 1871919"/>
                  <a:gd name="connsiteX50" fmla="*/ 1716002 w 1837661"/>
                  <a:gd name="connsiteY50" fmla="*/ 1067331 h 1871919"/>
                  <a:gd name="connsiteX51" fmla="*/ 1694533 w 1837661"/>
                  <a:gd name="connsiteY51" fmla="*/ 1191035 h 1871919"/>
                  <a:gd name="connsiteX52" fmla="*/ 1482908 w 1837661"/>
                  <a:gd name="connsiteY52" fmla="*/ 1337742 h 1871919"/>
                  <a:gd name="connsiteX53" fmla="*/ 1477797 w 1837661"/>
                  <a:gd name="connsiteY53" fmla="*/ 1364835 h 1871919"/>
                  <a:gd name="connsiteX54" fmla="*/ 1572874 w 1837661"/>
                  <a:gd name="connsiteY54" fmla="*/ 1477293 h 1871919"/>
                  <a:gd name="connsiteX55" fmla="*/ 1534537 w 1837661"/>
                  <a:gd name="connsiteY55" fmla="*/ 1567259 h 1871919"/>
                  <a:gd name="connsiteX56" fmla="*/ 1583098 w 1837661"/>
                  <a:gd name="connsiteY56" fmla="*/ 1564192 h 1871919"/>
                  <a:gd name="connsiteX57" fmla="*/ 1608145 w 1837661"/>
                  <a:gd name="connsiteY57" fmla="*/ 1639335 h 1871919"/>
                  <a:gd name="connsiteX58" fmla="*/ 1575430 w 1837661"/>
                  <a:gd name="connsiteY58" fmla="*/ 1718056 h 1871919"/>
                  <a:gd name="connsiteX59" fmla="*/ 1490065 w 1837661"/>
                  <a:gd name="connsiteY59" fmla="*/ 1640357 h 1871919"/>
                  <a:gd name="connsiteX60" fmla="*/ 1499266 w 1837661"/>
                  <a:gd name="connsiteY60" fmla="*/ 1622977 h 1871919"/>
                  <a:gd name="connsiteX61" fmla="*/ 1462462 w 1837661"/>
                  <a:gd name="connsiteY61" fmla="*/ 1600486 h 1871919"/>
                  <a:gd name="connsiteX62" fmla="*/ 1406233 w 1837661"/>
                  <a:gd name="connsiteY62" fmla="*/ 1631156 h 1871919"/>
                  <a:gd name="connsiteX63" fmla="*/ 1376073 w 1837661"/>
                  <a:gd name="connsiteY63" fmla="*/ 1635757 h 1871919"/>
                  <a:gd name="connsiteX64" fmla="*/ 1355116 w 1837661"/>
                  <a:gd name="connsiteY64" fmla="*/ 1607642 h 1871919"/>
                  <a:gd name="connsiteX65" fmla="*/ 1254415 w 1837661"/>
                  <a:gd name="connsiteY65" fmla="*/ 1604064 h 1871919"/>
                  <a:gd name="connsiteX66" fmla="*/ 1267705 w 1837661"/>
                  <a:gd name="connsiteY66" fmla="*/ 1658248 h 1871919"/>
                  <a:gd name="connsiteX67" fmla="*/ 1228856 w 1837661"/>
                  <a:gd name="connsiteY67" fmla="*/ 1664894 h 1871919"/>
                  <a:gd name="connsiteX68" fmla="*/ 1053524 w 1837661"/>
                  <a:gd name="connsiteY68" fmla="*/ 1684829 h 1871919"/>
                  <a:gd name="connsiteX69" fmla="*/ 1027455 w 1837661"/>
                  <a:gd name="connsiteY69" fmla="*/ 1733391 h 1871919"/>
                  <a:gd name="connsiteX70" fmla="*/ 812763 w 1837661"/>
                  <a:gd name="connsiteY70" fmla="*/ 1801377 h 1871919"/>
                  <a:gd name="connsiteX71" fmla="*/ 754489 w 1837661"/>
                  <a:gd name="connsiteY71" fmla="*/ 1740547 h 1871919"/>
                  <a:gd name="connsiteX72" fmla="*/ 603694 w 1837661"/>
                  <a:gd name="connsiteY72" fmla="*/ 1710899 h 1871919"/>
                  <a:gd name="connsiteX73" fmla="*/ 617495 w 1837661"/>
                  <a:gd name="connsiteY73" fmla="*/ 1775307 h 1871919"/>
                  <a:gd name="connsiteX74" fmla="*/ 563311 w 1837661"/>
                  <a:gd name="connsiteY74" fmla="*/ 1871919 h 1871919"/>
                  <a:gd name="connsiteX75" fmla="*/ 507082 w 1837661"/>
                  <a:gd name="connsiteY75" fmla="*/ 1859140 h 1871919"/>
                  <a:gd name="connsiteX76" fmla="*/ 382868 w 1837661"/>
                  <a:gd name="connsiteY76" fmla="*/ 1742081 h 1871919"/>
                  <a:gd name="connsiteX77" fmla="*/ 281144 w 1837661"/>
                  <a:gd name="connsiteY77" fmla="*/ 1741570 h 1871919"/>
                  <a:gd name="connsiteX78" fmla="*/ 310281 w 1837661"/>
                  <a:gd name="connsiteY78" fmla="*/ 1707321 h 1871919"/>
                  <a:gd name="connsiteX79" fmla="*/ 486124 w 1837661"/>
                  <a:gd name="connsiteY79" fmla="*/ 1683296 h 1871919"/>
                  <a:gd name="connsiteX80" fmla="*/ 497370 w 1837661"/>
                  <a:gd name="connsiteY80" fmla="*/ 1667450 h 1871919"/>
                  <a:gd name="connsiteX81" fmla="*/ 452898 w 1837661"/>
                  <a:gd name="connsiteY81" fmla="*/ 1485471 h 1871919"/>
                  <a:gd name="connsiteX82" fmla="*/ 471300 w 1837661"/>
                  <a:gd name="connsiteY82" fmla="*/ 1427709 h 1871919"/>
                  <a:gd name="connsiteX83" fmla="*/ 419161 w 1837661"/>
                  <a:gd name="connsiteY83" fmla="*/ 1288158 h 1871919"/>
                  <a:gd name="connsiteX84" fmla="*/ 533152 w 1837661"/>
                  <a:gd name="connsiteY84" fmla="*/ 1158831 h 1871919"/>
                  <a:gd name="connsiteX85" fmla="*/ 511683 w 1837661"/>
                  <a:gd name="connsiteY85" fmla="*/ 1111803 h 1871919"/>
                  <a:gd name="connsiteX86" fmla="*/ 598582 w 1837661"/>
                  <a:gd name="connsiteY86" fmla="*/ 1085222 h 1871919"/>
                  <a:gd name="connsiteX87" fmla="*/ 566378 w 1837661"/>
                  <a:gd name="connsiteY87" fmla="*/ 936471 h 1871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837661" h="1871919">
                    <a:moveTo>
                      <a:pt x="504526" y="884331"/>
                    </a:moveTo>
                    <a:lnTo>
                      <a:pt x="436029" y="633856"/>
                    </a:lnTo>
                    <a:lnTo>
                      <a:pt x="413538" y="598585"/>
                    </a:lnTo>
                    <a:lnTo>
                      <a:pt x="381845" y="627722"/>
                    </a:lnTo>
                    <a:lnTo>
                      <a:pt x="353731" y="619543"/>
                    </a:lnTo>
                    <a:lnTo>
                      <a:pt x="352197" y="581716"/>
                    </a:lnTo>
                    <a:lnTo>
                      <a:pt x="246385" y="456989"/>
                    </a:lnTo>
                    <a:lnTo>
                      <a:pt x="136994" y="478459"/>
                    </a:lnTo>
                    <a:lnTo>
                      <a:pt x="166642" y="531621"/>
                    </a:lnTo>
                    <a:lnTo>
                      <a:pt x="85877" y="589895"/>
                    </a:lnTo>
                    <a:lnTo>
                      <a:pt x="55718" y="589384"/>
                    </a:lnTo>
                    <a:lnTo>
                      <a:pt x="61852" y="505040"/>
                    </a:lnTo>
                    <a:lnTo>
                      <a:pt x="0" y="293414"/>
                    </a:lnTo>
                    <a:lnTo>
                      <a:pt x="143639" y="265810"/>
                    </a:lnTo>
                    <a:lnTo>
                      <a:pt x="157441" y="285746"/>
                    </a:lnTo>
                    <a:lnTo>
                      <a:pt x="196290" y="278590"/>
                    </a:lnTo>
                    <a:lnTo>
                      <a:pt x="192200" y="209581"/>
                    </a:lnTo>
                    <a:lnTo>
                      <a:pt x="244340" y="208048"/>
                    </a:lnTo>
                    <a:lnTo>
                      <a:pt x="242806" y="119103"/>
                    </a:lnTo>
                    <a:lnTo>
                      <a:pt x="280122" y="93034"/>
                    </a:lnTo>
                    <a:lnTo>
                      <a:pt x="323572" y="108880"/>
                    </a:lnTo>
                    <a:lnTo>
                      <a:pt x="406892" y="10223"/>
                    </a:lnTo>
                    <a:lnTo>
                      <a:pt x="569445" y="116037"/>
                    </a:lnTo>
                    <a:lnTo>
                      <a:pt x="592959" y="174822"/>
                    </a:lnTo>
                    <a:lnTo>
                      <a:pt x="633853" y="199869"/>
                    </a:lnTo>
                    <a:lnTo>
                      <a:pt x="678325" y="161531"/>
                    </a:lnTo>
                    <a:lnTo>
                      <a:pt x="632319" y="132394"/>
                    </a:lnTo>
                    <a:lnTo>
                      <a:pt x="630786" y="116037"/>
                    </a:lnTo>
                    <a:lnTo>
                      <a:pt x="763179" y="98145"/>
                    </a:lnTo>
                    <a:lnTo>
                      <a:pt x="791293" y="154375"/>
                    </a:lnTo>
                    <a:lnTo>
                      <a:pt x="829631" y="146707"/>
                    </a:lnTo>
                    <a:lnTo>
                      <a:pt x="831165" y="102746"/>
                    </a:lnTo>
                    <a:lnTo>
                      <a:pt x="810207" y="54184"/>
                    </a:lnTo>
                    <a:lnTo>
                      <a:pt x="861835" y="0"/>
                    </a:lnTo>
                    <a:lnTo>
                      <a:pt x="908863" y="87922"/>
                    </a:lnTo>
                    <a:lnTo>
                      <a:pt x="1054547" y="43961"/>
                    </a:lnTo>
                    <a:lnTo>
                      <a:pt x="1141446" y="99679"/>
                    </a:lnTo>
                    <a:lnTo>
                      <a:pt x="1174161" y="227983"/>
                    </a:lnTo>
                    <a:lnTo>
                      <a:pt x="1301443" y="329707"/>
                    </a:lnTo>
                    <a:lnTo>
                      <a:pt x="1283040" y="409962"/>
                    </a:lnTo>
                    <a:lnTo>
                      <a:pt x="1258504" y="417629"/>
                    </a:lnTo>
                    <a:lnTo>
                      <a:pt x="1419523" y="646124"/>
                    </a:lnTo>
                    <a:lnTo>
                      <a:pt x="1462462" y="640501"/>
                    </a:lnTo>
                    <a:lnTo>
                      <a:pt x="1654662" y="792831"/>
                    </a:lnTo>
                    <a:lnTo>
                      <a:pt x="1657729" y="833725"/>
                    </a:lnTo>
                    <a:lnTo>
                      <a:pt x="1697600" y="855705"/>
                    </a:lnTo>
                    <a:lnTo>
                      <a:pt x="1724181" y="841392"/>
                    </a:lnTo>
                    <a:lnTo>
                      <a:pt x="1837661" y="946183"/>
                    </a:lnTo>
                    <a:lnTo>
                      <a:pt x="1831016" y="1050463"/>
                    </a:lnTo>
                    <a:lnTo>
                      <a:pt x="1789100" y="1096979"/>
                    </a:lnTo>
                    <a:lnTo>
                      <a:pt x="1716002" y="1067331"/>
                    </a:lnTo>
                    <a:lnTo>
                      <a:pt x="1694533" y="1191035"/>
                    </a:lnTo>
                    <a:lnTo>
                      <a:pt x="1482908" y="1337742"/>
                    </a:lnTo>
                    <a:lnTo>
                      <a:pt x="1477797" y="1364835"/>
                    </a:lnTo>
                    <a:lnTo>
                      <a:pt x="1572874" y="1477293"/>
                    </a:lnTo>
                    <a:lnTo>
                      <a:pt x="1534537" y="1567259"/>
                    </a:lnTo>
                    <a:lnTo>
                      <a:pt x="1583098" y="1564192"/>
                    </a:lnTo>
                    <a:lnTo>
                      <a:pt x="1608145" y="1639335"/>
                    </a:lnTo>
                    <a:lnTo>
                      <a:pt x="1575430" y="1718056"/>
                    </a:lnTo>
                    <a:lnTo>
                      <a:pt x="1490065" y="1640357"/>
                    </a:lnTo>
                    <a:lnTo>
                      <a:pt x="1499266" y="1622977"/>
                    </a:lnTo>
                    <a:lnTo>
                      <a:pt x="1462462" y="1600486"/>
                    </a:lnTo>
                    <a:lnTo>
                      <a:pt x="1406233" y="1631156"/>
                    </a:lnTo>
                    <a:lnTo>
                      <a:pt x="1376073" y="1635757"/>
                    </a:lnTo>
                    <a:lnTo>
                      <a:pt x="1355116" y="1607642"/>
                    </a:lnTo>
                    <a:lnTo>
                      <a:pt x="1254415" y="1604064"/>
                    </a:lnTo>
                    <a:lnTo>
                      <a:pt x="1267705" y="1658248"/>
                    </a:lnTo>
                    <a:lnTo>
                      <a:pt x="1228856" y="1664894"/>
                    </a:lnTo>
                    <a:lnTo>
                      <a:pt x="1053524" y="1684829"/>
                    </a:lnTo>
                    <a:lnTo>
                      <a:pt x="1027455" y="1733391"/>
                    </a:lnTo>
                    <a:lnTo>
                      <a:pt x="812763" y="1801377"/>
                    </a:lnTo>
                    <a:lnTo>
                      <a:pt x="754489" y="1740547"/>
                    </a:lnTo>
                    <a:lnTo>
                      <a:pt x="603694" y="1710899"/>
                    </a:lnTo>
                    <a:lnTo>
                      <a:pt x="617495" y="1775307"/>
                    </a:lnTo>
                    <a:lnTo>
                      <a:pt x="563311" y="1871919"/>
                    </a:lnTo>
                    <a:lnTo>
                      <a:pt x="507082" y="1859140"/>
                    </a:lnTo>
                    <a:lnTo>
                      <a:pt x="382868" y="1742081"/>
                    </a:lnTo>
                    <a:lnTo>
                      <a:pt x="281144" y="1741570"/>
                    </a:lnTo>
                    <a:lnTo>
                      <a:pt x="310281" y="1707321"/>
                    </a:lnTo>
                    <a:lnTo>
                      <a:pt x="486124" y="1683296"/>
                    </a:lnTo>
                    <a:lnTo>
                      <a:pt x="497370" y="1667450"/>
                    </a:lnTo>
                    <a:lnTo>
                      <a:pt x="452898" y="1485471"/>
                    </a:lnTo>
                    <a:lnTo>
                      <a:pt x="471300" y="1427709"/>
                    </a:lnTo>
                    <a:lnTo>
                      <a:pt x="419161" y="1288158"/>
                    </a:lnTo>
                    <a:lnTo>
                      <a:pt x="533152" y="1158831"/>
                    </a:lnTo>
                    <a:lnTo>
                      <a:pt x="511683" y="1111803"/>
                    </a:lnTo>
                    <a:lnTo>
                      <a:pt x="598582" y="1085222"/>
                    </a:lnTo>
                    <a:lnTo>
                      <a:pt x="566378" y="936471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69" name="Freihandform: Form 68">
                <a:extLst>
                  <a:ext uri="{FF2B5EF4-FFF2-40B4-BE49-F238E27FC236}">
                    <a16:creationId xmlns:a16="http://schemas.microsoft.com/office/drawing/2014/main" id="{29305141-0D96-4EE4-9B14-12B63D9208FB}"/>
                  </a:ext>
                </a:extLst>
              </p:cNvPr>
              <p:cNvSpPr/>
              <p:nvPr/>
            </p:nvSpPr>
            <p:spPr>
              <a:xfrm>
                <a:off x="6515264" y="3457738"/>
                <a:ext cx="1100040" cy="1300426"/>
              </a:xfrm>
              <a:custGeom>
                <a:avLst/>
                <a:gdLst>
                  <a:gd name="connsiteX0" fmla="*/ 1100041 w 1100040"/>
                  <a:gd name="connsiteY0" fmla="*/ 628233 h 1300426"/>
                  <a:gd name="connsiteX1" fmla="*/ 1013142 w 1100040"/>
                  <a:gd name="connsiteY1" fmla="*/ 654814 h 1300426"/>
                  <a:gd name="connsiteX2" fmla="*/ 1034611 w 1100040"/>
                  <a:gd name="connsiteY2" fmla="*/ 701842 h 1300426"/>
                  <a:gd name="connsiteX3" fmla="*/ 920620 w 1100040"/>
                  <a:gd name="connsiteY3" fmla="*/ 831169 h 1300426"/>
                  <a:gd name="connsiteX4" fmla="*/ 972759 w 1100040"/>
                  <a:gd name="connsiteY4" fmla="*/ 970720 h 1300426"/>
                  <a:gd name="connsiteX5" fmla="*/ 954357 w 1100040"/>
                  <a:gd name="connsiteY5" fmla="*/ 1028482 h 1300426"/>
                  <a:gd name="connsiteX6" fmla="*/ 998829 w 1100040"/>
                  <a:gd name="connsiteY6" fmla="*/ 1210460 h 1300426"/>
                  <a:gd name="connsiteX7" fmla="*/ 987583 w 1100040"/>
                  <a:gd name="connsiteY7" fmla="*/ 1226307 h 1300426"/>
                  <a:gd name="connsiteX8" fmla="*/ 811740 w 1100040"/>
                  <a:gd name="connsiteY8" fmla="*/ 1250332 h 1300426"/>
                  <a:gd name="connsiteX9" fmla="*/ 782603 w 1100040"/>
                  <a:gd name="connsiteY9" fmla="*/ 1284580 h 1300426"/>
                  <a:gd name="connsiteX10" fmla="*/ 632830 w 1100040"/>
                  <a:gd name="connsiteY10" fmla="*/ 1224773 h 1300426"/>
                  <a:gd name="connsiteX11" fmla="*/ 552065 w 1100040"/>
                  <a:gd name="connsiteY11" fmla="*/ 1213527 h 1300426"/>
                  <a:gd name="connsiteX12" fmla="*/ 504015 w 1100040"/>
                  <a:gd name="connsiteY12" fmla="*/ 1238063 h 1300426"/>
                  <a:gd name="connsiteX13" fmla="*/ 448808 w 1100040"/>
                  <a:gd name="connsiteY13" fmla="*/ 1217616 h 1300426"/>
                  <a:gd name="connsiteX14" fmla="*/ 428873 w 1100040"/>
                  <a:gd name="connsiteY14" fmla="*/ 1165477 h 1300426"/>
                  <a:gd name="connsiteX15" fmla="*/ 395135 w 1100040"/>
                  <a:gd name="connsiteY15" fmla="*/ 1156787 h 1300426"/>
                  <a:gd name="connsiteX16" fmla="*/ 326638 w 1100040"/>
                  <a:gd name="connsiteY16" fmla="*/ 1166499 h 1300426"/>
                  <a:gd name="connsiteX17" fmla="*/ 305169 w 1100040"/>
                  <a:gd name="connsiteY17" fmla="*/ 1205349 h 1300426"/>
                  <a:gd name="connsiteX18" fmla="*/ 326638 w 1100040"/>
                  <a:gd name="connsiteY18" fmla="*/ 1237041 h 1300426"/>
                  <a:gd name="connsiteX19" fmla="*/ 370599 w 1100040"/>
                  <a:gd name="connsiteY19" fmla="*/ 1217616 h 1300426"/>
                  <a:gd name="connsiteX20" fmla="*/ 395135 w 1100040"/>
                  <a:gd name="connsiteY20" fmla="*/ 1216083 h 1300426"/>
                  <a:gd name="connsiteX21" fmla="*/ 407404 w 1100040"/>
                  <a:gd name="connsiteY21" fmla="*/ 1260044 h 1300426"/>
                  <a:gd name="connsiteX22" fmla="*/ 393602 w 1100040"/>
                  <a:gd name="connsiteY22" fmla="*/ 1275379 h 1300426"/>
                  <a:gd name="connsiteX23" fmla="*/ 299035 w 1100040"/>
                  <a:gd name="connsiteY23" fmla="*/ 1298893 h 1300426"/>
                  <a:gd name="connsiteX24" fmla="*/ 204469 w 1100040"/>
                  <a:gd name="connsiteY24" fmla="*/ 1282536 h 1300426"/>
                  <a:gd name="connsiteX25" fmla="*/ 60829 w 1100040"/>
                  <a:gd name="connsiteY25" fmla="*/ 1300427 h 1300426"/>
                  <a:gd name="connsiteX26" fmla="*/ 20958 w 1100040"/>
                  <a:gd name="connsiteY26" fmla="*/ 1294804 h 1300426"/>
                  <a:gd name="connsiteX27" fmla="*/ 0 w 1100040"/>
                  <a:gd name="connsiteY27" fmla="*/ 1262600 h 1300426"/>
                  <a:gd name="connsiteX28" fmla="*/ 3067 w 1100040"/>
                  <a:gd name="connsiteY28" fmla="*/ 1121516 h 1300426"/>
                  <a:gd name="connsiteX29" fmla="*/ 18913 w 1100040"/>
                  <a:gd name="connsiteY29" fmla="*/ 1109248 h 1300426"/>
                  <a:gd name="connsiteX30" fmla="*/ 25559 w 1100040"/>
                  <a:gd name="connsiteY30" fmla="*/ 1072443 h 1300426"/>
                  <a:gd name="connsiteX31" fmla="*/ 14313 w 1100040"/>
                  <a:gd name="connsiteY31" fmla="*/ 1003946 h 1300426"/>
                  <a:gd name="connsiteX32" fmla="*/ 149773 w 1100040"/>
                  <a:gd name="connsiteY32" fmla="*/ 630278 h 1300426"/>
                  <a:gd name="connsiteX33" fmla="*/ 187600 w 1100040"/>
                  <a:gd name="connsiteY33" fmla="*/ 602674 h 1300426"/>
                  <a:gd name="connsiteX34" fmla="*/ 197823 w 1100040"/>
                  <a:gd name="connsiteY34" fmla="*/ 563825 h 1300426"/>
                  <a:gd name="connsiteX35" fmla="*/ 254052 w 1100040"/>
                  <a:gd name="connsiteY35" fmla="*/ 483571 h 1300426"/>
                  <a:gd name="connsiteX36" fmla="*/ 299035 w 1100040"/>
                  <a:gd name="connsiteY36" fmla="*/ 337886 h 1300426"/>
                  <a:gd name="connsiteX37" fmla="*/ 323571 w 1100040"/>
                  <a:gd name="connsiteY37" fmla="*/ 309772 h 1300426"/>
                  <a:gd name="connsiteX38" fmla="*/ 316415 w 1100040"/>
                  <a:gd name="connsiteY38" fmla="*/ 291369 h 1300426"/>
                  <a:gd name="connsiteX39" fmla="*/ 329706 w 1100040"/>
                  <a:gd name="connsiteY39" fmla="*/ 237696 h 1300426"/>
                  <a:gd name="connsiteX40" fmla="*/ 304658 w 1100040"/>
                  <a:gd name="connsiteY40" fmla="*/ 185045 h 1300426"/>
                  <a:gd name="connsiteX41" fmla="*/ 298013 w 1100040"/>
                  <a:gd name="connsiteY41" fmla="*/ 128816 h 1300426"/>
                  <a:gd name="connsiteX42" fmla="*/ 417116 w 1100040"/>
                  <a:gd name="connsiteY42" fmla="*/ 106324 h 1300426"/>
                  <a:gd name="connsiteX43" fmla="*/ 429384 w 1100040"/>
                  <a:gd name="connsiteY43" fmla="*/ 168687 h 1300426"/>
                  <a:gd name="connsiteX44" fmla="*/ 534685 w 1100040"/>
                  <a:gd name="connsiteY44" fmla="*/ 167154 h 1300426"/>
                  <a:gd name="connsiteX45" fmla="*/ 557177 w 1100040"/>
                  <a:gd name="connsiteY45" fmla="*/ 132394 h 1300426"/>
                  <a:gd name="connsiteX46" fmla="*/ 587336 w 1100040"/>
                  <a:gd name="connsiteY46" fmla="*/ 132905 h 1300426"/>
                  <a:gd name="connsiteX47" fmla="*/ 668101 w 1100040"/>
                  <a:gd name="connsiteY47" fmla="*/ 74632 h 1300426"/>
                  <a:gd name="connsiteX48" fmla="*/ 638453 w 1100040"/>
                  <a:gd name="connsiteY48" fmla="*/ 21469 h 1300426"/>
                  <a:gd name="connsiteX49" fmla="*/ 747844 w 1100040"/>
                  <a:gd name="connsiteY49" fmla="*/ 0 h 1300426"/>
                  <a:gd name="connsiteX50" fmla="*/ 853656 w 1100040"/>
                  <a:gd name="connsiteY50" fmla="*/ 124727 h 1300426"/>
                  <a:gd name="connsiteX51" fmla="*/ 855190 w 1100040"/>
                  <a:gd name="connsiteY51" fmla="*/ 162554 h 1300426"/>
                  <a:gd name="connsiteX52" fmla="*/ 883304 w 1100040"/>
                  <a:gd name="connsiteY52" fmla="*/ 170732 h 1300426"/>
                  <a:gd name="connsiteX53" fmla="*/ 914997 w 1100040"/>
                  <a:gd name="connsiteY53" fmla="*/ 141595 h 1300426"/>
                  <a:gd name="connsiteX54" fmla="*/ 937488 w 1100040"/>
                  <a:gd name="connsiteY54" fmla="*/ 176866 h 1300426"/>
                  <a:gd name="connsiteX55" fmla="*/ 1005985 w 1100040"/>
                  <a:gd name="connsiteY55" fmla="*/ 427342 h 1300426"/>
                  <a:gd name="connsiteX56" fmla="*/ 1067837 w 1100040"/>
                  <a:gd name="connsiteY56" fmla="*/ 479481 h 1300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100040" h="1300426">
                    <a:moveTo>
                      <a:pt x="1100041" y="628233"/>
                    </a:moveTo>
                    <a:lnTo>
                      <a:pt x="1013142" y="654814"/>
                    </a:lnTo>
                    <a:lnTo>
                      <a:pt x="1034611" y="701842"/>
                    </a:lnTo>
                    <a:lnTo>
                      <a:pt x="920620" y="831169"/>
                    </a:lnTo>
                    <a:lnTo>
                      <a:pt x="972759" y="970720"/>
                    </a:lnTo>
                    <a:lnTo>
                      <a:pt x="954357" y="1028482"/>
                    </a:lnTo>
                    <a:lnTo>
                      <a:pt x="998829" y="1210460"/>
                    </a:lnTo>
                    <a:lnTo>
                      <a:pt x="987583" y="1226307"/>
                    </a:lnTo>
                    <a:lnTo>
                      <a:pt x="811740" y="1250332"/>
                    </a:lnTo>
                    <a:lnTo>
                      <a:pt x="782603" y="1284580"/>
                    </a:lnTo>
                    <a:lnTo>
                      <a:pt x="632830" y="1224773"/>
                    </a:lnTo>
                    <a:lnTo>
                      <a:pt x="552065" y="1213527"/>
                    </a:lnTo>
                    <a:lnTo>
                      <a:pt x="504015" y="1238063"/>
                    </a:lnTo>
                    <a:lnTo>
                      <a:pt x="448808" y="1217616"/>
                    </a:lnTo>
                    <a:lnTo>
                      <a:pt x="428873" y="1165477"/>
                    </a:lnTo>
                    <a:lnTo>
                      <a:pt x="395135" y="1156787"/>
                    </a:lnTo>
                    <a:lnTo>
                      <a:pt x="326638" y="1166499"/>
                    </a:lnTo>
                    <a:lnTo>
                      <a:pt x="305169" y="1205349"/>
                    </a:lnTo>
                    <a:lnTo>
                      <a:pt x="326638" y="1237041"/>
                    </a:lnTo>
                    <a:lnTo>
                      <a:pt x="370599" y="1217616"/>
                    </a:lnTo>
                    <a:lnTo>
                      <a:pt x="395135" y="1216083"/>
                    </a:lnTo>
                    <a:lnTo>
                      <a:pt x="407404" y="1260044"/>
                    </a:lnTo>
                    <a:lnTo>
                      <a:pt x="393602" y="1275379"/>
                    </a:lnTo>
                    <a:lnTo>
                      <a:pt x="299035" y="1298893"/>
                    </a:lnTo>
                    <a:lnTo>
                      <a:pt x="204469" y="1282536"/>
                    </a:lnTo>
                    <a:lnTo>
                      <a:pt x="60829" y="1300427"/>
                    </a:lnTo>
                    <a:lnTo>
                      <a:pt x="20958" y="1294804"/>
                    </a:lnTo>
                    <a:lnTo>
                      <a:pt x="0" y="1262600"/>
                    </a:lnTo>
                    <a:lnTo>
                      <a:pt x="3067" y="1121516"/>
                    </a:lnTo>
                    <a:lnTo>
                      <a:pt x="18913" y="1109248"/>
                    </a:lnTo>
                    <a:lnTo>
                      <a:pt x="25559" y="1072443"/>
                    </a:lnTo>
                    <a:lnTo>
                      <a:pt x="14313" y="1003946"/>
                    </a:lnTo>
                    <a:lnTo>
                      <a:pt x="149773" y="630278"/>
                    </a:lnTo>
                    <a:lnTo>
                      <a:pt x="187600" y="602674"/>
                    </a:lnTo>
                    <a:lnTo>
                      <a:pt x="197823" y="563825"/>
                    </a:lnTo>
                    <a:lnTo>
                      <a:pt x="254052" y="483571"/>
                    </a:lnTo>
                    <a:lnTo>
                      <a:pt x="299035" y="337886"/>
                    </a:lnTo>
                    <a:lnTo>
                      <a:pt x="323571" y="309772"/>
                    </a:lnTo>
                    <a:lnTo>
                      <a:pt x="316415" y="291369"/>
                    </a:lnTo>
                    <a:lnTo>
                      <a:pt x="329706" y="237696"/>
                    </a:lnTo>
                    <a:lnTo>
                      <a:pt x="304658" y="185045"/>
                    </a:lnTo>
                    <a:lnTo>
                      <a:pt x="298013" y="128816"/>
                    </a:lnTo>
                    <a:lnTo>
                      <a:pt x="417116" y="106324"/>
                    </a:lnTo>
                    <a:lnTo>
                      <a:pt x="429384" y="168687"/>
                    </a:lnTo>
                    <a:lnTo>
                      <a:pt x="534685" y="167154"/>
                    </a:lnTo>
                    <a:lnTo>
                      <a:pt x="557177" y="132394"/>
                    </a:lnTo>
                    <a:lnTo>
                      <a:pt x="587336" y="132905"/>
                    </a:lnTo>
                    <a:lnTo>
                      <a:pt x="668101" y="74632"/>
                    </a:lnTo>
                    <a:lnTo>
                      <a:pt x="638453" y="21469"/>
                    </a:lnTo>
                    <a:lnTo>
                      <a:pt x="747844" y="0"/>
                    </a:lnTo>
                    <a:lnTo>
                      <a:pt x="853656" y="124727"/>
                    </a:lnTo>
                    <a:lnTo>
                      <a:pt x="855190" y="162554"/>
                    </a:lnTo>
                    <a:lnTo>
                      <a:pt x="883304" y="170732"/>
                    </a:lnTo>
                    <a:lnTo>
                      <a:pt x="914997" y="141595"/>
                    </a:lnTo>
                    <a:lnTo>
                      <a:pt x="937488" y="176866"/>
                    </a:lnTo>
                    <a:lnTo>
                      <a:pt x="1005985" y="427342"/>
                    </a:lnTo>
                    <a:lnTo>
                      <a:pt x="1067837" y="479481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0" name="Freihandform: Form 69">
                <a:extLst>
                  <a:ext uri="{FF2B5EF4-FFF2-40B4-BE49-F238E27FC236}">
                    <a16:creationId xmlns:a16="http://schemas.microsoft.com/office/drawing/2014/main" id="{6F314FEA-DFB1-4C1A-B407-3976DEB65925}"/>
                  </a:ext>
                </a:extLst>
              </p:cNvPr>
              <p:cNvSpPr/>
              <p:nvPr/>
            </p:nvSpPr>
            <p:spPr>
              <a:xfrm>
                <a:off x="5482186" y="1524478"/>
                <a:ext cx="82809" cy="112969"/>
              </a:xfrm>
              <a:custGeom>
                <a:avLst/>
                <a:gdLst>
                  <a:gd name="connsiteX0" fmla="*/ 1022 w 82809"/>
                  <a:gd name="connsiteY0" fmla="*/ 79743 h 112969"/>
                  <a:gd name="connsiteX1" fmla="*/ 42427 w 82809"/>
                  <a:gd name="connsiteY1" fmla="*/ 13291 h 112969"/>
                  <a:gd name="connsiteX2" fmla="*/ 62363 w 82809"/>
                  <a:gd name="connsiteY2" fmla="*/ 0 h 112969"/>
                  <a:gd name="connsiteX3" fmla="*/ 75142 w 82809"/>
                  <a:gd name="connsiteY3" fmla="*/ 11246 h 112969"/>
                  <a:gd name="connsiteX4" fmla="*/ 82810 w 82809"/>
                  <a:gd name="connsiteY4" fmla="*/ 17891 h 112969"/>
                  <a:gd name="connsiteX5" fmla="*/ 79743 w 82809"/>
                  <a:gd name="connsiteY5" fmla="*/ 65941 h 112969"/>
                  <a:gd name="connsiteX6" fmla="*/ 28114 w 82809"/>
                  <a:gd name="connsiteY6" fmla="*/ 112458 h 112969"/>
                  <a:gd name="connsiteX7" fmla="*/ 23003 w 82809"/>
                  <a:gd name="connsiteY7" fmla="*/ 108369 h 112969"/>
                  <a:gd name="connsiteX8" fmla="*/ 19425 w 82809"/>
                  <a:gd name="connsiteY8" fmla="*/ 112969 h 112969"/>
                  <a:gd name="connsiteX9" fmla="*/ 0 w 82809"/>
                  <a:gd name="connsiteY9" fmla="*/ 99679 h 112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2809" h="112969">
                    <a:moveTo>
                      <a:pt x="1022" y="79743"/>
                    </a:moveTo>
                    <a:lnTo>
                      <a:pt x="42427" y="13291"/>
                    </a:lnTo>
                    <a:lnTo>
                      <a:pt x="62363" y="0"/>
                    </a:lnTo>
                    <a:lnTo>
                      <a:pt x="75142" y="11246"/>
                    </a:lnTo>
                    <a:lnTo>
                      <a:pt x="82810" y="17891"/>
                    </a:lnTo>
                    <a:lnTo>
                      <a:pt x="79743" y="65941"/>
                    </a:lnTo>
                    <a:lnTo>
                      <a:pt x="28114" y="112458"/>
                    </a:lnTo>
                    <a:lnTo>
                      <a:pt x="23003" y="108369"/>
                    </a:lnTo>
                    <a:lnTo>
                      <a:pt x="19425" y="112969"/>
                    </a:lnTo>
                    <a:lnTo>
                      <a:pt x="0" y="99679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1" name="Freihandform: Form 70">
                <a:extLst>
                  <a:ext uri="{FF2B5EF4-FFF2-40B4-BE49-F238E27FC236}">
                    <a16:creationId xmlns:a16="http://schemas.microsoft.com/office/drawing/2014/main" id="{CB7FF469-E398-4232-A94F-C9203F861B60}"/>
                  </a:ext>
                </a:extLst>
              </p:cNvPr>
              <p:cNvSpPr/>
              <p:nvPr/>
            </p:nvSpPr>
            <p:spPr>
              <a:xfrm>
                <a:off x="5546083" y="1453936"/>
                <a:ext cx="89966" cy="59296"/>
              </a:xfrm>
              <a:custGeom>
                <a:avLst/>
                <a:gdLst>
                  <a:gd name="connsiteX0" fmla="*/ 42427 w 89966"/>
                  <a:gd name="connsiteY0" fmla="*/ 14824 h 59296"/>
                  <a:gd name="connsiteX1" fmla="*/ 79743 w 89966"/>
                  <a:gd name="connsiteY1" fmla="*/ 0 h 59296"/>
                  <a:gd name="connsiteX2" fmla="*/ 89966 w 89966"/>
                  <a:gd name="connsiteY2" fmla="*/ 6645 h 59296"/>
                  <a:gd name="connsiteX3" fmla="*/ 33226 w 89966"/>
                  <a:gd name="connsiteY3" fmla="*/ 56740 h 59296"/>
                  <a:gd name="connsiteX4" fmla="*/ 0 w 89966"/>
                  <a:gd name="connsiteY4" fmla="*/ 59296 h 59296"/>
                  <a:gd name="connsiteX5" fmla="*/ 2045 w 89966"/>
                  <a:gd name="connsiteY5" fmla="*/ 50095 h 59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966" h="59296">
                    <a:moveTo>
                      <a:pt x="42427" y="14824"/>
                    </a:moveTo>
                    <a:lnTo>
                      <a:pt x="79743" y="0"/>
                    </a:lnTo>
                    <a:lnTo>
                      <a:pt x="89966" y="6645"/>
                    </a:lnTo>
                    <a:lnTo>
                      <a:pt x="33226" y="56740"/>
                    </a:lnTo>
                    <a:lnTo>
                      <a:pt x="0" y="59296"/>
                    </a:lnTo>
                    <a:lnTo>
                      <a:pt x="2045" y="50095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2" name="Freihandform: Form 71">
                <a:extLst>
                  <a:ext uri="{FF2B5EF4-FFF2-40B4-BE49-F238E27FC236}">
                    <a16:creationId xmlns:a16="http://schemas.microsoft.com/office/drawing/2014/main" id="{0248C714-FB60-4970-8D1F-CAB1C2D3ABDB}"/>
                  </a:ext>
                </a:extLst>
              </p:cNvPr>
              <p:cNvSpPr/>
              <p:nvPr/>
            </p:nvSpPr>
            <p:spPr>
              <a:xfrm>
                <a:off x="5643205" y="1372148"/>
                <a:ext cx="138527" cy="64919"/>
              </a:xfrm>
              <a:custGeom>
                <a:avLst/>
                <a:gdLst>
                  <a:gd name="connsiteX0" fmla="*/ 20447 w 138527"/>
                  <a:gd name="connsiteY0" fmla="*/ 30670 h 64919"/>
                  <a:gd name="connsiteX1" fmla="*/ 82810 w 138527"/>
                  <a:gd name="connsiteY1" fmla="*/ 7668 h 64919"/>
                  <a:gd name="connsiteX2" fmla="*/ 136483 w 138527"/>
                  <a:gd name="connsiteY2" fmla="*/ 0 h 64919"/>
                  <a:gd name="connsiteX3" fmla="*/ 138527 w 138527"/>
                  <a:gd name="connsiteY3" fmla="*/ 7156 h 64919"/>
                  <a:gd name="connsiteX4" fmla="*/ 112969 w 138527"/>
                  <a:gd name="connsiteY4" fmla="*/ 29648 h 64919"/>
                  <a:gd name="connsiteX5" fmla="*/ 77187 w 138527"/>
                  <a:gd name="connsiteY5" fmla="*/ 37827 h 64919"/>
                  <a:gd name="connsiteX6" fmla="*/ 62874 w 138527"/>
                  <a:gd name="connsiteY6" fmla="*/ 53673 h 64919"/>
                  <a:gd name="connsiteX7" fmla="*/ 5623 w 138527"/>
                  <a:gd name="connsiteY7" fmla="*/ 64919 h 64919"/>
                  <a:gd name="connsiteX8" fmla="*/ 0 w 138527"/>
                  <a:gd name="connsiteY8" fmla="*/ 52651 h 64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527" h="64919">
                    <a:moveTo>
                      <a:pt x="20447" y="30670"/>
                    </a:moveTo>
                    <a:lnTo>
                      <a:pt x="82810" y="7668"/>
                    </a:lnTo>
                    <a:lnTo>
                      <a:pt x="136483" y="0"/>
                    </a:lnTo>
                    <a:lnTo>
                      <a:pt x="138527" y="7156"/>
                    </a:lnTo>
                    <a:lnTo>
                      <a:pt x="112969" y="29648"/>
                    </a:lnTo>
                    <a:lnTo>
                      <a:pt x="77187" y="37827"/>
                    </a:lnTo>
                    <a:lnTo>
                      <a:pt x="62874" y="53673"/>
                    </a:lnTo>
                    <a:lnTo>
                      <a:pt x="5623" y="64919"/>
                    </a:lnTo>
                    <a:lnTo>
                      <a:pt x="0" y="52651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3" name="Freihandform: Form 72">
                <a:extLst>
                  <a:ext uri="{FF2B5EF4-FFF2-40B4-BE49-F238E27FC236}">
                    <a16:creationId xmlns:a16="http://schemas.microsoft.com/office/drawing/2014/main" id="{2E4B1FB8-0397-45F2-AFF1-BD9B65F2506A}"/>
                  </a:ext>
                </a:extLst>
              </p:cNvPr>
              <p:cNvSpPr/>
              <p:nvPr/>
            </p:nvSpPr>
            <p:spPr>
              <a:xfrm>
                <a:off x="5641672" y="1391062"/>
                <a:ext cx="439607" cy="382358"/>
              </a:xfrm>
              <a:custGeom>
                <a:avLst/>
                <a:gdLst>
                  <a:gd name="connsiteX0" fmla="*/ 0 w 439607"/>
                  <a:gd name="connsiteY0" fmla="*/ 238718 h 382358"/>
                  <a:gd name="connsiteX1" fmla="*/ 48561 w 439607"/>
                  <a:gd name="connsiteY1" fmla="*/ 198336 h 382358"/>
                  <a:gd name="connsiteX2" fmla="*/ 75142 w 439607"/>
                  <a:gd name="connsiteY2" fmla="*/ 186067 h 382358"/>
                  <a:gd name="connsiteX3" fmla="*/ 88433 w 439607"/>
                  <a:gd name="connsiteY3" fmla="*/ 147729 h 382358"/>
                  <a:gd name="connsiteX4" fmla="*/ 103768 w 439607"/>
                  <a:gd name="connsiteY4" fmla="*/ 115014 h 382358"/>
                  <a:gd name="connsiteX5" fmla="*/ 139550 w 439607"/>
                  <a:gd name="connsiteY5" fmla="*/ 88433 h 382358"/>
                  <a:gd name="connsiteX6" fmla="*/ 149773 w 439607"/>
                  <a:gd name="connsiteY6" fmla="*/ 72587 h 382358"/>
                  <a:gd name="connsiteX7" fmla="*/ 250985 w 439607"/>
                  <a:gd name="connsiteY7" fmla="*/ 25559 h 382358"/>
                  <a:gd name="connsiteX8" fmla="*/ 305169 w 439607"/>
                  <a:gd name="connsiteY8" fmla="*/ 7668 h 382358"/>
                  <a:gd name="connsiteX9" fmla="*/ 342485 w 439607"/>
                  <a:gd name="connsiteY9" fmla="*/ 7156 h 382358"/>
                  <a:gd name="connsiteX10" fmla="*/ 351686 w 439607"/>
                  <a:gd name="connsiteY10" fmla="*/ 0 h 382358"/>
                  <a:gd name="connsiteX11" fmla="*/ 358331 w 439607"/>
                  <a:gd name="connsiteY11" fmla="*/ 1022 h 382358"/>
                  <a:gd name="connsiteX12" fmla="*/ 351686 w 439607"/>
                  <a:gd name="connsiteY12" fmla="*/ 25047 h 382358"/>
                  <a:gd name="connsiteX13" fmla="*/ 383379 w 439607"/>
                  <a:gd name="connsiteY13" fmla="*/ 45494 h 382358"/>
                  <a:gd name="connsiteX14" fmla="*/ 387979 w 439607"/>
                  <a:gd name="connsiteY14" fmla="*/ 67475 h 382358"/>
                  <a:gd name="connsiteX15" fmla="*/ 377756 w 439607"/>
                  <a:gd name="connsiteY15" fmla="*/ 80254 h 382358"/>
                  <a:gd name="connsiteX16" fmla="*/ 351686 w 439607"/>
                  <a:gd name="connsiteY16" fmla="*/ 141595 h 382358"/>
                  <a:gd name="connsiteX17" fmla="*/ 355775 w 439607"/>
                  <a:gd name="connsiteY17" fmla="*/ 166643 h 382358"/>
                  <a:gd name="connsiteX18" fmla="*/ 397691 w 439607"/>
                  <a:gd name="connsiteY18" fmla="*/ 182489 h 382358"/>
                  <a:gd name="connsiteX19" fmla="*/ 416093 w 439607"/>
                  <a:gd name="connsiteY19" fmla="*/ 217760 h 382358"/>
                  <a:gd name="connsiteX20" fmla="*/ 439607 w 439607"/>
                  <a:gd name="connsiteY20" fmla="*/ 249453 h 382358"/>
                  <a:gd name="connsiteX21" fmla="*/ 437563 w 439607"/>
                  <a:gd name="connsiteY21" fmla="*/ 267344 h 382358"/>
                  <a:gd name="connsiteX22" fmla="*/ 407404 w 439607"/>
                  <a:gd name="connsiteY22" fmla="*/ 289324 h 382358"/>
                  <a:gd name="connsiteX23" fmla="*/ 385423 w 439607"/>
                  <a:gd name="connsiteY23" fmla="*/ 277567 h 382358"/>
                  <a:gd name="connsiteX24" fmla="*/ 366510 w 439607"/>
                  <a:gd name="connsiteY24" fmla="*/ 288302 h 382358"/>
                  <a:gd name="connsiteX25" fmla="*/ 332773 w 439607"/>
                  <a:gd name="connsiteY25" fmla="*/ 324084 h 382358"/>
                  <a:gd name="connsiteX26" fmla="*/ 302102 w 439607"/>
                  <a:gd name="connsiteY26" fmla="*/ 340953 h 382358"/>
                  <a:gd name="connsiteX27" fmla="*/ 218270 w 439607"/>
                  <a:gd name="connsiteY27" fmla="*/ 356288 h 382358"/>
                  <a:gd name="connsiteX28" fmla="*/ 206002 w 439607"/>
                  <a:gd name="connsiteY28" fmla="*/ 338908 h 382358"/>
                  <a:gd name="connsiteX29" fmla="*/ 171242 w 439607"/>
                  <a:gd name="connsiteY29" fmla="*/ 339931 h 382358"/>
                  <a:gd name="connsiteX30" fmla="*/ 147217 w 439607"/>
                  <a:gd name="connsiteY30" fmla="*/ 371112 h 382358"/>
                  <a:gd name="connsiteX31" fmla="*/ 83832 w 439607"/>
                  <a:gd name="connsiteY31" fmla="*/ 382358 h 382358"/>
                  <a:gd name="connsiteX32" fmla="*/ 37316 w 439607"/>
                  <a:gd name="connsiteY32" fmla="*/ 315394 h 382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39607" h="382358">
                    <a:moveTo>
                      <a:pt x="0" y="238718"/>
                    </a:moveTo>
                    <a:lnTo>
                      <a:pt x="48561" y="198336"/>
                    </a:lnTo>
                    <a:lnTo>
                      <a:pt x="75142" y="186067"/>
                    </a:lnTo>
                    <a:lnTo>
                      <a:pt x="88433" y="147729"/>
                    </a:lnTo>
                    <a:lnTo>
                      <a:pt x="103768" y="115014"/>
                    </a:lnTo>
                    <a:lnTo>
                      <a:pt x="139550" y="88433"/>
                    </a:lnTo>
                    <a:lnTo>
                      <a:pt x="149773" y="72587"/>
                    </a:lnTo>
                    <a:lnTo>
                      <a:pt x="250985" y="25559"/>
                    </a:lnTo>
                    <a:lnTo>
                      <a:pt x="305169" y="7668"/>
                    </a:lnTo>
                    <a:lnTo>
                      <a:pt x="342485" y="7156"/>
                    </a:lnTo>
                    <a:lnTo>
                      <a:pt x="351686" y="0"/>
                    </a:lnTo>
                    <a:lnTo>
                      <a:pt x="358331" y="1022"/>
                    </a:lnTo>
                    <a:lnTo>
                      <a:pt x="351686" y="25047"/>
                    </a:lnTo>
                    <a:lnTo>
                      <a:pt x="383379" y="45494"/>
                    </a:lnTo>
                    <a:lnTo>
                      <a:pt x="387979" y="67475"/>
                    </a:lnTo>
                    <a:lnTo>
                      <a:pt x="377756" y="80254"/>
                    </a:lnTo>
                    <a:lnTo>
                      <a:pt x="351686" y="141595"/>
                    </a:lnTo>
                    <a:lnTo>
                      <a:pt x="355775" y="166643"/>
                    </a:lnTo>
                    <a:lnTo>
                      <a:pt x="397691" y="182489"/>
                    </a:lnTo>
                    <a:lnTo>
                      <a:pt x="416093" y="217760"/>
                    </a:lnTo>
                    <a:lnTo>
                      <a:pt x="439607" y="249453"/>
                    </a:lnTo>
                    <a:lnTo>
                      <a:pt x="437563" y="267344"/>
                    </a:lnTo>
                    <a:lnTo>
                      <a:pt x="407404" y="289324"/>
                    </a:lnTo>
                    <a:lnTo>
                      <a:pt x="385423" y="277567"/>
                    </a:lnTo>
                    <a:lnTo>
                      <a:pt x="366510" y="288302"/>
                    </a:lnTo>
                    <a:lnTo>
                      <a:pt x="332773" y="324084"/>
                    </a:lnTo>
                    <a:lnTo>
                      <a:pt x="302102" y="340953"/>
                    </a:lnTo>
                    <a:lnTo>
                      <a:pt x="218270" y="356288"/>
                    </a:lnTo>
                    <a:lnTo>
                      <a:pt x="206002" y="338908"/>
                    </a:lnTo>
                    <a:lnTo>
                      <a:pt x="171242" y="339931"/>
                    </a:lnTo>
                    <a:lnTo>
                      <a:pt x="147217" y="371112"/>
                    </a:lnTo>
                    <a:lnTo>
                      <a:pt x="83832" y="382358"/>
                    </a:lnTo>
                    <a:lnTo>
                      <a:pt x="37316" y="315394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4" name="Freihandform: Form 73">
                <a:extLst>
                  <a:ext uri="{FF2B5EF4-FFF2-40B4-BE49-F238E27FC236}">
                    <a16:creationId xmlns:a16="http://schemas.microsoft.com/office/drawing/2014/main" id="{44773341-5502-487E-B0D4-E73002184880}"/>
                  </a:ext>
                </a:extLst>
              </p:cNvPr>
              <p:cNvSpPr/>
              <p:nvPr/>
            </p:nvSpPr>
            <p:spPr>
              <a:xfrm>
                <a:off x="5612535" y="1729970"/>
                <a:ext cx="313348" cy="338397"/>
              </a:xfrm>
              <a:custGeom>
                <a:avLst/>
                <a:gdLst>
                  <a:gd name="connsiteX0" fmla="*/ 235139 w 313348"/>
                  <a:gd name="connsiteY0" fmla="*/ 0 h 338397"/>
                  <a:gd name="connsiteX1" fmla="*/ 247407 w 313348"/>
                  <a:gd name="connsiteY1" fmla="*/ 17380 h 338397"/>
                  <a:gd name="connsiteX2" fmla="*/ 265809 w 313348"/>
                  <a:gd name="connsiteY2" fmla="*/ 31693 h 338397"/>
                  <a:gd name="connsiteX3" fmla="*/ 278077 w 313348"/>
                  <a:gd name="connsiteY3" fmla="*/ 31182 h 338397"/>
                  <a:gd name="connsiteX4" fmla="*/ 309770 w 313348"/>
                  <a:gd name="connsiteY4" fmla="*/ 83321 h 338397"/>
                  <a:gd name="connsiteX5" fmla="*/ 313348 w 313348"/>
                  <a:gd name="connsiteY5" fmla="*/ 102235 h 338397"/>
                  <a:gd name="connsiteX6" fmla="*/ 313348 w 313348"/>
                  <a:gd name="connsiteY6" fmla="*/ 120126 h 338397"/>
                  <a:gd name="connsiteX7" fmla="*/ 242295 w 313348"/>
                  <a:gd name="connsiteY7" fmla="*/ 138017 h 338397"/>
                  <a:gd name="connsiteX8" fmla="*/ 243318 w 313348"/>
                  <a:gd name="connsiteY8" fmla="*/ 151308 h 338397"/>
                  <a:gd name="connsiteX9" fmla="*/ 272966 w 313348"/>
                  <a:gd name="connsiteY9" fmla="*/ 184023 h 338397"/>
                  <a:gd name="connsiteX10" fmla="*/ 253030 w 313348"/>
                  <a:gd name="connsiteY10" fmla="*/ 231562 h 338397"/>
                  <a:gd name="connsiteX11" fmla="*/ 169198 w 313348"/>
                  <a:gd name="connsiteY11" fmla="*/ 299037 h 338397"/>
                  <a:gd name="connsiteX12" fmla="*/ 157952 w 313348"/>
                  <a:gd name="connsiteY12" fmla="*/ 326129 h 338397"/>
                  <a:gd name="connsiteX13" fmla="*/ 115014 w 313348"/>
                  <a:gd name="connsiteY13" fmla="*/ 338397 h 338397"/>
                  <a:gd name="connsiteX14" fmla="*/ 85877 w 313348"/>
                  <a:gd name="connsiteY14" fmla="*/ 323573 h 338397"/>
                  <a:gd name="connsiteX15" fmla="*/ 78720 w 313348"/>
                  <a:gd name="connsiteY15" fmla="*/ 313861 h 338397"/>
                  <a:gd name="connsiteX16" fmla="*/ 30159 w 313348"/>
                  <a:gd name="connsiteY16" fmla="*/ 301081 h 338397"/>
                  <a:gd name="connsiteX17" fmla="*/ 1022 w 313348"/>
                  <a:gd name="connsiteY17" fmla="*/ 284213 h 338397"/>
                  <a:gd name="connsiteX18" fmla="*/ 1534 w 313348"/>
                  <a:gd name="connsiteY18" fmla="*/ 263766 h 338397"/>
                  <a:gd name="connsiteX19" fmla="*/ 55206 w 313348"/>
                  <a:gd name="connsiteY19" fmla="*/ 230539 h 338397"/>
                  <a:gd name="connsiteX20" fmla="*/ 0 w 313348"/>
                  <a:gd name="connsiteY20" fmla="*/ 151308 h 338397"/>
                  <a:gd name="connsiteX21" fmla="*/ 67475 w 313348"/>
                  <a:gd name="connsiteY21" fmla="*/ 89967 h 338397"/>
                  <a:gd name="connsiteX22" fmla="*/ 112969 w 313348"/>
                  <a:gd name="connsiteY22" fmla="*/ 43450 h 338397"/>
                  <a:gd name="connsiteX23" fmla="*/ 176354 w 313348"/>
                  <a:gd name="connsiteY23" fmla="*/ 32204 h 338397"/>
                  <a:gd name="connsiteX24" fmla="*/ 200379 w 313348"/>
                  <a:gd name="connsiteY24" fmla="*/ 1022 h 338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13348" h="338397">
                    <a:moveTo>
                      <a:pt x="235139" y="0"/>
                    </a:moveTo>
                    <a:lnTo>
                      <a:pt x="247407" y="17380"/>
                    </a:lnTo>
                    <a:lnTo>
                      <a:pt x="265809" y="31693"/>
                    </a:lnTo>
                    <a:lnTo>
                      <a:pt x="278077" y="31182"/>
                    </a:lnTo>
                    <a:lnTo>
                      <a:pt x="309770" y="83321"/>
                    </a:lnTo>
                    <a:lnTo>
                      <a:pt x="313348" y="102235"/>
                    </a:lnTo>
                    <a:lnTo>
                      <a:pt x="313348" y="120126"/>
                    </a:lnTo>
                    <a:lnTo>
                      <a:pt x="242295" y="138017"/>
                    </a:lnTo>
                    <a:lnTo>
                      <a:pt x="243318" y="151308"/>
                    </a:lnTo>
                    <a:lnTo>
                      <a:pt x="272966" y="184023"/>
                    </a:lnTo>
                    <a:lnTo>
                      <a:pt x="253030" y="231562"/>
                    </a:lnTo>
                    <a:lnTo>
                      <a:pt x="169198" y="299037"/>
                    </a:lnTo>
                    <a:lnTo>
                      <a:pt x="157952" y="326129"/>
                    </a:lnTo>
                    <a:lnTo>
                      <a:pt x="115014" y="338397"/>
                    </a:lnTo>
                    <a:lnTo>
                      <a:pt x="85877" y="323573"/>
                    </a:lnTo>
                    <a:lnTo>
                      <a:pt x="78720" y="313861"/>
                    </a:lnTo>
                    <a:lnTo>
                      <a:pt x="30159" y="301081"/>
                    </a:lnTo>
                    <a:lnTo>
                      <a:pt x="1022" y="284213"/>
                    </a:lnTo>
                    <a:lnTo>
                      <a:pt x="1534" y="263766"/>
                    </a:lnTo>
                    <a:lnTo>
                      <a:pt x="55206" y="230539"/>
                    </a:lnTo>
                    <a:lnTo>
                      <a:pt x="0" y="151308"/>
                    </a:lnTo>
                    <a:lnTo>
                      <a:pt x="67475" y="89967"/>
                    </a:lnTo>
                    <a:lnTo>
                      <a:pt x="112969" y="43450"/>
                    </a:lnTo>
                    <a:lnTo>
                      <a:pt x="176354" y="32204"/>
                    </a:lnTo>
                    <a:lnTo>
                      <a:pt x="200379" y="1022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5" name="Freihandform: Form 74">
                <a:extLst>
                  <a:ext uri="{FF2B5EF4-FFF2-40B4-BE49-F238E27FC236}">
                    <a16:creationId xmlns:a16="http://schemas.microsoft.com/office/drawing/2014/main" id="{A0769022-0230-4BB7-994C-5723518C6C37}"/>
                  </a:ext>
                </a:extLst>
              </p:cNvPr>
              <p:cNvSpPr/>
              <p:nvPr/>
            </p:nvSpPr>
            <p:spPr>
              <a:xfrm>
                <a:off x="5974444" y="1517322"/>
                <a:ext cx="342996" cy="328173"/>
              </a:xfrm>
              <a:custGeom>
                <a:avLst/>
                <a:gdLst>
                  <a:gd name="connsiteX0" fmla="*/ 342996 w 342996"/>
                  <a:gd name="connsiteY0" fmla="*/ 219805 h 328173"/>
                  <a:gd name="connsiteX1" fmla="*/ 333284 w 342996"/>
                  <a:gd name="connsiteY1" fmla="*/ 316928 h 328173"/>
                  <a:gd name="connsiteX2" fmla="*/ 232583 w 342996"/>
                  <a:gd name="connsiteY2" fmla="*/ 321017 h 328173"/>
                  <a:gd name="connsiteX3" fmla="*/ 173287 w 342996"/>
                  <a:gd name="connsiteY3" fmla="*/ 300570 h 328173"/>
                  <a:gd name="connsiteX4" fmla="*/ 141083 w 342996"/>
                  <a:gd name="connsiteY4" fmla="*/ 328174 h 328173"/>
                  <a:gd name="connsiteX5" fmla="*/ 90477 w 342996"/>
                  <a:gd name="connsiteY5" fmla="*/ 324084 h 328173"/>
                  <a:gd name="connsiteX6" fmla="*/ 25047 w 342996"/>
                  <a:gd name="connsiteY6" fmla="*/ 301081 h 328173"/>
                  <a:gd name="connsiteX7" fmla="*/ 511 w 342996"/>
                  <a:gd name="connsiteY7" fmla="*/ 272967 h 328173"/>
                  <a:gd name="connsiteX8" fmla="*/ 2045 w 342996"/>
                  <a:gd name="connsiteY8" fmla="*/ 258654 h 328173"/>
                  <a:gd name="connsiteX9" fmla="*/ 26070 w 342996"/>
                  <a:gd name="connsiteY9" fmla="*/ 232073 h 328173"/>
                  <a:gd name="connsiteX10" fmla="*/ 0 w 342996"/>
                  <a:gd name="connsiteY10" fmla="*/ 197824 h 328173"/>
                  <a:gd name="connsiteX11" fmla="*/ 33737 w 342996"/>
                  <a:gd name="connsiteY11" fmla="*/ 162042 h 328173"/>
                  <a:gd name="connsiteX12" fmla="*/ 52651 w 342996"/>
                  <a:gd name="connsiteY12" fmla="*/ 151308 h 328173"/>
                  <a:gd name="connsiteX13" fmla="*/ 74631 w 342996"/>
                  <a:gd name="connsiteY13" fmla="*/ 163064 h 328173"/>
                  <a:gd name="connsiteX14" fmla="*/ 104790 w 342996"/>
                  <a:gd name="connsiteY14" fmla="*/ 141084 h 328173"/>
                  <a:gd name="connsiteX15" fmla="*/ 106835 w 342996"/>
                  <a:gd name="connsiteY15" fmla="*/ 123193 h 328173"/>
                  <a:gd name="connsiteX16" fmla="*/ 83321 w 342996"/>
                  <a:gd name="connsiteY16" fmla="*/ 91500 h 328173"/>
                  <a:gd name="connsiteX17" fmla="*/ 64919 w 342996"/>
                  <a:gd name="connsiteY17" fmla="*/ 56229 h 328173"/>
                  <a:gd name="connsiteX18" fmla="*/ 78209 w 342996"/>
                  <a:gd name="connsiteY18" fmla="*/ 57251 h 328173"/>
                  <a:gd name="connsiteX19" fmla="*/ 111947 w 342996"/>
                  <a:gd name="connsiteY19" fmla="*/ 1534 h 328173"/>
                  <a:gd name="connsiteX20" fmla="*/ 143128 w 342996"/>
                  <a:gd name="connsiteY20" fmla="*/ 0 h 328173"/>
                  <a:gd name="connsiteX21" fmla="*/ 186066 w 342996"/>
                  <a:gd name="connsiteY21" fmla="*/ 49073 h 328173"/>
                  <a:gd name="connsiteX22" fmla="*/ 211625 w 342996"/>
                  <a:gd name="connsiteY22" fmla="*/ 41916 h 328173"/>
                  <a:gd name="connsiteX23" fmla="*/ 244851 w 342996"/>
                  <a:gd name="connsiteY23" fmla="*/ 69520 h 328173"/>
                  <a:gd name="connsiteX24" fmla="*/ 309259 w 342996"/>
                  <a:gd name="connsiteY24" fmla="*/ 144151 h 328173"/>
                  <a:gd name="connsiteX25" fmla="*/ 315393 w 342996"/>
                  <a:gd name="connsiteY25" fmla="*/ 163064 h 328173"/>
                  <a:gd name="connsiteX26" fmla="*/ 313859 w 342996"/>
                  <a:gd name="connsiteY26" fmla="*/ 182489 h 328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42996" h="328173">
                    <a:moveTo>
                      <a:pt x="342996" y="219805"/>
                    </a:moveTo>
                    <a:lnTo>
                      <a:pt x="333284" y="316928"/>
                    </a:lnTo>
                    <a:lnTo>
                      <a:pt x="232583" y="321017"/>
                    </a:lnTo>
                    <a:lnTo>
                      <a:pt x="173287" y="300570"/>
                    </a:lnTo>
                    <a:lnTo>
                      <a:pt x="141083" y="328174"/>
                    </a:lnTo>
                    <a:lnTo>
                      <a:pt x="90477" y="324084"/>
                    </a:lnTo>
                    <a:lnTo>
                      <a:pt x="25047" y="301081"/>
                    </a:lnTo>
                    <a:lnTo>
                      <a:pt x="511" y="272967"/>
                    </a:lnTo>
                    <a:lnTo>
                      <a:pt x="2045" y="258654"/>
                    </a:lnTo>
                    <a:lnTo>
                      <a:pt x="26070" y="232073"/>
                    </a:lnTo>
                    <a:lnTo>
                      <a:pt x="0" y="197824"/>
                    </a:lnTo>
                    <a:lnTo>
                      <a:pt x="33737" y="162042"/>
                    </a:lnTo>
                    <a:lnTo>
                      <a:pt x="52651" y="151308"/>
                    </a:lnTo>
                    <a:lnTo>
                      <a:pt x="74631" y="163064"/>
                    </a:lnTo>
                    <a:lnTo>
                      <a:pt x="104790" y="141084"/>
                    </a:lnTo>
                    <a:lnTo>
                      <a:pt x="106835" y="123193"/>
                    </a:lnTo>
                    <a:lnTo>
                      <a:pt x="83321" y="91500"/>
                    </a:lnTo>
                    <a:lnTo>
                      <a:pt x="64919" y="56229"/>
                    </a:lnTo>
                    <a:lnTo>
                      <a:pt x="78209" y="57251"/>
                    </a:lnTo>
                    <a:lnTo>
                      <a:pt x="111947" y="1534"/>
                    </a:lnTo>
                    <a:lnTo>
                      <a:pt x="143128" y="0"/>
                    </a:lnTo>
                    <a:lnTo>
                      <a:pt x="186066" y="49073"/>
                    </a:lnTo>
                    <a:lnTo>
                      <a:pt x="211625" y="41916"/>
                    </a:lnTo>
                    <a:lnTo>
                      <a:pt x="244851" y="69520"/>
                    </a:lnTo>
                    <a:lnTo>
                      <a:pt x="309259" y="144151"/>
                    </a:lnTo>
                    <a:lnTo>
                      <a:pt x="315393" y="163064"/>
                    </a:lnTo>
                    <a:lnTo>
                      <a:pt x="313859" y="182489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6" name="Freihandform: Form 75">
                <a:extLst>
                  <a:ext uri="{FF2B5EF4-FFF2-40B4-BE49-F238E27FC236}">
                    <a16:creationId xmlns:a16="http://schemas.microsoft.com/office/drawing/2014/main" id="{ED2A5F40-C017-48AF-810A-A40F5F6B6B79}"/>
                  </a:ext>
                </a:extLst>
              </p:cNvPr>
              <p:cNvSpPr/>
              <p:nvPr/>
            </p:nvSpPr>
            <p:spPr>
              <a:xfrm>
                <a:off x="5854830" y="1715146"/>
                <a:ext cx="472322" cy="425807"/>
              </a:xfrm>
              <a:custGeom>
                <a:avLst/>
                <a:gdLst>
                  <a:gd name="connsiteX0" fmla="*/ 352197 w 472322"/>
                  <a:gd name="connsiteY0" fmla="*/ 123193 h 425807"/>
                  <a:gd name="connsiteX1" fmla="*/ 328683 w 472322"/>
                  <a:gd name="connsiteY1" fmla="*/ 211626 h 425807"/>
                  <a:gd name="connsiteX2" fmla="*/ 419672 w 472322"/>
                  <a:gd name="connsiteY2" fmla="*/ 240252 h 425807"/>
                  <a:gd name="connsiteX3" fmla="*/ 436029 w 472322"/>
                  <a:gd name="connsiteY3" fmla="*/ 224405 h 425807"/>
                  <a:gd name="connsiteX4" fmla="*/ 472322 w 472322"/>
                  <a:gd name="connsiteY4" fmla="*/ 278590 h 425807"/>
                  <a:gd name="connsiteX5" fmla="*/ 441652 w 472322"/>
                  <a:gd name="connsiteY5" fmla="*/ 317439 h 425807"/>
                  <a:gd name="connsiteX6" fmla="*/ 465166 w 472322"/>
                  <a:gd name="connsiteY6" fmla="*/ 350154 h 425807"/>
                  <a:gd name="connsiteX7" fmla="*/ 384912 w 472322"/>
                  <a:gd name="connsiteY7" fmla="*/ 425808 h 425807"/>
                  <a:gd name="connsiteX8" fmla="*/ 356798 w 472322"/>
                  <a:gd name="connsiteY8" fmla="*/ 422230 h 425807"/>
                  <a:gd name="connsiteX9" fmla="*/ 316926 w 472322"/>
                  <a:gd name="connsiteY9" fmla="*/ 419674 h 425807"/>
                  <a:gd name="connsiteX10" fmla="*/ 298013 w 472322"/>
                  <a:gd name="connsiteY10" fmla="*/ 383892 h 425807"/>
                  <a:gd name="connsiteX11" fmla="*/ 248940 w 472322"/>
                  <a:gd name="connsiteY11" fmla="*/ 383892 h 425807"/>
                  <a:gd name="connsiteX12" fmla="*/ 162041 w 472322"/>
                  <a:gd name="connsiteY12" fmla="*/ 368556 h 425807"/>
                  <a:gd name="connsiteX13" fmla="*/ 107857 w 472322"/>
                  <a:gd name="connsiteY13" fmla="*/ 308749 h 425807"/>
                  <a:gd name="connsiteX14" fmla="*/ 125237 w 472322"/>
                  <a:gd name="connsiteY14" fmla="*/ 249964 h 425807"/>
                  <a:gd name="connsiteX15" fmla="*/ 88944 w 472322"/>
                  <a:gd name="connsiteY15" fmla="*/ 200380 h 425807"/>
                  <a:gd name="connsiteX16" fmla="*/ 58274 w 472322"/>
                  <a:gd name="connsiteY16" fmla="*/ 224917 h 425807"/>
                  <a:gd name="connsiteX17" fmla="*/ 30670 w 472322"/>
                  <a:gd name="connsiteY17" fmla="*/ 198847 h 425807"/>
                  <a:gd name="connsiteX18" fmla="*/ 1022 w 472322"/>
                  <a:gd name="connsiteY18" fmla="*/ 166132 h 425807"/>
                  <a:gd name="connsiteX19" fmla="*/ 0 w 472322"/>
                  <a:gd name="connsiteY19" fmla="*/ 152841 h 425807"/>
                  <a:gd name="connsiteX20" fmla="*/ 71053 w 472322"/>
                  <a:gd name="connsiteY20" fmla="*/ 134950 h 425807"/>
                  <a:gd name="connsiteX21" fmla="*/ 71053 w 472322"/>
                  <a:gd name="connsiteY21" fmla="*/ 117059 h 425807"/>
                  <a:gd name="connsiteX22" fmla="*/ 67475 w 472322"/>
                  <a:gd name="connsiteY22" fmla="*/ 98145 h 425807"/>
                  <a:gd name="connsiteX23" fmla="*/ 35782 w 472322"/>
                  <a:gd name="connsiteY23" fmla="*/ 46006 h 425807"/>
                  <a:gd name="connsiteX24" fmla="*/ 23514 w 472322"/>
                  <a:gd name="connsiteY24" fmla="*/ 46517 h 425807"/>
                  <a:gd name="connsiteX25" fmla="*/ 5112 w 472322"/>
                  <a:gd name="connsiteY25" fmla="*/ 32204 h 425807"/>
                  <a:gd name="connsiteX26" fmla="*/ 88944 w 472322"/>
                  <a:gd name="connsiteY26" fmla="*/ 16869 h 425807"/>
                  <a:gd name="connsiteX27" fmla="*/ 119614 w 472322"/>
                  <a:gd name="connsiteY27" fmla="*/ 0 h 425807"/>
                  <a:gd name="connsiteX28" fmla="*/ 145684 w 472322"/>
                  <a:gd name="connsiteY28" fmla="*/ 34249 h 425807"/>
                  <a:gd name="connsiteX29" fmla="*/ 121659 w 472322"/>
                  <a:gd name="connsiteY29" fmla="*/ 60830 h 425807"/>
                  <a:gd name="connsiteX30" fmla="*/ 120125 w 472322"/>
                  <a:gd name="connsiteY30" fmla="*/ 75143 h 425807"/>
                  <a:gd name="connsiteX31" fmla="*/ 144662 w 472322"/>
                  <a:gd name="connsiteY31" fmla="*/ 103257 h 425807"/>
                  <a:gd name="connsiteX32" fmla="*/ 210091 w 472322"/>
                  <a:gd name="connsiteY32" fmla="*/ 126260 h 425807"/>
                  <a:gd name="connsiteX33" fmla="*/ 260697 w 472322"/>
                  <a:gd name="connsiteY33" fmla="*/ 130349 h 425807"/>
                  <a:gd name="connsiteX34" fmla="*/ 292901 w 472322"/>
                  <a:gd name="connsiteY34" fmla="*/ 102746 h 425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472322" h="425807">
                    <a:moveTo>
                      <a:pt x="352197" y="123193"/>
                    </a:moveTo>
                    <a:lnTo>
                      <a:pt x="328683" y="211626"/>
                    </a:lnTo>
                    <a:lnTo>
                      <a:pt x="419672" y="240252"/>
                    </a:lnTo>
                    <a:lnTo>
                      <a:pt x="436029" y="224405"/>
                    </a:lnTo>
                    <a:lnTo>
                      <a:pt x="472322" y="278590"/>
                    </a:lnTo>
                    <a:lnTo>
                      <a:pt x="441652" y="317439"/>
                    </a:lnTo>
                    <a:lnTo>
                      <a:pt x="465166" y="350154"/>
                    </a:lnTo>
                    <a:lnTo>
                      <a:pt x="384912" y="425808"/>
                    </a:lnTo>
                    <a:lnTo>
                      <a:pt x="356798" y="422230"/>
                    </a:lnTo>
                    <a:lnTo>
                      <a:pt x="316926" y="419674"/>
                    </a:lnTo>
                    <a:lnTo>
                      <a:pt x="298013" y="383892"/>
                    </a:lnTo>
                    <a:lnTo>
                      <a:pt x="248940" y="383892"/>
                    </a:lnTo>
                    <a:lnTo>
                      <a:pt x="162041" y="368556"/>
                    </a:lnTo>
                    <a:lnTo>
                      <a:pt x="107857" y="308749"/>
                    </a:lnTo>
                    <a:lnTo>
                      <a:pt x="125237" y="249964"/>
                    </a:lnTo>
                    <a:lnTo>
                      <a:pt x="88944" y="200380"/>
                    </a:lnTo>
                    <a:lnTo>
                      <a:pt x="58274" y="224917"/>
                    </a:lnTo>
                    <a:lnTo>
                      <a:pt x="30670" y="198847"/>
                    </a:lnTo>
                    <a:lnTo>
                      <a:pt x="1022" y="166132"/>
                    </a:lnTo>
                    <a:lnTo>
                      <a:pt x="0" y="152841"/>
                    </a:lnTo>
                    <a:lnTo>
                      <a:pt x="71053" y="134950"/>
                    </a:lnTo>
                    <a:lnTo>
                      <a:pt x="71053" y="117059"/>
                    </a:lnTo>
                    <a:lnTo>
                      <a:pt x="67475" y="98145"/>
                    </a:lnTo>
                    <a:lnTo>
                      <a:pt x="35782" y="46006"/>
                    </a:lnTo>
                    <a:lnTo>
                      <a:pt x="23514" y="46517"/>
                    </a:lnTo>
                    <a:lnTo>
                      <a:pt x="5112" y="32204"/>
                    </a:lnTo>
                    <a:lnTo>
                      <a:pt x="88944" y="16869"/>
                    </a:lnTo>
                    <a:lnTo>
                      <a:pt x="119614" y="0"/>
                    </a:lnTo>
                    <a:lnTo>
                      <a:pt x="145684" y="34249"/>
                    </a:lnTo>
                    <a:lnTo>
                      <a:pt x="121659" y="60830"/>
                    </a:lnTo>
                    <a:lnTo>
                      <a:pt x="120125" y="75143"/>
                    </a:lnTo>
                    <a:lnTo>
                      <a:pt x="144662" y="103257"/>
                    </a:lnTo>
                    <a:lnTo>
                      <a:pt x="210091" y="126260"/>
                    </a:lnTo>
                    <a:lnTo>
                      <a:pt x="260697" y="130349"/>
                    </a:lnTo>
                    <a:lnTo>
                      <a:pt x="292901" y="102746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7" name="Freihandform: Form 76">
                <a:extLst>
                  <a:ext uri="{FF2B5EF4-FFF2-40B4-BE49-F238E27FC236}">
                    <a16:creationId xmlns:a16="http://schemas.microsoft.com/office/drawing/2014/main" id="{7D2D000C-7099-42D3-A86E-C502D28636E1}"/>
                  </a:ext>
                </a:extLst>
              </p:cNvPr>
              <p:cNvSpPr/>
              <p:nvPr/>
            </p:nvSpPr>
            <p:spPr>
              <a:xfrm>
                <a:off x="5783266" y="2353091"/>
                <a:ext cx="244851" cy="574559"/>
              </a:xfrm>
              <a:custGeom>
                <a:avLst/>
                <a:gdLst>
                  <a:gd name="connsiteX0" fmla="*/ 138016 w 244851"/>
                  <a:gd name="connsiteY0" fmla="*/ 3578 h 574559"/>
                  <a:gd name="connsiteX1" fmla="*/ 165620 w 244851"/>
                  <a:gd name="connsiteY1" fmla="*/ 0 h 574559"/>
                  <a:gd name="connsiteX2" fmla="*/ 198335 w 244851"/>
                  <a:gd name="connsiteY2" fmla="*/ 86388 h 574559"/>
                  <a:gd name="connsiteX3" fmla="*/ 244851 w 244851"/>
                  <a:gd name="connsiteY3" fmla="*/ 128816 h 574559"/>
                  <a:gd name="connsiteX4" fmla="*/ 240762 w 244851"/>
                  <a:gd name="connsiteY4" fmla="*/ 237185 h 574559"/>
                  <a:gd name="connsiteX5" fmla="*/ 124215 w 244851"/>
                  <a:gd name="connsiteY5" fmla="*/ 398204 h 574559"/>
                  <a:gd name="connsiteX6" fmla="*/ 131371 w 244851"/>
                  <a:gd name="connsiteY6" fmla="*/ 428875 h 574559"/>
                  <a:gd name="connsiteX7" fmla="*/ 168687 w 244851"/>
                  <a:gd name="connsiteY7" fmla="*/ 439610 h 574559"/>
                  <a:gd name="connsiteX8" fmla="*/ 196801 w 244851"/>
                  <a:gd name="connsiteY8" fmla="*/ 527020 h 574559"/>
                  <a:gd name="connsiteX9" fmla="*/ 152329 w 244851"/>
                  <a:gd name="connsiteY9" fmla="*/ 541844 h 574559"/>
                  <a:gd name="connsiteX10" fmla="*/ 168687 w 244851"/>
                  <a:gd name="connsiteY10" fmla="*/ 574560 h 574559"/>
                  <a:gd name="connsiteX11" fmla="*/ 116036 w 244851"/>
                  <a:gd name="connsiteY11" fmla="*/ 570981 h 574559"/>
                  <a:gd name="connsiteX12" fmla="*/ 112458 w 244851"/>
                  <a:gd name="connsiteY12" fmla="*/ 561780 h 574559"/>
                  <a:gd name="connsiteX13" fmla="*/ 89966 w 244851"/>
                  <a:gd name="connsiteY13" fmla="*/ 568937 h 574559"/>
                  <a:gd name="connsiteX14" fmla="*/ 72075 w 244851"/>
                  <a:gd name="connsiteY14" fmla="*/ 557691 h 574559"/>
                  <a:gd name="connsiteX15" fmla="*/ 61341 w 244851"/>
                  <a:gd name="connsiteY15" fmla="*/ 573537 h 574559"/>
                  <a:gd name="connsiteX16" fmla="*/ 46005 w 244851"/>
                  <a:gd name="connsiteY16" fmla="*/ 570470 h 574559"/>
                  <a:gd name="connsiteX17" fmla="*/ 42938 w 244851"/>
                  <a:gd name="connsiteY17" fmla="*/ 543889 h 574559"/>
                  <a:gd name="connsiteX18" fmla="*/ 24025 w 244851"/>
                  <a:gd name="connsiteY18" fmla="*/ 514752 h 574559"/>
                  <a:gd name="connsiteX19" fmla="*/ 30670 w 244851"/>
                  <a:gd name="connsiteY19" fmla="*/ 499417 h 574559"/>
                  <a:gd name="connsiteX20" fmla="*/ 67986 w 244851"/>
                  <a:gd name="connsiteY20" fmla="*/ 417629 h 574559"/>
                  <a:gd name="connsiteX21" fmla="*/ 85877 w 244851"/>
                  <a:gd name="connsiteY21" fmla="*/ 397182 h 574559"/>
                  <a:gd name="connsiteX22" fmla="*/ 97123 w 244851"/>
                  <a:gd name="connsiteY22" fmla="*/ 351177 h 574559"/>
                  <a:gd name="connsiteX23" fmla="*/ 77187 w 244851"/>
                  <a:gd name="connsiteY23" fmla="*/ 337375 h 574559"/>
                  <a:gd name="connsiteX24" fmla="*/ 51628 w 244851"/>
                  <a:gd name="connsiteY24" fmla="*/ 325107 h 574559"/>
                  <a:gd name="connsiteX25" fmla="*/ 0 w 244851"/>
                  <a:gd name="connsiteY25" fmla="*/ 299548 h 574559"/>
                  <a:gd name="connsiteX26" fmla="*/ 41916 w 244851"/>
                  <a:gd name="connsiteY26" fmla="*/ 246897 h 574559"/>
                  <a:gd name="connsiteX27" fmla="*/ 124215 w 244851"/>
                  <a:gd name="connsiteY27" fmla="*/ 215715 h 574559"/>
                  <a:gd name="connsiteX28" fmla="*/ 104279 w 244851"/>
                  <a:gd name="connsiteY28" fmla="*/ 166643 h 574559"/>
                  <a:gd name="connsiteX29" fmla="*/ 97634 w 244851"/>
                  <a:gd name="connsiteY29" fmla="*/ 101212 h 574559"/>
                  <a:gd name="connsiteX30" fmla="*/ 177376 w 244851"/>
                  <a:gd name="connsiteY30" fmla="*/ 111947 h 574559"/>
                  <a:gd name="connsiteX31" fmla="*/ 148240 w 244851"/>
                  <a:gd name="connsiteY31" fmla="*/ 64408 h 574559"/>
                  <a:gd name="connsiteX32" fmla="*/ 136994 w 244851"/>
                  <a:gd name="connsiteY32" fmla="*/ 25559 h 574559"/>
                  <a:gd name="connsiteX33" fmla="*/ 110413 w 244851"/>
                  <a:gd name="connsiteY33" fmla="*/ 1533 h 574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44851" h="574559">
                    <a:moveTo>
                      <a:pt x="138016" y="3578"/>
                    </a:moveTo>
                    <a:lnTo>
                      <a:pt x="165620" y="0"/>
                    </a:lnTo>
                    <a:lnTo>
                      <a:pt x="198335" y="86388"/>
                    </a:lnTo>
                    <a:lnTo>
                      <a:pt x="244851" y="128816"/>
                    </a:lnTo>
                    <a:lnTo>
                      <a:pt x="240762" y="237185"/>
                    </a:lnTo>
                    <a:lnTo>
                      <a:pt x="124215" y="398204"/>
                    </a:lnTo>
                    <a:lnTo>
                      <a:pt x="131371" y="428875"/>
                    </a:lnTo>
                    <a:lnTo>
                      <a:pt x="168687" y="439610"/>
                    </a:lnTo>
                    <a:lnTo>
                      <a:pt x="196801" y="527020"/>
                    </a:lnTo>
                    <a:lnTo>
                      <a:pt x="152329" y="541844"/>
                    </a:lnTo>
                    <a:lnTo>
                      <a:pt x="168687" y="574560"/>
                    </a:lnTo>
                    <a:lnTo>
                      <a:pt x="116036" y="570981"/>
                    </a:lnTo>
                    <a:lnTo>
                      <a:pt x="112458" y="561780"/>
                    </a:lnTo>
                    <a:lnTo>
                      <a:pt x="89966" y="568937"/>
                    </a:lnTo>
                    <a:lnTo>
                      <a:pt x="72075" y="557691"/>
                    </a:lnTo>
                    <a:lnTo>
                      <a:pt x="61341" y="573537"/>
                    </a:lnTo>
                    <a:lnTo>
                      <a:pt x="46005" y="570470"/>
                    </a:lnTo>
                    <a:lnTo>
                      <a:pt x="42938" y="543889"/>
                    </a:lnTo>
                    <a:lnTo>
                      <a:pt x="24025" y="514752"/>
                    </a:lnTo>
                    <a:lnTo>
                      <a:pt x="30670" y="499417"/>
                    </a:lnTo>
                    <a:lnTo>
                      <a:pt x="67986" y="417629"/>
                    </a:lnTo>
                    <a:lnTo>
                      <a:pt x="85877" y="397182"/>
                    </a:lnTo>
                    <a:lnTo>
                      <a:pt x="97123" y="351177"/>
                    </a:lnTo>
                    <a:lnTo>
                      <a:pt x="77187" y="337375"/>
                    </a:lnTo>
                    <a:lnTo>
                      <a:pt x="51628" y="325107"/>
                    </a:lnTo>
                    <a:lnTo>
                      <a:pt x="0" y="299548"/>
                    </a:lnTo>
                    <a:lnTo>
                      <a:pt x="41916" y="246897"/>
                    </a:lnTo>
                    <a:lnTo>
                      <a:pt x="124215" y="215715"/>
                    </a:lnTo>
                    <a:lnTo>
                      <a:pt x="104279" y="166643"/>
                    </a:lnTo>
                    <a:lnTo>
                      <a:pt x="97634" y="101212"/>
                    </a:lnTo>
                    <a:lnTo>
                      <a:pt x="177376" y="111947"/>
                    </a:lnTo>
                    <a:lnTo>
                      <a:pt x="148240" y="64408"/>
                    </a:lnTo>
                    <a:lnTo>
                      <a:pt x="136994" y="25559"/>
                    </a:lnTo>
                    <a:lnTo>
                      <a:pt x="110413" y="1533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" name="Freihandform: Form 77">
                <a:extLst>
                  <a:ext uri="{FF2B5EF4-FFF2-40B4-BE49-F238E27FC236}">
                    <a16:creationId xmlns:a16="http://schemas.microsoft.com/office/drawing/2014/main" id="{04F56753-C8B1-4611-8ACB-8B1313BC8E0A}"/>
                  </a:ext>
                </a:extLst>
              </p:cNvPr>
              <p:cNvSpPr/>
              <p:nvPr/>
            </p:nvSpPr>
            <p:spPr>
              <a:xfrm>
                <a:off x="5580843" y="1913993"/>
                <a:ext cx="653277" cy="451366"/>
              </a:xfrm>
              <a:custGeom>
                <a:avLst/>
                <a:gdLst>
                  <a:gd name="connsiteX0" fmla="*/ 630786 w 653277"/>
                  <a:gd name="connsiteY0" fmla="*/ 222872 h 451366"/>
                  <a:gd name="connsiteX1" fmla="*/ 597559 w 653277"/>
                  <a:gd name="connsiteY1" fmla="*/ 266322 h 451366"/>
                  <a:gd name="connsiteX2" fmla="*/ 653277 w 653277"/>
                  <a:gd name="connsiteY2" fmla="*/ 301081 h 451366"/>
                  <a:gd name="connsiteX3" fmla="*/ 619540 w 653277"/>
                  <a:gd name="connsiteY3" fmla="*/ 360889 h 451366"/>
                  <a:gd name="connsiteX4" fmla="*/ 521906 w 653277"/>
                  <a:gd name="connsiteY4" fmla="*/ 379291 h 451366"/>
                  <a:gd name="connsiteX5" fmla="*/ 409448 w 653277"/>
                  <a:gd name="connsiteY5" fmla="*/ 351688 h 451366"/>
                  <a:gd name="connsiteX6" fmla="*/ 351175 w 653277"/>
                  <a:gd name="connsiteY6" fmla="*/ 393604 h 451366"/>
                  <a:gd name="connsiteX7" fmla="*/ 368043 w 653277"/>
                  <a:gd name="connsiteY7" fmla="*/ 439098 h 451366"/>
                  <a:gd name="connsiteX8" fmla="*/ 351686 w 653277"/>
                  <a:gd name="connsiteY8" fmla="*/ 441143 h 451366"/>
                  <a:gd name="connsiteX9" fmla="*/ 340440 w 653277"/>
                  <a:gd name="connsiteY9" fmla="*/ 442677 h 451366"/>
                  <a:gd name="connsiteX10" fmla="*/ 312837 w 653277"/>
                  <a:gd name="connsiteY10" fmla="*/ 440632 h 451366"/>
                  <a:gd name="connsiteX11" fmla="*/ 280122 w 653277"/>
                  <a:gd name="connsiteY11" fmla="*/ 440121 h 451366"/>
                  <a:gd name="connsiteX12" fmla="*/ 215714 w 653277"/>
                  <a:gd name="connsiteY12" fmla="*/ 400760 h 451366"/>
                  <a:gd name="connsiteX13" fmla="*/ 170731 w 653277"/>
                  <a:gd name="connsiteY13" fmla="*/ 413540 h 451366"/>
                  <a:gd name="connsiteX14" fmla="*/ 149262 w 653277"/>
                  <a:gd name="connsiteY14" fmla="*/ 406383 h 451366"/>
                  <a:gd name="connsiteX15" fmla="*/ 120636 w 653277"/>
                  <a:gd name="connsiteY15" fmla="*/ 448299 h 451366"/>
                  <a:gd name="connsiteX16" fmla="*/ 44472 w 653277"/>
                  <a:gd name="connsiteY16" fmla="*/ 451367 h 451366"/>
                  <a:gd name="connsiteX17" fmla="*/ 23514 w 653277"/>
                  <a:gd name="connsiteY17" fmla="*/ 424786 h 451366"/>
                  <a:gd name="connsiteX18" fmla="*/ 0 w 653277"/>
                  <a:gd name="connsiteY18" fmla="*/ 402805 h 451366"/>
                  <a:gd name="connsiteX19" fmla="*/ 67475 w 653277"/>
                  <a:gd name="connsiteY19" fmla="*/ 315394 h 451366"/>
                  <a:gd name="connsiteX20" fmla="*/ 117058 w 653277"/>
                  <a:gd name="connsiteY20" fmla="*/ 322551 h 451366"/>
                  <a:gd name="connsiteX21" fmla="*/ 176865 w 653277"/>
                  <a:gd name="connsiteY21" fmla="*/ 306193 h 451366"/>
                  <a:gd name="connsiteX22" fmla="*/ 210091 w 653277"/>
                  <a:gd name="connsiteY22" fmla="*/ 333797 h 451366"/>
                  <a:gd name="connsiteX23" fmla="*/ 223382 w 653277"/>
                  <a:gd name="connsiteY23" fmla="*/ 314883 h 451366"/>
                  <a:gd name="connsiteX24" fmla="*/ 200379 w 653277"/>
                  <a:gd name="connsiteY24" fmla="*/ 241274 h 451366"/>
                  <a:gd name="connsiteX25" fmla="*/ 167153 w 653277"/>
                  <a:gd name="connsiteY25" fmla="*/ 254565 h 451366"/>
                  <a:gd name="connsiteX26" fmla="*/ 147729 w 653277"/>
                  <a:gd name="connsiteY26" fmla="*/ 206514 h 451366"/>
                  <a:gd name="connsiteX27" fmla="*/ 146706 w 653277"/>
                  <a:gd name="connsiteY27" fmla="*/ 154374 h 451366"/>
                  <a:gd name="connsiteX28" fmla="*/ 189645 w 653277"/>
                  <a:gd name="connsiteY28" fmla="*/ 142106 h 451366"/>
                  <a:gd name="connsiteX29" fmla="*/ 200890 w 653277"/>
                  <a:gd name="connsiteY29" fmla="*/ 115014 h 451366"/>
                  <a:gd name="connsiteX30" fmla="*/ 284722 w 653277"/>
                  <a:gd name="connsiteY30" fmla="*/ 47539 h 451366"/>
                  <a:gd name="connsiteX31" fmla="*/ 304658 w 653277"/>
                  <a:gd name="connsiteY31" fmla="*/ 0 h 451366"/>
                  <a:gd name="connsiteX32" fmla="*/ 332261 w 653277"/>
                  <a:gd name="connsiteY32" fmla="*/ 26070 h 451366"/>
                  <a:gd name="connsiteX33" fmla="*/ 362932 w 653277"/>
                  <a:gd name="connsiteY33" fmla="*/ 1533 h 451366"/>
                  <a:gd name="connsiteX34" fmla="*/ 399225 w 653277"/>
                  <a:gd name="connsiteY34" fmla="*/ 51117 h 451366"/>
                  <a:gd name="connsiteX35" fmla="*/ 381845 w 653277"/>
                  <a:gd name="connsiteY35" fmla="*/ 109902 h 451366"/>
                  <a:gd name="connsiteX36" fmla="*/ 436029 w 653277"/>
                  <a:gd name="connsiteY36" fmla="*/ 169710 h 451366"/>
                  <a:gd name="connsiteX37" fmla="*/ 522928 w 653277"/>
                  <a:gd name="connsiteY37" fmla="*/ 185045 h 451366"/>
                  <a:gd name="connsiteX38" fmla="*/ 572001 w 653277"/>
                  <a:gd name="connsiteY38" fmla="*/ 185045 h 451366"/>
                  <a:gd name="connsiteX39" fmla="*/ 590914 w 653277"/>
                  <a:gd name="connsiteY39" fmla="*/ 220827 h 451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653277" h="451366">
                    <a:moveTo>
                      <a:pt x="630786" y="222872"/>
                    </a:moveTo>
                    <a:lnTo>
                      <a:pt x="597559" y="266322"/>
                    </a:lnTo>
                    <a:lnTo>
                      <a:pt x="653277" y="301081"/>
                    </a:lnTo>
                    <a:lnTo>
                      <a:pt x="619540" y="360889"/>
                    </a:lnTo>
                    <a:lnTo>
                      <a:pt x="521906" y="379291"/>
                    </a:lnTo>
                    <a:lnTo>
                      <a:pt x="409448" y="351688"/>
                    </a:lnTo>
                    <a:lnTo>
                      <a:pt x="351175" y="393604"/>
                    </a:lnTo>
                    <a:lnTo>
                      <a:pt x="368043" y="439098"/>
                    </a:lnTo>
                    <a:lnTo>
                      <a:pt x="351686" y="441143"/>
                    </a:lnTo>
                    <a:lnTo>
                      <a:pt x="340440" y="442677"/>
                    </a:lnTo>
                    <a:lnTo>
                      <a:pt x="312837" y="440632"/>
                    </a:lnTo>
                    <a:lnTo>
                      <a:pt x="280122" y="440121"/>
                    </a:lnTo>
                    <a:lnTo>
                      <a:pt x="215714" y="400760"/>
                    </a:lnTo>
                    <a:lnTo>
                      <a:pt x="170731" y="413540"/>
                    </a:lnTo>
                    <a:lnTo>
                      <a:pt x="149262" y="406383"/>
                    </a:lnTo>
                    <a:lnTo>
                      <a:pt x="120636" y="448299"/>
                    </a:lnTo>
                    <a:lnTo>
                      <a:pt x="44472" y="451367"/>
                    </a:lnTo>
                    <a:lnTo>
                      <a:pt x="23514" y="424786"/>
                    </a:lnTo>
                    <a:lnTo>
                      <a:pt x="0" y="402805"/>
                    </a:lnTo>
                    <a:lnTo>
                      <a:pt x="67475" y="315394"/>
                    </a:lnTo>
                    <a:lnTo>
                      <a:pt x="117058" y="322551"/>
                    </a:lnTo>
                    <a:lnTo>
                      <a:pt x="176865" y="306193"/>
                    </a:lnTo>
                    <a:lnTo>
                      <a:pt x="210091" y="333797"/>
                    </a:lnTo>
                    <a:lnTo>
                      <a:pt x="223382" y="314883"/>
                    </a:lnTo>
                    <a:lnTo>
                      <a:pt x="200379" y="241274"/>
                    </a:lnTo>
                    <a:lnTo>
                      <a:pt x="167153" y="254565"/>
                    </a:lnTo>
                    <a:lnTo>
                      <a:pt x="147729" y="206514"/>
                    </a:lnTo>
                    <a:lnTo>
                      <a:pt x="146706" y="154374"/>
                    </a:lnTo>
                    <a:lnTo>
                      <a:pt x="189645" y="142106"/>
                    </a:lnTo>
                    <a:lnTo>
                      <a:pt x="200890" y="115014"/>
                    </a:lnTo>
                    <a:lnTo>
                      <a:pt x="284722" y="47539"/>
                    </a:lnTo>
                    <a:lnTo>
                      <a:pt x="304658" y="0"/>
                    </a:lnTo>
                    <a:lnTo>
                      <a:pt x="332261" y="26070"/>
                    </a:lnTo>
                    <a:lnTo>
                      <a:pt x="362932" y="1533"/>
                    </a:lnTo>
                    <a:lnTo>
                      <a:pt x="399225" y="51117"/>
                    </a:lnTo>
                    <a:lnTo>
                      <a:pt x="381845" y="109902"/>
                    </a:lnTo>
                    <a:lnTo>
                      <a:pt x="436029" y="169710"/>
                    </a:lnTo>
                    <a:lnTo>
                      <a:pt x="522928" y="185045"/>
                    </a:lnTo>
                    <a:lnTo>
                      <a:pt x="572001" y="185045"/>
                    </a:lnTo>
                    <a:lnTo>
                      <a:pt x="590914" y="220827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9" name="Freihandform: Form 78">
                <a:extLst>
                  <a:ext uri="{FF2B5EF4-FFF2-40B4-BE49-F238E27FC236}">
                    <a16:creationId xmlns:a16="http://schemas.microsoft.com/office/drawing/2014/main" id="{F1D3D381-7E2E-498E-9A8A-E6C63E867DF3}"/>
                  </a:ext>
                </a:extLst>
              </p:cNvPr>
              <p:cNvSpPr/>
              <p:nvPr/>
            </p:nvSpPr>
            <p:spPr>
              <a:xfrm>
                <a:off x="5976489" y="1333299"/>
                <a:ext cx="73097" cy="39360"/>
              </a:xfrm>
              <a:custGeom>
                <a:avLst/>
                <a:gdLst>
                  <a:gd name="connsiteX0" fmla="*/ 15335 w 73097"/>
                  <a:gd name="connsiteY0" fmla="*/ 34249 h 39360"/>
                  <a:gd name="connsiteX1" fmla="*/ 12268 w 73097"/>
                  <a:gd name="connsiteY1" fmla="*/ 39360 h 39360"/>
                  <a:gd name="connsiteX2" fmla="*/ 0 w 73097"/>
                  <a:gd name="connsiteY2" fmla="*/ 37827 h 39360"/>
                  <a:gd name="connsiteX3" fmla="*/ 1022 w 73097"/>
                  <a:gd name="connsiteY3" fmla="*/ 15846 h 39360"/>
                  <a:gd name="connsiteX4" fmla="*/ 63896 w 73097"/>
                  <a:gd name="connsiteY4" fmla="*/ 0 h 39360"/>
                  <a:gd name="connsiteX5" fmla="*/ 73098 w 73097"/>
                  <a:gd name="connsiteY5" fmla="*/ 511 h 39360"/>
                  <a:gd name="connsiteX6" fmla="*/ 73098 w 73097"/>
                  <a:gd name="connsiteY6" fmla="*/ 7668 h 39360"/>
                  <a:gd name="connsiteX7" fmla="*/ 43961 w 73097"/>
                  <a:gd name="connsiteY7" fmla="*/ 25559 h 39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097" h="39360">
                    <a:moveTo>
                      <a:pt x="15335" y="34249"/>
                    </a:moveTo>
                    <a:lnTo>
                      <a:pt x="12268" y="39360"/>
                    </a:lnTo>
                    <a:lnTo>
                      <a:pt x="0" y="37827"/>
                    </a:lnTo>
                    <a:lnTo>
                      <a:pt x="1022" y="15846"/>
                    </a:lnTo>
                    <a:lnTo>
                      <a:pt x="63896" y="0"/>
                    </a:lnTo>
                    <a:lnTo>
                      <a:pt x="73098" y="511"/>
                    </a:lnTo>
                    <a:lnTo>
                      <a:pt x="73098" y="7668"/>
                    </a:lnTo>
                    <a:lnTo>
                      <a:pt x="43961" y="25559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" name="Freihandform: Form 79">
                <a:extLst>
                  <a:ext uri="{FF2B5EF4-FFF2-40B4-BE49-F238E27FC236}">
                    <a16:creationId xmlns:a16="http://schemas.microsoft.com/office/drawing/2014/main" id="{7C4569C5-8B4B-4EA3-A0AD-599DF72929C5}"/>
                  </a:ext>
                </a:extLst>
              </p:cNvPr>
              <p:cNvSpPr/>
              <p:nvPr/>
            </p:nvSpPr>
            <p:spPr>
              <a:xfrm>
                <a:off x="5801669" y="1354257"/>
                <a:ext cx="124725" cy="37826"/>
              </a:xfrm>
              <a:custGeom>
                <a:avLst/>
                <a:gdLst>
                  <a:gd name="connsiteX0" fmla="*/ 65941 w 124725"/>
                  <a:gd name="connsiteY0" fmla="*/ 29648 h 37826"/>
                  <a:gd name="connsiteX1" fmla="*/ 44983 w 124725"/>
                  <a:gd name="connsiteY1" fmla="*/ 29137 h 37826"/>
                  <a:gd name="connsiteX2" fmla="*/ 24536 w 124725"/>
                  <a:gd name="connsiteY2" fmla="*/ 37827 h 37826"/>
                  <a:gd name="connsiteX3" fmla="*/ 0 w 124725"/>
                  <a:gd name="connsiteY3" fmla="*/ 24536 h 37826"/>
                  <a:gd name="connsiteX4" fmla="*/ 3578 w 124725"/>
                  <a:gd name="connsiteY4" fmla="*/ 10735 h 37826"/>
                  <a:gd name="connsiteX5" fmla="*/ 124726 w 124725"/>
                  <a:gd name="connsiteY5" fmla="*/ 0 h 37826"/>
                  <a:gd name="connsiteX6" fmla="*/ 124215 w 124725"/>
                  <a:gd name="connsiteY6" fmla="*/ 13290 h 37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4725" h="37826">
                    <a:moveTo>
                      <a:pt x="65941" y="29648"/>
                    </a:moveTo>
                    <a:lnTo>
                      <a:pt x="44983" y="29137"/>
                    </a:lnTo>
                    <a:lnTo>
                      <a:pt x="24536" y="37827"/>
                    </a:lnTo>
                    <a:lnTo>
                      <a:pt x="0" y="24536"/>
                    </a:lnTo>
                    <a:lnTo>
                      <a:pt x="3578" y="10735"/>
                    </a:lnTo>
                    <a:lnTo>
                      <a:pt x="124726" y="0"/>
                    </a:lnTo>
                    <a:lnTo>
                      <a:pt x="124215" y="13290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Freihandform: Form 80">
                <a:extLst>
                  <a:ext uri="{FF2B5EF4-FFF2-40B4-BE49-F238E27FC236}">
                    <a16:creationId xmlns:a16="http://schemas.microsoft.com/office/drawing/2014/main" id="{77446C8E-DE37-4C7A-8394-6A27ED3408EC}"/>
                  </a:ext>
                </a:extLst>
              </p:cNvPr>
              <p:cNvSpPr/>
              <p:nvPr/>
            </p:nvSpPr>
            <p:spPr>
              <a:xfrm>
                <a:off x="5299698" y="2310664"/>
                <a:ext cx="660944" cy="341975"/>
              </a:xfrm>
              <a:custGeom>
                <a:avLst/>
                <a:gdLst>
                  <a:gd name="connsiteX0" fmla="*/ 620562 w 660944"/>
                  <a:gd name="connsiteY0" fmla="*/ 67986 h 341975"/>
                  <a:gd name="connsiteX1" fmla="*/ 593981 w 660944"/>
                  <a:gd name="connsiteY1" fmla="*/ 43961 h 341975"/>
                  <a:gd name="connsiteX2" fmla="*/ 561266 w 660944"/>
                  <a:gd name="connsiteY2" fmla="*/ 43450 h 341975"/>
                  <a:gd name="connsiteX3" fmla="*/ 496859 w 660944"/>
                  <a:gd name="connsiteY3" fmla="*/ 4089 h 341975"/>
                  <a:gd name="connsiteX4" fmla="*/ 451876 w 660944"/>
                  <a:gd name="connsiteY4" fmla="*/ 16869 h 341975"/>
                  <a:gd name="connsiteX5" fmla="*/ 430406 w 660944"/>
                  <a:gd name="connsiteY5" fmla="*/ 9712 h 341975"/>
                  <a:gd name="connsiteX6" fmla="*/ 401781 w 660944"/>
                  <a:gd name="connsiteY6" fmla="*/ 51628 h 341975"/>
                  <a:gd name="connsiteX7" fmla="*/ 325616 w 660944"/>
                  <a:gd name="connsiteY7" fmla="*/ 54696 h 341975"/>
                  <a:gd name="connsiteX8" fmla="*/ 304658 w 660944"/>
                  <a:gd name="connsiteY8" fmla="*/ 28115 h 341975"/>
                  <a:gd name="connsiteX9" fmla="*/ 281144 w 660944"/>
                  <a:gd name="connsiteY9" fmla="*/ 6134 h 341975"/>
                  <a:gd name="connsiteX10" fmla="*/ 248429 w 660944"/>
                  <a:gd name="connsiteY10" fmla="*/ 0 h 341975"/>
                  <a:gd name="connsiteX11" fmla="*/ 199357 w 660944"/>
                  <a:gd name="connsiteY11" fmla="*/ 21469 h 341975"/>
                  <a:gd name="connsiteX12" fmla="*/ 177888 w 660944"/>
                  <a:gd name="connsiteY12" fmla="*/ 55207 h 341975"/>
                  <a:gd name="connsiteX13" fmla="*/ 109391 w 660944"/>
                  <a:gd name="connsiteY13" fmla="*/ 74120 h 341975"/>
                  <a:gd name="connsiteX14" fmla="*/ 80254 w 660944"/>
                  <a:gd name="connsiteY14" fmla="*/ 66453 h 341975"/>
                  <a:gd name="connsiteX15" fmla="*/ 63896 w 660944"/>
                  <a:gd name="connsiteY15" fmla="*/ 72075 h 341975"/>
                  <a:gd name="connsiteX16" fmla="*/ 54695 w 660944"/>
                  <a:gd name="connsiteY16" fmla="*/ 92011 h 341975"/>
                  <a:gd name="connsiteX17" fmla="*/ 11246 w 660944"/>
                  <a:gd name="connsiteY17" fmla="*/ 105813 h 341975"/>
                  <a:gd name="connsiteX18" fmla="*/ 0 w 660944"/>
                  <a:gd name="connsiteY18" fmla="*/ 117059 h 341975"/>
                  <a:gd name="connsiteX19" fmla="*/ 15335 w 660944"/>
                  <a:gd name="connsiteY19" fmla="*/ 160509 h 341975"/>
                  <a:gd name="connsiteX20" fmla="*/ 2556 w 660944"/>
                  <a:gd name="connsiteY20" fmla="*/ 191690 h 341975"/>
                  <a:gd name="connsiteX21" fmla="*/ 21980 w 660944"/>
                  <a:gd name="connsiteY21" fmla="*/ 216227 h 341975"/>
                  <a:gd name="connsiteX22" fmla="*/ 21980 w 660944"/>
                  <a:gd name="connsiteY22" fmla="*/ 236162 h 341975"/>
                  <a:gd name="connsiteX23" fmla="*/ 35782 w 660944"/>
                  <a:gd name="connsiteY23" fmla="*/ 247408 h 341975"/>
                  <a:gd name="connsiteX24" fmla="*/ 73609 w 660944"/>
                  <a:gd name="connsiteY24" fmla="*/ 263766 h 341975"/>
                  <a:gd name="connsiteX25" fmla="*/ 72075 w 660944"/>
                  <a:gd name="connsiteY25" fmla="*/ 216738 h 341975"/>
                  <a:gd name="connsiteX26" fmla="*/ 113991 w 660944"/>
                  <a:gd name="connsiteY26" fmla="*/ 193735 h 341975"/>
                  <a:gd name="connsiteX27" fmla="*/ 117058 w 660944"/>
                  <a:gd name="connsiteY27" fmla="*/ 218782 h 341975"/>
                  <a:gd name="connsiteX28" fmla="*/ 161019 w 660944"/>
                  <a:gd name="connsiteY28" fmla="*/ 224917 h 341975"/>
                  <a:gd name="connsiteX29" fmla="*/ 204469 w 660944"/>
                  <a:gd name="connsiteY29" fmla="*/ 184534 h 341975"/>
                  <a:gd name="connsiteX30" fmla="*/ 228494 w 660944"/>
                  <a:gd name="connsiteY30" fmla="*/ 191179 h 341975"/>
                  <a:gd name="connsiteX31" fmla="*/ 215714 w 660944"/>
                  <a:gd name="connsiteY31" fmla="*/ 244852 h 341975"/>
                  <a:gd name="connsiteX32" fmla="*/ 267343 w 660944"/>
                  <a:gd name="connsiteY32" fmla="*/ 249453 h 341975"/>
                  <a:gd name="connsiteX33" fmla="*/ 298013 w 660944"/>
                  <a:gd name="connsiteY33" fmla="*/ 199358 h 341975"/>
                  <a:gd name="connsiteX34" fmla="*/ 324083 w 660944"/>
                  <a:gd name="connsiteY34" fmla="*/ 217760 h 341975"/>
                  <a:gd name="connsiteX35" fmla="*/ 312326 w 660944"/>
                  <a:gd name="connsiteY35" fmla="*/ 246897 h 341975"/>
                  <a:gd name="connsiteX36" fmla="*/ 361909 w 660944"/>
                  <a:gd name="connsiteY36" fmla="*/ 294436 h 341975"/>
                  <a:gd name="connsiteX37" fmla="*/ 365999 w 660944"/>
                  <a:gd name="connsiteY37" fmla="*/ 324084 h 341975"/>
                  <a:gd name="connsiteX38" fmla="*/ 434496 w 660944"/>
                  <a:gd name="connsiteY38" fmla="*/ 319484 h 341975"/>
                  <a:gd name="connsiteX39" fmla="*/ 458521 w 660944"/>
                  <a:gd name="connsiteY39" fmla="*/ 301593 h 341975"/>
                  <a:gd name="connsiteX40" fmla="*/ 483568 w 660944"/>
                  <a:gd name="connsiteY40" fmla="*/ 341975 h 341975"/>
                  <a:gd name="connsiteX41" fmla="*/ 525484 w 660944"/>
                  <a:gd name="connsiteY41" fmla="*/ 289324 h 341975"/>
                  <a:gd name="connsiteX42" fmla="*/ 607783 w 660944"/>
                  <a:gd name="connsiteY42" fmla="*/ 258143 h 341975"/>
                  <a:gd name="connsiteX43" fmla="*/ 587847 w 660944"/>
                  <a:gd name="connsiteY43" fmla="*/ 209070 h 341975"/>
                  <a:gd name="connsiteX44" fmla="*/ 581202 w 660944"/>
                  <a:gd name="connsiteY44" fmla="*/ 143640 h 341975"/>
                  <a:gd name="connsiteX45" fmla="*/ 660945 w 660944"/>
                  <a:gd name="connsiteY45" fmla="*/ 154374 h 341975"/>
                  <a:gd name="connsiteX46" fmla="*/ 631808 w 660944"/>
                  <a:gd name="connsiteY46" fmla="*/ 106835 h 34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</a:cxnLst>
                <a:rect l="l" t="t" r="r" b="b"/>
                <a:pathLst>
                  <a:path w="660944" h="341975">
                    <a:moveTo>
                      <a:pt x="620562" y="67986"/>
                    </a:moveTo>
                    <a:lnTo>
                      <a:pt x="593981" y="43961"/>
                    </a:lnTo>
                    <a:lnTo>
                      <a:pt x="561266" y="43450"/>
                    </a:lnTo>
                    <a:lnTo>
                      <a:pt x="496859" y="4089"/>
                    </a:lnTo>
                    <a:lnTo>
                      <a:pt x="451876" y="16869"/>
                    </a:lnTo>
                    <a:lnTo>
                      <a:pt x="430406" y="9712"/>
                    </a:lnTo>
                    <a:lnTo>
                      <a:pt x="401781" y="51628"/>
                    </a:lnTo>
                    <a:lnTo>
                      <a:pt x="325616" y="54696"/>
                    </a:lnTo>
                    <a:lnTo>
                      <a:pt x="304658" y="28115"/>
                    </a:lnTo>
                    <a:lnTo>
                      <a:pt x="281144" y="6134"/>
                    </a:lnTo>
                    <a:lnTo>
                      <a:pt x="248429" y="0"/>
                    </a:lnTo>
                    <a:lnTo>
                      <a:pt x="199357" y="21469"/>
                    </a:lnTo>
                    <a:lnTo>
                      <a:pt x="177888" y="55207"/>
                    </a:lnTo>
                    <a:lnTo>
                      <a:pt x="109391" y="74120"/>
                    </a:lnTo>
                    <a:lnTo>
                      <a:pt x="80254" y="66453"/>
                    </a:lnTo>
                    <a:lnTo>
                      <a:pt x="63896" y="72075"/>
                    </a:lnTo>
                    <a:lnTo>
                      <a:pt x="54695" y="92011"/>
                    </a:lnTo>
                    <a:lnTo>
                      <a:pt x="11246" y="105813"/>
                    </a:lnTo>
                    <a:lnTo>
                      <a:pt x="0" y="117059"/>
                    </a:lnTo>
                    <a:lnTo>
                      <a:pt x="15335" y="160509"/>
                    </a:lnTo>
                    <a:lnTo>
                      <a:pt x="2556" y="191690"/>
                    </a:lnTo>
                    <a:lnTo>
                      <a:pt x="21980" y="216227"/>
                    </a:lnTo>
                    <a:lnTo>
                      <a:pt x="21980" y="236162"/>
                    </a:lnTo>
                    <a:lnTo>
                      <a:pt x="35782" y="247408"/>
                    </a:lnTo>
                    <a:lnTo>
                      <a:pt x="73609" y="263766"/>
                    </a:lnTo>
                    <a:lnTo>
                      <a:pt x="72075" y="216738"/>
                    </a:lnTo>
                    <a:lnTo>
                      <a:pt x="113991" y="193735"/>
                    </a:lnTo>
                    <a:lnTo>
                      <a:pt x="117058" y="218782"/>
                    </a:lnTo>
                    <a:lnTo>
                      <a:pt x="161019" y="224917"/>
                    </a:lnTo>
                    <a:lnTo>
                      <a:pt x="204469" y="184534"/>
                    </a:lnTo>
                    <a:lnTo>
                      <a:pt x="228494" y="191179"/>
                    </a:lnTo>
                    <a:lnTo>
                      <a:pt x="215714" y="244852"/>
                    </a:lnTo>
                    <a:lnTo>
                      <a:pt x="267343" y="249453"/>
                    </a:lnTo>
                    <a:lnTo>
                      <a:pt x="298013" y="199358"/>
                    </a:lnTo>
                    <a:lnTo>
                      <a:pt x="324083" y="217760"/>
                    </a:lnTo>
                    <a:lnTo>
                      <a:pt x="312326" y="246897"/>
                    </a:lnTo>
                    <a:lnTo>
                      <a:pt x="361909" y="294436"/>
                    </a:lnTo>
                    <a:lnTo>
                      <a:pt x="365999" y="324084"/>
                    </a:lnTo>
                    <a:lnTo>
                      <a:pt x="434496" y="319484"/>
                    </a:lnTo>
                    <a:lnTo>
                      <a:pt x="458521" y="301593"/>
                    </a:lnTo>
                    <a:lnTo>
                      <a:pt x="483568" y="341975"/>
                    </a:lnTo>
                    <a:lnTo>
                      <a:pt x="525484" y="289324"/>
                    </a:lnTo>
                    <a:lnTo>
                      <a:pt x="607783" y="258143"/>
                    </a:lnTo>
                    <a:lnTo>
                      <a:pt x="587847" y="209070"/>
                    </a:lnTo>
                    <a:lnTo>
                      <a:pt x="581202" y="143640"/>
                    </a:lnTo>
                    <a:lnTo>
                      <a:pt x="660945" y="154374"/>
                    </a:lnTo>
                    <a:lnTo>
                      <a:pt x="631808" y="106835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ihandform: Form 81">
                <a:extLst>
                  <a:ext uri="{FF2B5EF4-FFF2-40B4-BE49-F238E27FC236}">
                    <a16:creationId xmlns:a16="http://schemas.microsoft.com/office/drawing/2014/main" id="{7ACB31B9-0393-47B2-9F49-E8F7C1DF2A67}"/>
                  </a:ext>
                </a:extLst>
              </p:cNvPr>
              <p:cNvSpPr/>
              <p:nvPr/>
            </p:nvSpPr>
            <p:spPr>
              <a:xfrm>
                <a:off x="5511323" y="2042808"/>
                <a:ext cx="292901" cy="204980"/>
              </a:xfrm>
              <a:custGeom>
                <a:avLst/>
                <a:gdLst>
                  <a:gd name="connsiteX0" fmla="*/ 216226 w 292901"/>
                  <a:gd name="connsiteY0" fmla="*/ 25559 h 204980"/>
                  <a:gd name="connsiteX1" fmla="*/ 217248 w 292901"/>
                  <a:gd name="connsiteY1" fmla="*/ 77699 h 204980"/>
                  <a:gd name="connsiteX2" fmla="*/ 236672 w 292901"/>
                  <a:gd name="connsiteY2" fmla="*/ 125749 h 204980"/>
                  <a:gd name="connsiteX3" fmla="*/ 269899 w 292901"/>
                  <a:gd name="connsiteY3" fmla="*/ 112458 h 204980"/>
                  <a:gd name="connsiteX4" fmla="*/ 292901 w 292901"/>
                  <a:gd name="connsiteY4" fmla="*/ 186067 h 204980"/>
                  <a:gd name="connsiteX5" fmla="*/ 279611 w 292901"/>
                  <a:gd name="connsiteY5" fmla="*/ 204981 h 204980"/>
                  <a:gd name="connsiteX6" fmla="*/ 246385 w 292901"/>
                  <a:gd name="connsiteY6" fmla="*/ 177377 h 204980"/>
                  <a:gd name="connsiteX7" fmla="*/ 186578 w 292901"/>
                  <a:gd name="connsiteY7" fmla="*/ 193735 h 204980"/>
                  <a:gd name="connsiteX8" fmla="*/ 136994 w 292901"/>
                  <a:gd name="connsiteY8" fmla="*/ 186579 h 204980"/>
                  <a:gd name="connsiteX9" fmla="*/ 126259 w 292901"/>
                  <a:gd name="connsiteY9" fmla="*/ 185556 h 204980"/>
                  <a:gd name="connsiteX10" fmla="*/ 105301 w 292901"/>
                  <a:gd name="connsiteY10" fmla="*/ 162553 h 204980"/>
                  <a:gd name="connsiteX11" fmla="*/ 78209 w 292901"/>
                  <a:gd name="connsiteY11" fmla="*/ 183512 h 204980"/>
                  <a:gd name="connsiteX12" fmla="*/ 18402 w 292901"/>
                  <a:gd name="connsiteY12" fmla="*/ 201403 h 204980"/>
                  <a:gd name="connsiteX13" fmla="*/ 10735 w 292901"/>
                  <a:gd name="connsiteY13" fmla="*/ 154375 h 204980"/>
                  <a:gd name="connsiteX14" fmla="*/ 52139 w 292901"/>
                  <a:gd name="connsiteY14" fmla="*/ 113481 h 204980"/>
                  <a:gd name="connsiteX15" fmla="*/ 47028 w 292901"/>
                  <a:gd name="connsiteY15" fmla="*/ 106835 h 204980"/>
                  <a:gd name="connsiteX16" fmla="*/ 6645 w 292901"/>
                  <a:gd name="connsiteY16" fmla="*/ 108880 h 204980"/>
                  <a:gd name="connsiteX17" fmla="*/ 6645 w 292901"/>
                  <a:gd name="connsiteY17" fmla="*/ 90478 h 204980"/>
                  <a:gd name="connsiteX18" fmla="*/ 0 w 292901"/>
                  <a:gd name="connsiteY18" fmla="*/ 43961 h 204980"/>
                  <a:gd name="connsiteX19" fmla="*/ 40894 w 292901"/>
                  <a:gd name="connsiteY19" fmla="*/ 24025 h 204980"/>
                  <a:gd name="connsiteX20" fmla="*/ 71053 w 292901"/>
                  <a:gd name="connsiteY20" fmla="*/ 0 h 204980"/>
                  <a:gd name="connsiteX21" fmla="*/ 88433 w 292901"/>
                  <a:gd name="connsiteY21" fmla="*/ 6134 h 204980"/>
                  <a:gd name="connsiteX22" fmla="*/ 128815 w 292901"/>
                  <a:gd name="connsiteY22" fmla="*/ 63897 h 204980"/>
                  <a:gd name="connsiteX23" fmla="*/ 145684 w 292901"/>
                  <a:gd name="connsiteY23" fmla="*/ 73098 h 204980"/>
                  <a:gd name="connsiteX24" fmla="*/ 161019 w 292901"/>
                  <a:gd name="connsiteY24" fmla="*/ 39872 h 204980"/>
                  <a:gd name="connsiteX25" fmla="*/ 187089 w 292901"/>
                  <a:gd name="connsiteY25" fmla="*/ 10735 h 204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92901" h="204980">
                    <a:moveTo>
                      <a:pt x="216226" y="25559"/>
                    </a:moveTo>
                    <a:lnTo>
                      <a:pt x="217248" y="77699"/>
                    </a:lnTo>
                    <a:lnTo>
                      <a:pt x="236672" y="125749"/>
                    </a:lnTo>
                    <a:lnTo>
                      <a:pt x="269899" y="112458"/>
                    </a:lnTo>
                    <a:lnTo>
                      <a:pt x="292901" y="186067"/>
                    </a:lnTo>
                    <a:lnTo>
                      <a:pt x="279611" y="204981"/>
                    </a:lnTo>
                    <a:lnTo>
                      <a:pt x="246385" y="177377"/>
                    </a:lnTo>
                    <a:lnTo>
                      <a:pt x="186578" y="193735"/>
                    </a:lnTo>
                    <a:lnTo>
                      <a:pt x="136994" y="186579"/>
                    </a:lnTo>
                    <a:lnTo>
                      <a:pt x="126259" y="185556"/>
                    </a:lnTo>
                    <a:lnTo>
                      <a:pt x="105301" y="162553"/>
                    </a:lnTo>
                    <a:lnTo>
                      <a:pt x="78209" y="183512"/>
                    </a:lnTo>
                    <a:lnTo>
                      <a:pt x="18402" y="201403"/>
                    </a:lnTo>
                    <a:lnTo>
                      <a:pt x="10735" y="154375"/>
                    </a:lnTo>
                    <a:lnTo>
                      <a:pt x="52139" y="113481"/>
                    </a:lnTo>
                    <a:lnTo>
                      <a:pt x="47028" y="106835"/>
                    </a:lnTo>
                    <a:lnTo>
                      <a:pt x="6645" y="108880"/>
                    </a:lnTo>
                    <a:lnTo>
                      <a:pt x="6645" y="90478"/>
                    </a:lnTo>
                    <a:lnTo>
                      <a:pt x="0" y="43961"/>
                    </a:lnTo>
                    <a:lnTo>
                      <a:pt x="40894" y="24025"/>
                    </a:lnTo>
                    <a:lnTo>
                      <a:pt x="71053" y="0"/>
                    </a:lnTo>
                    <a:lnTo>
                      <a:pt x="88433" y="6134"/>
                    </a:lnTo>
                    <a:lnTo>
                      <a:pt x="128815" y="63897"/>
                    </a:lnTo>
                    <a:lnTo>
                      <a:pt x="145684" y="73098"/>
                    </a:lnTo>
                    <a:lnTo>
                      <a:pt x="161019" y="39872"/>
                    </a:lnTo>
                    <a:lnTo>
                      <a:pt x="187089" y="10735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: Form 82">
                <a:extLst>
                  <a:ext uri="{FF2B5EF4-FFF2-40B4-BE49-F238E27FC236}">
                    <a16:creationId xmlns:a16="http://schemas.microsoft.com/office/drawing/2014/main" id="{E5406311-A761-40CC-B065-DB955245302B}"/>
                  </a:ext>
                </a:extLst>
              </p:cNvPr>
              <p:cNvSpPr/>
              <p:nvPr/>
            </p:nvSpPr>
            <p:spPr>
              <a:xfrm>
                <a:off x="5993358" y="1362436"/>
                <a:ext cx="362931" cy="374690"/>
              </a:xfrm>
              <a:custGeom>
                <a:avLst/>
                <a:gdLst>
                  <a:gd name="connsiteX0" fmla="*/ 352197 w 362931"/>
                  <a:gd name="connsiteY0" fmla="*/ 205492 h 374690"/>
                  <a:gd name="connsiteX1" fmla="*/ 325616 w 362931"/>
                  <a:gd name="connsiteY1" fmla="*/ 359867 h 374690"/>
                  <a:gd name="connsiteX2" fmla="*/ 324083 w 362931"/>
                  <a:gd name="connsiteY2" fmla="*/ 374691 h 374690"/>
                  <a:gd name="connsiteX3" fmla="*/ 294946 w 362931"/>
                  <a:gd name="connsiteY3" fmla="*/ 337375 h 374690"/>
                  <a:gd name="connsiteX4" fmla="*/ 296479 w 362931"/>
                  <a:gd name="connsiteY4" fmla="*/ 317950 h 374690"/>
                  <a:gd name="connsiteX5" fmla="*/ 290345 w 362931"/>
                  <a:gd name="connsiteY5" fmla="*/ 299037 h 374690"/>
                  <a:gd name="connsiteX6" fmla="*/ 225938 w 362931"/>
                  <a:gd name="connsiteY6" fmla="*/ 224405 h 374690"/>
                  <a:gd name="connsiteX7" fmla="*/ 192712 w 362931"/>
                  <a:gd name="connsiteY7" fmla="*/ 196802 h 374690"/>
                  <a:gd name="connsiteX8" fmla="*/ 167153 w 362931"/>
                  <a:gd name="connsiteY8" fmla="*/ 203958 h 374690"/>
                  <a:gd name="connsiteX9" fmla="*/ 124215 w 362931"/>
                  <a:gd name="connsiteY9" fmla="*/ 154886 h 374690"/>
                  <a:gd name="connsiteX10" fmla="*/ 93033 w 362931"/>
                  <a:gd name="connsiteY10" fmla="*/ 156419 h 374690"/>
                  <a:gd name="connsiteX11" fmla="*/ 59296 w 362931"/>
                  <a:gd name="connsiteY11" fmla="*/ 212137 h 374690"/>
                  <a:gd name="connsiteX12" fmla="*/ 46005 w 362931"/>
                  <a:gd name="connsiteY12" fmla="*/ 211115 h 374690"/>
                  <a:gd name="connsiteX13" fmla="*/ 4089 w 362931"/>
                  <a:gd name="connsiteY13" fmla="*/ 195268 h 374690"/>
                  <a:gd name="connsiteX14" fmla="*/ 0 w 362931"/>
                  <a:gd name="connsiteY14" fmla="*/ 170221 h 374690"/>
                  <a:gd name="connsiteX15" fmla="*/ 26070 w 362931"/>
                  <a:gd name="connsiteY15" fmla="*/ 108880 h 374690"/>
                  <a:gd name="connsiteX16" fmla="*/ 36293 w 362931"/>
                  <a:gd name="connsiteY16" fmla="*/ 96101 h 374690"/>
                  <a:gd name="connsiteX17" fmla="*/ 31693 w 362931"/>
                  <a:gd name="connsiteY17" fmla="*/ 74120 h 374690"/>
                  <a:gd name="connsiteX18" fmla="*/ 0 w 362931"/>
                  <a:gd name="connsiteY18" fmla="*/ 53673 h 374690"/>
                  <a:gd name="connsiteX19" fmla="*/ 6645 w 362931"/>
                  <a:gd name="connsiteY19" fmla="*/ 29648 h 374690"/>
                  <a:gd name="connsiteX20" fmla="*/ 52139 w 362931"/>
                  <a:gd name="connsiteY20" fmla="*/ 35782 h 374690"/>
                  <a:gd name="connsiteX21" fmla="*/ 169198 w 362931"/>
                  <a:gd name="connsiteY21" fmla="*/ 5623 h 374690"/>
                  <a:gd name="connsiteX22" fmla="*/ 221848 w 362931"/>
                  <a:gd name="connsiteY22" fmla="*/ 0 h 374690"/>
                  <a:gd name="connsiteX23" fmla="*/ 232072 w 362931"/>
                  <a:gd name="connsiteY23" fmla="*/ 0 h 374690"/>
                  <a:gd name="connsiteX24" fmla="*/ 243829 w 362931"/>
                  <a:gd name="connsiteY24" fmla="*/ 11757 h 374690"/>
                  <a:gd name="connsiteX25" fmla="*/ 253541 w 362931"/>
                  <a:gd name="connsiteY25" fmla="*/ 64919 h 374690"/>
                  <a:gd name="connsiteX26" fmla="*/ 292901 w 362931"/>
                  <a:gd name="connsiteY26" fmla="*/ 82810 h 374690"/>
                  <a:gd name="connsiteX27" fmla="*/ 320504 w 362931"/>
                  <a:gd name="connsiteY27" fmla="*/ 88433 h 374690"/>
                  <a:gd name="connsiteX28" fmla="*/ 329194 w 362931"/>
                  <a:gd name="connsiteY28" fmla="*/ 114503 h 374690"/>
                  <a:gd name="connsiteX29" fmla="*/ 336862 w 362931"/>
                  <a:gd name="connsiteY29" fmla="*/ 123704 h 374690"/>
                  <a:gd name="connsiteX30" fmla="*/ 355264 w 362931"/>
                  <a:gd name="connsiteY30" fmla="*/ 129327 h 374690"/>
                  <a:gd name="connsiteX31" fmla="*/ 362932 w 362931"/>
                  <a:gd name="connsiteY31" fmla="*/ 145173 h 3746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62931" h="374690">
                    <a:moveTo>
                      <a:pt x="352197" y="205492"/>
                    </a:moveTo>
                    <a:lnTo>
                      <a:pt x="325616" y="359867"/>
                    </a:lnTo>
                    <a:lnTo>
                      <a:pt x="324083" y="374691"/>
                    </a:lnTo>
                    <a:lnTo>
                      <a:pt x="294946" y="337375"/>
                    </a:lnTo>
                    <a:lnTo>
                      <a:pt x="296479" y="317950"/>
                    </a:lnTo>
                    <a:lnTo>
                      <a:pt x="290345" y="299037"/>
                    </a:lnTo>
                    <a:lnTo>
                      <a:pt x="225938" y="224405"/>
                    </a:lnTo>
                    <a:lnTo>
                      <a:pt x="192712" y="196802"/>
                    </a:lnTo>
                    <a:lnTo>
                      <a:pt x="167153" y="203958"/>
                    </a:lnTo>
                    <a:lnTo>
                      <a:pt x="124215" y="154886"/>
                    </a:lnTo>
                    <a:lnTo>
                      <a:pt x="93033" y="156419"/>
                    </a:lnTo>
                    <a:lnTo>
                      <a:pt x="59296" y="212137"/>
                    </a:lnTo>
                    <a:lnTo>
                      <a:pt x="46005" y="211115"/>
                    </a:lnTo>
                    <a:lnTo>
                      <a:pt x="4089" y="195268"/>
                    </a:lnTo>
                    <a:lnTo>
                      <a:pt x="0" y="170221"/>
                    </a:lnTo>
                    <a:lnTo>
                      <a:pt x="26070" y="108880"/>
                    </a:lnTo>
                    <a:lnTo>
                      <a:pt x="36293" y="96101"/>
                    </a:lnTo>
                    <a:lnTo>
                      <a:pt x="31693" y="74120"/>
                    </a:lnTo>
                    <a:lnTo>
                      <a:pt x="0" y="53673"/>
                    </a:lnTo>
                    <a:lnTo>
                      <a:pt x="6645" y="29648"/>
                    </a:lnTo>
                    <a:lnTo>
                      <a:pt x="52139" y="35782"/>
                    </a:lnTo>
                    <a:lnTo>
                      <a:pt x="169198" y="5623"/>
                    </a:lnTo>
                    <a:lnTo>
                      <a:pt x="221848" y="0"/>
                    </a:lnTo>
                    <a:lnTo>
                      <a:pt x="232072" y="0"/>
                    </a:lnTo>
                    <a:lnTo>
                      <a:pt x="243829" y="11757"/>
                    </a:lnTo>
                    <a:lnTo>
                      <a:pt x="253541" y="64919"/>
                    </a:lnTo>
                    <a:lnTo>
                      <a:pt x="292901" y="82810"/>
                    </a:lnTo>
                    <a:lnTo>
                      <a:pt x="320504" y="88433"/>
                    </a:lnTo>
                    <a:lnTo>
                      <a:pt x="329194" y="114503"/>
                    </a:lnTo>
                    <a:lnTo>
                      <a:pt x="336862" y="123704"/>
                    </a:lnTo>
                    <a:lnTo>
                      <a:pt x="355264" y="129327"/>
                    </a:lnTo>
                    <a:lnTo>
                      <a:pt x="362932" y="145173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: Form 83">
                <a:extLst>
                  <a:ext uri="{FF2B5EF4-FFF2-40B4-BE49-F238E27FC236}">
                    <a16:creationId xmlns:a16="http://schemas.microsoft.com/office/drawing/2014/main" id="{1F563FCF-EFEB-4353-A8FE-8FFA787014E7}"/>
                  </a:ext>
                </a:extLst>
              </p:cNvPr>
              <p:cNvSpPr/>
              <p:nvPr/>
            </p:nvSpPr>
            <p:spPr>
              <a:xfrm>
                <a:off x="5167812" y="2021850"/>
                <a:ext cx="481016" cy="395137"/>
              </a:xfrm>
              <a:custGeom>
                <a:avLst/>
                <a:gdLst>
                  <a:gd name="connsiteX0" fmla="*/ 330732 w 481016"/>
                  <a:gd name="connsiteY0" fmla="*/ 310283 h 395137"/>
                  <a:gd name="connsiteX1" fmla="*/ 308751 w 481016"/>
                  <a:gd name="connsiteY1" fmla="*/ 343509 h 395137"/>
                  <a:gd name="connsiteX2" fmla="*/ 240254 w 481016"/>
                  <a:gd name="connsiteY2" fmla="*/ 362934 h 395137"/>
                  <a:gd name="connsiteX3" fmla="*/ 210607 w 481016"/>
                  <a:gd name="connsiteY3" fmla="*/ 355266 h 395137"/>
                  <a:gd name="connsiteX4" fmla="*/ 194249 w 481016"/>
                  <a:gd name="connsiteY4" fmla="*/ 361400 h 395137"/>
                  <a:gd name="connsiteX5" fmla="*/ 185048 w 481016"/>
                  <a:gd name="connsiteY5" fmla="*/ 380825 h 395137"/>
                  <a:gd name="connsiteX6" fmla="*/ 141598 w 481016"/>
                  <a:gd name="connsiteY6" fmla="*/ 395137 h 395137"/>
                  <a:gd name="connsiteX7" fmla="*/ 111950 w 481016"/>
                  <a:gd name="connsiteY7" fmla="*/ 367534 h 395137"/>
                  <a:gd name="connsiteX8" fmla="*/ 65434 w 481016"/>
                  <a:gd name="connsiteY8" fmla="*/ 346576 h 395137"/>
                  <a:gd name="connsiteX9" fmla="*/ 21473 w 481016"/>
                  <a:gd name="connsiteY9" fmla="*/ 320506 h 395137"/>
                  <a:gd name="connsiteX10" fmla="*/ 4 w 481016"/>
                  <a:gd name="connsiteY10" fmla="*/ 315905 h 395137"/>
                  <a:gd name="connsiteX11" fmla="*/ 10227 w 481016"/>
                  <a:gd name="connsiteY11" fmla="*/ 307215 h 395137"/>
                  <a:gd name="connsiteX12" fmla="*/ 6649 w 481016"/>
                  <a:gd name="connsiteY12" fmla="*/ 297503 h 395137"/>
                  <a:gd name="connsiteX13" fmla="*/ 26585 w 481016"/>
                  <a:gd name="connsiteY13" fmla="*/ 276034 h 395137"/>
                  <a:gd name="connsiteX14" fmla="*/ 56744 w 481016"/>
                  <a:gd name="connsiteY14" fmla="*/ 266322 h 395137"/>
                  <a:gd name="connsiteX15" fmla="*/ 65945 w 481016"/>
                  <a:gd name="connsiteY15" fmla="*/ 278590 h 395137"/>
                  <a:gd name="connsiteX16" fmla="*/ 83836 w 481016"/>
                  <a:gd name="connsiteY16" fmla="*/ 270411 h 395137"/>
                  <a:gd name="connsiteX17" fmla="*/ 68501 w 481016"/>
                  <a:gd name="connsiteY17" fmla="*/ 252009 h 395137"/>
                  <a:gd name="connsiteX18" fmla="*/ 55722 w 481016"/>
                  <a:gd name="connsiteY18" fmla="*/ 234629 h 395137"/>
                  <a:gd name="connsiteX19" fmla="*/ 61856 w 481016"/>
                  <a:gd name="connsiteY19" fmla="*/ 211115 h 395137"/>
                  <a:gd name="connsiteX20" fmla="*/ 76680 w 481016"/>
                  <a:gd name="connsiteY20" fmla="*/ 216227 h 395137"/>
                  <a:gd name="connsiteX21" fmla="*/ 95593 w 481016"/>
                  <a:gd name="connsiteY21" fmla="*/ 225939 h 395137"/>
                  <a:gd name="connsiteX22" fmla="*/ 92526 w 481016"/>
                  <a:gd name="connsiteY22" fmla="*/ 214182 h 395137"/>
                  <a:gd name="connsiteX23" fmla="*/ 103260 w 481016"/>
                  <a:gd name="connsiteY23" fmla="*/ 185045 h 395137"/>
                  <a:gd name="connsiteX24" fmla="*/ 186581 w 481016"/>
                  <a:gd name="connsiteY24" fmla="*/ 96101 h 395137"/>
                  <a:gd name="connsiteX25" fmla="*/ 238210 w 481016"/>
                  <a:gd name="connsiteY25" fmla="*/ 6134 h 395137"/>
                  <a:gd name="connsiteX26" fmla="*/ 277570 w 481016"/>
                  <a:gd name="connsiteY26" fmla="*/ 0 h 395137"/>
                  <a:gd name="connsiteX27" fmla="*/ 260190 w 481016"/>
                  <a:gd name="connsiteY27" fmla="*/ 67986 h 395137"/>
                  <a:gd name="connsiteX28" fmla="*/ 306707 w 481016"/>
                  <a:gd name="connsiteY28" fmla="*/ 66453 h 395137"/>
                  <a:gd name="connsiteX29" fmla="*/ 343511 w 481016"/>
                  <a:gd name="connsiteY29" fmla="*/ 63897 h 395137"/>
                  <a:gd name="connsiteX30" fmla="*/ 350667 w 481016"/>
                  <a:gd name="connsiteY30" fmla="*/ 110413 h 395137"/>
                  <a:gd name="connsiteX31" fmla="*/ 350667 w 481016"/>
                  <a:gd name="connsiteY31" fmla="*/ 129327 h 395137"/>
                  <a:gd name="connsiteX32" fmla="*/ 390539 w 481016"/>
                  <a:gd name="connsiteY32" fmla="*/ 127282 h 395137"/>
                  <a:gd name="connsiteX33" fmla="*/ 396162 w 481016"/>
                  <a:gd name="connsiteY33" fmla="*/ 133927 h 395137"/>
                  <a:gd name="connsiteX34" fmla="*/ 354246 w 481016"/>
                  <a:gd name="connsiteY34" fmla="*/ 174821 h 395137"/>
                  <a:gd name="connsiteX35" fmla="*/ 361913 w 481016"/>
                  <a:gd name="connsiteY35" fmla="*/ 221849 h 395137"/>
                  <a:gd name="connsiteX36" fmla="*/ 421720 w 481016"/>
                  <a:gd name="connsiteY36" fmla="*/ 203958 h 395137"/>
                  <a:gd name="connsiteX37" fmla="*/ 449324 w 481016"/>
                  <a:gd name="connsiteY37" fmla="*/ 183000 h 395137"/>
                  <a:gd name="connsiteX38" fmla="*/ 469770 w 481016"/>
                  <a:gd name="connsiteY38" fmla="*/ 206003 h 395137"/>
                  <a:gd name="connsiteX39" fmla="*/ 481016 w 481016"/>
                  <a:gd name="connsiteY39" fmla="*/ 207025 h 395137"/>
                  <a:gd name="connsiteX40" fmla="*/ 413542 w 481016"/>
                  <a:gd name="connsiteY40" fmla="*/ 294436 h 395137"/>
                  <a:gd name="connsiteX41" fmla="*/ 380827 w 481016"/>
                  <a:gd name="connsiteY41" fmla="*/ 287791 h 395137"/>
                  <a:gd name="connsiteX42" fmla="*/ 330732 w 481016"/>
                  <a:gd name="connsiteY42" fmla="*/ 310283 h 395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81016" h="395137">
                    <a:moveTo>
                      <a:pt x="330732" y="310283"/>
                    </a:moveTo>
                    <a:lnTo>
                      <a:pt x="308751" y="343509"/>
                    </a:lnTo>
                    <a:lnTo>
                      <a:pt x="240254" y="362934"/>
                    </a:lnTo>
                    <a:lnTo>
                      <a:pt x="210607" y="355266"/>
                    </a:lnTo>
                    <a:lnTo>
                      <a:pt x="194249" y="361400"/>
                    </a:lnTo>
                    <a:lnTo>
                      <a:pt x="185048" y="380825"/>
                    </a:lnTo>
                    <a:lnTo>
                      <a:pt x="141598" y="395137"/>
                    </a:lnTo>
                    <a:lnTo>
                      <a:pt x="111950" y="367534"/>
                    </a:lnTo>
                    <a:lnTo>
                      <a:pt x="65434" y="346576"/>
                    </a:lnTo>
                    <a:lnTo>
                      <a:pt x="21473" y="320506"/>
                    </a:lnTo>
                    <a:lnTo>
                      <a:pt x="4" y="315905"/>
                    </a:lnTo>
                    <a:cubicBezTo>
                      <a:pt x="4" y="315905"/>
                      <a:pt x="-507" y="309771"/>
                      <a:pt x="10227" y="307215"/>
                    </a:cubicBezTo>
                    <a:cubicBezTo>
                      <a:pt x="11250" y="304660"/>
                      <a:pt x="6138" y="302104"/>
                      <a:pt x="6649" y="297503"/>
                    </a:cubicBezTo>
                    <a:cubicBezTo>
                      <a:pt x="11250" y="289324"/>
                      <a:pt x="26585" y="276034"/>
                      <a:pt x="26585" y="276034"/>
                    </a:cubicBezTo>
                    <a:lnTo>
                      <a:pt x="56744" y="266322"/>
                    </a:lnTo>
                    <a:lnTo>
                      <a:pt x="65945" y="278590"/>
                    </a:lnTo>
                    <a:lnTo>
                      <a:pt x="83836" y="270411"/>
                    </a:lnTo>
                    <a:lnTo>
                      <a:pt x="68501" y="252009"/>
                    </a:lnTo>
                    <a:lnTo>
                      <a:pt x="55722" y="234629"/>
                    </a:lnTo>
                    <a:lnTo>
                      <a:pt x="61856" y="211115"/>
                    </a:lnTo>
                    <a:lnTo>
                      <a:pt x="76680" y="216227"/>
                    </a:lnTo>
                    <a:lnTo>
                      <a:pt x="95593" y="225939"/>
                    </a:lnTo>
                    <a:lnTo>
                      <a:pt x="92526" y="214182"/>
                    </a:lnTo>
                    <a:lnTo>
                      <a:pt x="103260" y="185045"/>
                    </a:lnTo>
                    <a:lnTo>
                      <a:pt x="186581" y="96101"/>
                    </a:lnTo>
                    <a:lnTo>
                      <a:pt x="238210" y="6134"/>
                    </a:lnTo>
                    <a:lnTo>
                      <a:pt x="277570" y="0"/>
                    </a:lnTo>
                    <a:lnTo>
                      <a:pt x="260190" y="67986"/>
                    </a:lnTo>
                    <a:lnTo>
                      <a:pt x="306707" y="66453"/>
                    </a:lnTo>
                    <a:lnTo>
                      <a:pt x="343511" y="63897"/>
                    </a:lnTo>
                    <a:lnTo>
                      <a:pt x="350667" y="110413"/>
                    </a:lnTo>
                    <a:lnTo>
                      <a:pt x="350667" y="129327"/>
                    </a:lnTo>
                    <a:lnTo>
                      <a:pt x="390539" y="127282"/>
                    </a:lnTo>
                    <a:lnTo>
                      <a:pt x="396162" y="133927"/>
                    </a:lnTo>
                    <a:lnTo>
                      <a:pt x="354246" y="174821"/>
                    </a:lnTo>
                    <a:lnTo>
                      <a:pt x="361913" y="221849"/>
                    </a:lnTo>
                    <a:lnTo>
                      <a:pt x="421720" y="203958"/>
                    </a:lnTo>
                    <a:lnTo>
                      <a:pt x="449324" y="183000"/>
                    </a:lnTo>
                    <a:lnTo>
                      <a:pt x="469770" y="206003"/>
                    </a:lnTo>
                    <a:lnTo>
                      <a:pt x="481016" y="207025"/>
                    </a:lnTo>
                    <a:lnTo>
                      <a:pt x="413542" y="294436"/>
                    </a:lnTo>
                    <a:lnTo>
                      <a:pt x="380827" y="287791"/>
                    </a:lnTo>
                    <a:lnTo>
                      <a:pt x="330732" y="310283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Freihandform: Form 84">
                <a:extLst>
                  <a:ext uri="{FF2B5EF4-FFF2-40B4-BE49-F238E27FC236}">
                    <a16:creationId xmlns:a16="http://schemas.microsoft.com/office/drawing/2014/main" id="{8FEACE2C-F499-480C-ACA8-ECB8F8888350}"/>
                  </a:ext>
                </a:extLst>
              </p:cNvPr>
              <p:cNvSpPr/>
              <p:nvPr/>
            </p:nvSpPr>
            <p:spPr>
              <a:xfrm>
                <a:off x="4996063" y="2338778"/>
                <a:ext cx="338395" cy="314883"/>
              </a:xfrm>
              <a:custGeom>
                <a:avLst/>
                <a:gdLst>
                  <a:gd name="connsiteX0" fmla="*/ 156418 w 338395"/>
                  <a:gd name="connsiteY0" fmla="*/ 7156 h 314883"/>
                  <a:gd name="connsiteX1" fmla="*/ 117058 w 338395"/>
                  <a:gd name="connsiteY1" fmla="*/ 16869 h 314883"/>
                  <a:gd name="connsiteX2" fmla="*/ 109391 w 338395"/>
                  <a:gd name="connsiteY2" fmla="*/ 34249 h 314883"/>
                  <a:gd name="connsiteX3" fmla="*/ 127282 w 338395"/>
                  <a:gd name="connsiteY3" fmla="*/ 51117 h 314883"/>
                  <a:gd name="connsiteX4" fmla="*/ 113480 w 338395"/>
                  <a:gd name="connsiteY4" fmla="*/ 81788 h 314883"/>
                  <a:gd name="connsiteX5" fmla="*/ 118081 w 338395"/>
                  <a:gd name="connsiteY5" fmla="*/ 88944 h 314883"/>
                  <a:gd name="connsiteX6" fmla="*/ 75653 w 338395"/>
                  <a:gd name="connsiteY6" fmla="*/ 92011 h 314883"/>
                  <a:gd name="connsiteX7" fmla="*/ 24025 w 338395"/>
                  <a:gd name="connsiteY7" fmla="*/ 127793 h 314883"/>
                  <a:gd name="connsiteX8" fmla="*/ 35271 w 338395"/>
                  <a:gd name="connsiteY8" fmla="*/ 149263 h 314883"/>
                  <a:gd name="connsiteX9" fmla="*/ 68497 w 338395"/>
                  <a:gd name="connsiteY9" fmla="*/ 174821 h 314883"/>
                  <a:gd name="connsiteX10" fmla="*/ 59807 w 338395"/>
                  <a:gd name="connsiteY10" fmla="*/ 197824 h 314883"/>
                  <a:gd name="connsiteX11" fmla="*/ 50606 w 338395"/>
                  <a:gd name="connsiteY11" fmla="*/ 197313 h 314883"/>
                  <a:gd name="connsiteX12" fmla="*/ 0 w 338395"/>
                  <a:gd name="connsiteY12" fmla="*/ 218782 h 314883"/>
                  <a:gd name="connsiteX13" fmla="*/ 5623 w 338395"/>
                  <a:gd name="connsiteY13" fmla="*/ 258143 h 314883"/>
                  <a:gd name="connsiteX14" fmla="*/ 18402 w 338395"/>
                  <a:gd name="connsiteY14" fmla="*/ 282168 h 314883"/>
                  <a:gd name="connsiteX15" fmla="*/ 28626 w 338395"/>
                  <a:gd name="connsiteY15" fmla="*/ 292391 h 314883"/>
                  <a:gd name="connsiteX16" fmla="*/ 53673 w 338395"/>
                  <a:gd name="connsiteY16" fmla="*/ 268877 h 314883"/>
                  <a:gd name="connsiteX17" fmla="*/ 66452 w 338395"/>
                  <a:gd name="connsiteY17" fmla="*/ 261721 h 314883"/>
                  <a:gd name="connsiteX18" fmla="*/ 92011 w 338395"/>
                  <a:gd name="connsiteY18" fmla="*/ 259165 h 314883"/>
                  <a:gd name="connsiteX19" fmla="*/ 148751 w 338395"/>
                  <a:gd name="connsiteY19" fmla="*/ 282679 h 314883"/>
                  <a:gd name="connsiteX20" fmla="*/ 155396 w 338395"/>
                  <a:gd name="connsiteY20" fmla="*/ 312838 h 314883"/>
                  <a:gd name="connsiteX21" fmla="*/ 209069 w 338395"/>
                  <a:gd name="connsiteY21" fmla="*/ 314883 h 314883"/>
                  <a:gd name="connsiteX22" fmla="*/ 304658 w 338395"/>
                  <a:gd name="connsiteY22" fmla="*/ 246897 h 314883"/>
                  <a:gd name="connsiteX23" fmla="*/ 307214 w 338395"/>
                  <a:gd name="connsiteY23" fmla="*/ 234118 h 314883"/>
                  <a:gd name="connsiteX24" fmla="*/ 338395 w 338395"/>
                  <a:gd name="connsiteY24" fmla="*/ 219294 h 314883"/>
                  <a:gd name="connsiteX25" fmla="*/ 325105 w 338395"/>
                  <a:gd name="connsiteY25" fmla="*/ 208048 h 314883"/>
                  <a:gd name="connsiteX26" fmla="*/ 324594 w 338395"/>
                  <a:gd name="connsiteY26" fmla="*/ 188623 h 314883"/>
                  <a:gd name="connsiteX27" fmla="*/ 305169 w 338395"/>
                  <a:gd name="connsiteY27" fmla="*/ 164087 h 314883"/>
                  <a:gd name="connsiteX28" fmla="*/ 317949 w 338395"/>
                  <a:gd name="connsiteY28" fmla="*/ 132394 h 314883"/>
                  <a:gd name="connsiteX29" fmla="*/ 303125 w 338395"/>
                  <a:gd name="connsiteY29" fmla="*/ 88944 h 314883"/>
                  <a:gd name="connsiteX30" fmla="*/ 314370 w 338395"/>
                  <a:gd name="connsiteY30" fmla="*/ 77698 h 314883"/>
                  <a:gd name="connsiteX31" fmla="*/ 284722 w 338395"/>
                  <a:gd name="connsiteY31" fmla="*/ 50606 h 314883"/>
                  <a:gd name="connsiteX32" fmla="*/ 238206 w 338395"/>
                  <a:gd name="connsiteY32" fmla="*/ 29137 h 314883"/>
                  <a:gd name="connsiteX33" fmla="*/ 195779 w 338395"/>
                  <a:gd name="connsiteY33" fmla="*/ 3578 h 314883"/>
                  <a:gd name="connsiteX34" fmla="*/ 179932 w 338395"/>
                  <a:gd name="connsiteY34" fmla="*/ 0 h 314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38395" h="314883">
                    <a:moveTo>
                      <a:pt x="156418" y="7156"/>
                    </a:moveTo>
                    <a:lnTo>
                      <a:pt x="117058" y="16869"/>
                    </a:lnTo>
                    <a:lnTo>
                      <a:pt x="109391" y="34249"/>
                    </a:lnTo>
                    <a:lnTo>
                      <a:pt x="127282" y="51117"/>
                    </a:lnTo>
                    <a:lnTo>
                      <a:pt x="113480" y="81788"/>
                    </a:lnTo>
                    <a:lnTo>
                      <a:pt x="118081" y="88944"/>
                    </a:lnTo>
                    <a:lnTo>
                      <a:pt x="75653" y="92011"/>
                    </a:lnTo>
                    <a:lnTo>
                      <a:pt x="24025" y="127793"/>
                    </a:lnTo>
                    <a:lnTo>
                      <a:pt x="35271" y="149263"/>
                    </a:lnTo>
                    <a:lnTo>
                      <a:pt x="68497" y="174821"/>
                    </a:lnTo>
                    <a:lnTo>
                      <a:pt x="59807" y="197824"/>
                    </a:lnTo>
                    <a:lnTo>
                      <a:pt x="50606" y="197313"/>
                    </a:lnTo>
                    <a:lnTo>
                      <a:pt x="0" y="218782"/>
                    </a:lnTo>
                    <a:lnTo>
                      <a:pt x="5623" y="258143"/>
                    </a:lnTo>
                    <a:lnTo>
                      <a:pt x="18402" y="282168"/>
                    </a:lnTo>
                    <a:lnTo>
                      <a:pt x="28626" y="292391"/>
                    </a:lnTo>
                    <a:lnTo>
                      <a:pt x="53673" y="268877"/>
                    </a:lnTo>
                    <a:lnTo>
                      <a:pt x="66452" y="261721"/>
                    </a:lnTo>
                    <a:lnTo>
                      <a:pt x="92011" y="259165"/>
                    </a:lnTo>
                    <a:lnTo>
                      <a:pt x="148751" y="282679"/>
                    </a:lnTo>
                    <a:lnTo>
                      <a:pt x="155396" y="312838"/>
                    </a:lnTo>
                    <a:lnTo>
                      <a:pt x="209069" y="314883"/>
                    </a:lnTo>
                    <a:lnTo>
                      <a:pt x="304658" y="246897"/>
                    </a:lnTo>
                    <a:lnTo>
                      <a:pt x="307214" y="234118"/>
                    </a:lnTo>
                    <a:lnTo>
                      <a:pt x="338395" y="219294"/>
                    </a:lnTo>
                    <a:lnTo>
                      <a:pt x="325105" y="208048"/>
                    </a:lnTo>
                    <a:lnTo>
                      <a:pt x="324594" y="188623"/>
                    </a:lnTo>
                    <a:lnTo>
                      <a:pt x="305169" y="164087"/>
                    </a:lnTo>
                    <a:lnTo>
                      <a:pt x="317949" y="132394"/>
                    </a:lnTo>
                    <a:lnTo>
                      <a:pt x="303125" y="88944"/>
                    </a:lnTo>
                    <a:lnTo>
                      <a:pt x="314370" y="77698"/>
                    </a:lnTo>
                    <a:lnTo>
                      <a:pt x="284722" y="50606"/>
                    </a:lnTo>
                    <a:lnTo>
                      <a:pt x="238206" y="29137"/>
                    </a:lnTo>
                    <a:lnTo>
                      <a:pt x="195779" y="3578"/>
                    </a:lnTo>
                    <a:lnTo>
                      <a:pt x="179932" y="0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86" name="Grafik 381">
                <a:extLst>
                  <a:ext uri="{FF2B5EF4-FFF2-40B4-BE49-F238E27FC236}">
                    <a16:creationId xmlns:a16="http://schemas.microsoft.com/office/drawing/2014/main" id="{DBF5369C-3A94-4AA7-A0CA-9A5091442FDA}"/>
                  </a:ext>
                </a:extLst>
              </p:cNvPr>
              <p:cNvGrpSpPr/>
              <p:nvPr/>
            </p:nvGrpSpPr>
            <p:grpSpPr>
              <a:xfrm>
                <a:off x="5405511" y="550692"/>
                <a:ext cx="3802868" cy="3391127"/>
                <a:chOff x="5405511" y="550692"/>
                <a:chExt cx="3802868" cy="3391127"/>
              </a:xfrm>
            </p:grpSpPr>
            <p:sp>
              <p:nvSpPr>
                <p:cNvPr id="138" name="Freihandform: Form 137">
                  <a:extLst>
                    <a:ext uri="{FF2B5EF4-FFF2-40B4-BE49-F238E27FC236}">
                      <a16:creationId xmlns:a16="http://schemas.microsoft.com/office/drawing/2014/main" id="{EF0704D3-B485-46C2-BF88-8F257DB3225D}"/>
                    </a:ext>
                  </a:extLst>
                </p:cNvPr>
                <p:cNvSpPr/>
                <p:nvPr/>
              </p:nvSpPr>
              <p:spPr>
                <a:xfrm>
                  <a:off x="5405511" y="1628758"/>
                  <a:ext cx="320504" cy="487660"/>
                </a:xfrm>
                <a:custGeom>
                  <a:avLst/>
                  <a:gdLst>
                    <a:gd name="connsiteX0" fmla="*/ 207024 w 320504"/>
                    <a:gd name="connsiteY0" fmla="*/ 253031 h 487660"/>
                    <a:gd name="connsiteX1" fmla="*/ 262231 w 320504"/>
                    <a:gd name="connsiteY1" fmla="*/ 332263 h 487660"/>
                    <a:gd name="connsiteX2" fmla="*/ 208558 w 320504"/>
                    <a:gd name="connsiteY2" fmla="*/ 365489 h 487660"/>
                    <a:gd name="connsiteX3" fmla="*/ 208047 w 320504"/>
                    <a:gd name="connsiteY3" fmla="*/ 385936 h 487660"/>
                    <a:gd name="connsiteX4" fmla="*/ 237184 w 320504"/>
                    <a:gd name="connsiteY4" fmla="*/ 403316 h 487660"/>
                    <a:gd name="connsiteX5" fmla="*/ 285745 w 320504"/>
                    <a:gd name="connsiteY5" fmla="*/ 416096 h 487660"/>
                    <a:gd name="connsiteX6" fmla="*/ 293412 w 320504"/>
                    <a:gd name="connsiteY6" fmla="*/ 425808 h 487660"/>
                    <a:gd name="connsiteX7" fmla="*/ 266831 w 320504"/>
                    <a:gd name="connsiteY7" fmla="*/ 454434 h 487660"/>
                    <a:gd name="connsiteX8" fmla="*/ 250985 w 320504"/>
                    <a:gd name="connsiteY8" fmla="*/ 487660 h 487660"/>
                    <a:gd name="connsiteX9" fmla="*/ 234628 w 320504"/>
                    <a:gd name="connsiteY9" fmla="*/ 478970 h 487660"/>
                    <a:gd name="connsiteX10" fmla="*/ 193734 w 320504"/>
                    <a:gd name="connsiteY10" fmla="*/ 420696 h 487660"/>
                    <a:gd name="connsiteX11" fmla="*/ 176354 w 320504"/>
                    <a:gd name="connsiteY11" fmla="*/ 414562 h 487660"/>
                    <a:gd name="connsiteX12" fmla="*/ 146706 w 320504"/>
                    <a:gd name="connsiteY12" fmla="*/ 438587 h 487660"/>
                    <a:gd name="connsiteX13" fmla="*/ 105301 w 320504"/>
                    <a:gd name="connsiteY13" fmla="*/ 458523 h 487660"/>
                    <a:gd name="connsiteX14" fmla="*/ 68497 w 320504"/>
                    <a:gd name="connsiteY14" fmla="*/ 461079 h 487660"/>
                    <a:gd name="connsiteX15" fmla="*/ 21980 w 320504"/>
                    <a:gd name="connsiteY15" fmla="*/ 462612 h 487660"/>
                    <a:gd name="connsiteX16" fmla="*/ 39360 w 320504"/>
                    <a:gd name="connsiteY16" fmla="*/ 394626 h 487660"/>
                    <a:gd name="connsiteX17" fmla="*/ 0 w 320504"/>
                    <a:gd name="connsiteY17" fmla="*/ 400760 h 487660"/>
                    <a:gd name="connsiteX18" fmla="*/ 27603 w 320504"/>
                    <a:gd name="connsiteY18" fmla="*/ 332774 h 487660"/>
                    <a:gd name="connsiteX19" fmla="*/ 23003 w 320504"/>
                    <a:gd name="connsiteY19" fmla="*/ 321528 h 487660"/>
                    <a:gd name="connsiteX20" fmla="*/ 18913 w 320504"/>
                    <a:gd name="connsiteY20" fmla="*/ 317439 h 487660"/>
                    <a:gd name="connsiteX21" fmla="*/ 64408 w 320504"/>
                    <a:gd name="connsiteY21" fmla="*/ 322040 h 487660"/>
                    <a:gd name="connsiteX22" fmla="*/ 83321 w 320504"/>
                    <a:gd name="connsiteY22" fmla="*/ 340953 h 487660"/>
                    <a:gd name="connsiteX23" fmla="*/ 95589 w 320504"/>
                    <a:gd name="connsiteY23" fmla="*/ 340953 h 487660"/>
                    <a:gd name="connsiteX24" fmla="*/ 98145 w 320504"/>
                    <a:gd name="connsiteY24" fmla="*/ 341464 h 487660"/>
                    <a:gd name="connsiteX25" fmla="*/ 103257 w 320504"/>
                    <a:gd name="connsiteY25" fmla="*/ 341975 h 487660"/>
                    <a:gd name="connsiteX26" fmla="*/ 105301 w 320504"/>
                    <a:gd name="connsiteY26" fmla="*/ 338397 h 487660"/>
                    <a:gd name="connsiteX27" fmla="*/ 85877 w 320504"/>
                    <a:gd name="connsiteY27" fmla="*/ 336864 h 487660"/>
                    <a:gd name="connsiteX28" fmla="*/ 66963 w 320504"/>
                    <a:gd name="connsiteY28" fmla="*/ 318461 h 487660"/>
                    <a:gd name="connsiteX29" fmla="*/ 24025 w 320504"/>
                    <a:gd name="connsiteY29" fmla="*/ 315394 h 487660"/>
                    <a:gd name="connsiteX30" fmla="*/ 22492 w 320504"/>
                    <a:gd name="connsiteY30" fmla="*/ 313861 h 487660"/>
                    <a:gd name="connsiteX31" fmla="*/ 21469 w 320504"/>
                    <a:gd name="connsiteY31" fmla="*/ 311816 h 487660"/>
                    <a:gd name="connsiteX32" fmla="*/ 32204 w 320504"/>
                    <a:gd name="connsiteY32" fmla="*/ 305682 h 487660"/>
                    <a:gd name="connsiteX33" fmla="*/ 77698 w 320504"/>
                    <a:gd name="connsiteY33" fmla="*/ 73098 h 487660"/>
                    <a:gd name="connsiteX34" fmla="*/ 83321 w 320504"/>
                    <a:gd name="connsiteY34" fmla="*/ 30159 h 487660"/>
                    <a:gd name="connsiteX35" fmla="*/ 111947 w 320504"/>
                    <a:gd name="connsiteY35" fmla="*/ 26070 h 487660"/>
                    <a:gd name="connsiteX36" fmla="*/ 110924 w 320504"/>
                    <a:gd name="connsiteY36" fmla="*/ 55207 h 487660"/>
                    <a:gd name="connsiteX37" fmla="*/ 135460 w 320504"/>
                    <a:gd name="connsiteY37" fmla="*/ 70031 h 487660"/>
                    <a:gd name="connsiteX38" fmla="*/ 182999 w 320504"/>
                    <a:gd name="connsiteY38" fmla="*/ 46517 h 487660"/>
                    <a:gd name="connsiteX39" fmla="*/ 236161 w 320504"/>
                    <a:gd name="connsiteY39" fmla="*/ 0 h 487660"/>
                    <a:gd name="connsiteX40" fmla="*/ 273477 w 320504"/>
                    <a:gd name="connsiteY40" fmla="*/ 76676 h 487660"/>
                    <a:gd name="connsiteX41" fmla="*/ 320504 w 320504"/>
                    <a:gd name="connsiteY41" fmla="*/ 143640 h 487660"/>
                    <a:gd name="connsiteX42" fmla="*/ 274499 w 320504"/>
                    <a:gd name="connsiteY42" fmla="*/ 190668 h 487660"/>
                    <a:gd name="connsiteX43" fmla="*/ 207024 w 320504"/>
                    <a:gd name="connsiteY43" fmla="*/ 253031 h 48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320504" h="487660">
                      <a:moveTo>
                        <a:pt x="207024" y="253031"/>
                      </a:moveTo>
                      <a:lnTo>
                        <a:pt x="262231" y="332263"/>
                      </a:lnTo>
                      <a:lnTo>
                        <a:pt x="208558" y="365489"/>
                      </a:lnTo>
                      <a:lnTo>
                        <a:pt x="208047" y="385936"/>
                      </a:lnTo>
                      <a:lnTo>
                        <a:pt x="237184" y="403316"/>
                      </a:lnTo>
                      <a:lnTo>
                        <a:pt x="285745" y="416096"/>
                      </a:lnTo>
                      <a:lnTo>
                        <a:pt x="293412" y="425808"/>
                      </a:lnTo>
                      <a:lnTo>
                        <a:pt x="266831" y="454434"/>
                      </a:lnTo>
                      <a:lnTo>
                        <a:pt x="250985" y="487660"/>
                      </a:lnTo>
                      <a:lnTo>
                        <a:pt x="234628" y="478970"/>
                      </a:lnTo>
                      <a:lnTo>
                        <a:pt x="193734" y="420696"/>
                      </a:lnTo>
                      <a:lnTo>
                        <a:pt x="176354" y="414562"/>
                      </a:lnTo>
                      <a:lnTo>
                        <a:pt x="146706" y="438587"/>
                      </a:lnTo>
                      <a:lnTo>
                        <a:pt x="105301" y="458523"/>
                      </a:lnTo>
                      <a:lnTo>
                        <a:pt x="68497" y="461079"/>
                      </a:lnTo>
                      <a:lnTo>
                        <a:pt x="21980" y="462612"/>
                      </a:lnTo>
                      <a:lnTo>
                        <a:pt x="39360" y="394626"/>
                      </a:lnTo>
                      <a:lnTo>
                        <a:pt x="0" y="400760"/>
                      </a:lnTo>
                      <a:lnTo>
                        <a:pt x="27603" y="332774"/>
                      </a:lnTo>
                      <a:lnTo>
                        <a:pt x="23003" y="321528"/>
                      </a:lnTo>
                      <a:lnTo>
                        <a:pt x="18913" y="317439"/>
                      </a:lnTo>
                      <a:lnTo>
                        <a:pt x="64408" y="322040"/>
                      </a:lnTo>
                      <a:lnTo>
                        <a:pt x="83321" y="340953"/>
                      </a:lnTo>
                      <a:lnTo>
                        <a:pt x="95589" y="340953"/>
                      </a:lnTo>
                      <a:lnTo>
                        <a:pt x="98145" y="341464"/>
                      </a:lnTo>
                      <a:lnTo>
                        <a:pt x="103257" y="341975"/>
                      </a:lnTo>
                      <a:lnTo>
                        <a:pt x="105301" y="338397"/>
                      </a:lnTo>
                      <a:lnTo>
                        <a:pt x="85877" y="336864"/>
                      </a:lnTo>
                      <a:lnTo>
                        <a:pt x="66963" y="318461"/>
                      </a:lnTo>
                      <a:lnTo>
                        <a:pt x="24025" y="315394"/>
                      </a:lnTo>
                      <a:lnTo>
                        <a:pt x="22492" y="313861"/>
                      </a:lnTo>
                      <a:lnTo>
                        <a:pt x="21469" y="311816"/>
                      </a:lnTo>
                      <a:lnTo>
                        <a:pt x="32204" y="305682"/>
                      </a:lnTo>
                      <a:lnTo>
                        <a:pt x="77698" y="73098"/>
                      </a:lnTo>
                      <a:lnTo>
                        <a:pt x="83321" y="30159"/>
                      </a:lnTo>
                      <a:lnTo>
                        <a:pt x="111947" y="26070"/>
                      </a:lnTo>
                      <a:cubicBezTo>
                        <a:pt x="111947" y="26070"/>
                        <a:pt x="110413" y="54184"/>
                        <a:pt x="110924" y="55207"/>
                      </a:cubicBezTo>
                      <a:cubicBezTo>
                        <a:pt x="110924" y="56229"/>
                        <a:pt x="135460" y="70031"/>
                        <a:pt x="135460" y="70031"/>
                      </a:cubicBezTo>
                      <a:lnTo>
                        <a:pt x="182999" y="46517"/>
                      </a:lnTo>
                      <a:lnTo>
                        <a:pt x="236161" y="0"/>
                      </a:lnTo>
                      <a:lnTo>
                        <a:pt x="273477" y="76676"/>
                      </a:lnTo>
                      <a:lnTo>
                        <a:pt x="320504" y="143640"/>
                      </a:lnTo>
                      <a:lnTo>
                        <a:pt x="274499" y="190668"/>
                      </a:lnTo>
                      <a:lnTo>
                        <a:pt x="207024" y="253031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9" name="Freihandform: Form 138">
                  <a:extLst>
                    <a:ext uri="{FF2B5EF4-FFF2-40B4-BE49-F238E27FC236}">
                      <a16:creationId xmlns:a16="http://schemas.microsoft.com/office/drawing/2014/main" id="{4CD2C7F4-370D-42AC-BCE1-E8F56BBC4215}"/>
                    </a:ext>
                  </a:extLst>
                </p:cNvPr>
                <p:cNvSpPr/>
                <p:nvPr/>
              </p:nvSpPr>
              <p:spPr>
                <a:xfrm>
                  <a:off x="5909526" y="550692"/>
                  <a:ext cx="3263829" cy="3391127"/>
                </a:xfrm>
                <a:custGeom>
                  <a:avLst/>
                  <a:gdLst>
                    <a:gd name="connsiteX0" fmla="*/ 666056 w 3263829"/>
                    <a:gd name="connsiteY0" fmla="*/ 2275747 h 3391127"/>
                    <a:gd name="connsiteX1" fmla="*/ 653277 w 3263829"/>
                    <a:gd name="connsiteY1" fmla="*/ 2282392 h 3391127"/>
                    <a:gd name="connsiteX2" fmla="*/ 632830 w 3263829"/>
                    <a:gd name="connsiteY2" fmla="*/ 2329931 h 3391127"/>
                    <a:gd name="connsiteX3" fmla="*/ 635386 w 3263829"/>
                    <a:gd name="connsiteY3" fmla="*/ 2357023 h 3391127"/>
                    <a:gd name="connsiteX4" fmla="*/ 608294 w 3263829"/>
                    <a:gd name="connsiteY4" fmla="*/ 2366736 h 3391127"/>
                    <a:gd name="connsiteX5" fmla="*/ 593981 w 3263829"/>
                    <a:gd name="connsiteY5" fmla="*/ 2362135 h 3391127"/>
                    <a:gd name="connsiteX6" fmla="*/ 312326 w 3263829"/>
                    <a:gd name="connsiteY6" fmla="*/ 2523155 h 3391127"/>
                    <a:gd name="connsiteX7" fmla="*/ 305169 w 3263829"/>
                    <a:gd name="connsiteY7" fmla="*/ 2549225 h 3391127"/>
                    <a:gd name="connsiteX8" fmla="*/ 323572 w 3263829"/>
                    <a:gd name="connsiteY8" fmla="*/ 2611077 h 3391127"/>
                    <a:gd name="connsiteX9" fmla="*/ 204469 w 3263829"/>
                    <a:gd name="connsiteY9" fmla="*/ 2613121 h 3391127"/>
                    <a:gd name="connsiteX10" fmla="*/ 161019 w 3263829"/>
                    <a:gd name="connsiteY10" fmla="*/ 2583473 h 3391127"/>
                    <a:gd name="connsiteX11" fmla="*/ 164086 w 3263829"/>
                    <a:gd name="connsiteY11" fmla="*/ 2556381 h 3391127"/>
                    <a:gd name="connsiteX12" fmla="*/ 108368 w 3263829"/>
                    <a:gd name="connsiteY12" fmla="*/ 2509353 h 3391127"/>
                    <a:gd name="connsiteX13" fmla="*/ 28114 w 3263829"/>
                    <a:gd name="connsiteY13" fmla="*/ 2344244 h 3391127"/>
                    <a:gd name="connsiteX14" fmla="*/ 72586 w 3263829"/>
                    <a:gd name="connsiteY14" fmla="*/ 2329420 h 3391127"/>
                    <a:gd name="connsiteX15" fmla="*/ 44472 w 3263829"/>
                    <a:gd name="connsiteY15" fmla="*/ 2241498 h 3391127"/>
                    <a:gd name="connsiteX16" fmla="*/ 7668 w 3263829"/>
                    <a:gd name="connsiteY16" fmla="*/ 2231274 h 3391127"/>
                    <a:gd name="connsiteX17" fmla="*/ 0 w 3263829"/>
                    <a:gd name="connsiteY17" fmla="*/ 2200604 h 3391127"/>
                    <a:gd name="connsiteX18" fmla="*/ 117058 w 3263829"/>
                    <a:gd name="connsiteY18" fmla="*/ 2038562 h 3391127"/>
                    <a:gd name="connsiteX19" fmla="*/ 120636 w 3263829"/>
                    <a:gd name="connsiteY19" fmla="*/ 1930704 h 3391127"/>
                    <a:gd name="connsiteX20" fmla="*/ 74120 w 3263829"/>
                    <a:gd name="connsiteY20" fmla="*/ 1888277 h 3391127"/>
                    <a:gd name="connsiteX21" fmla="*/ 24025 w 3263829"/>
                    <a:gd name="connsiteY21" fmla="*/ 1756394 h 3391127"/>
                    <a:gd name="connsiteX22" fmla="*/ 82299 w 3263829"/>
                    <a:gd name="connsiteY22" fmla="*/ 1714477 h 3391127"/>
                    <a:gd name="connsiteX23" fmla="*/ 195267 w 3263829"/>
                    <a:gd name="connsiteY23" fmla="*/ 1742081 h 3391127"/>
                    <a:gd name="connsiteX24" fmla="*/ 292390 w 3263829"/>
                    <a:gd name="connsiteY24" fmla="*/ 1723679 h 3391127"/>
                    <a:gd name="connsiteX25" fmla="*/ 326127 w 3263829"/>
                    <a:gd name="connsiteY25" fmla="*/ 1664382 h 3391127"/>
                    <a:gd name="connsiteX26" fmla="*/ 269899 w 3263829"/>
                    <a:gd name="connsiteY26" fmla="*/ 1629623 h 3391127"/>
                    <a:gd name="connsiteX27" fmla="*/ 303125 w 3263829"/>
                    <a:gd name="connsiteY27" fmla="*/ 1586173 h 3391127"/>
                    <a:gd name="connsiteX28" fmla="*/ 330728 w 3263829"/>
                    <a:gd name="connsiteY28" fmla="*/ 1590262 h 3391127"/>
                    <a:gd name="connsiteX29" fmla="*/ 411493 w 3263829"/>
                    <a:gd name="connsiteY29" fmla="*/ 1514097 h 3391127"/>
                    <a:gd name="connsiteX30" fmla="*/ 491747 w 3263829"/>
                    <a:gd name="connsiteY30" fmla="*/ 1505407 h 3391127"/>
                    <a:gd name="connsiteX31" fmla="*/ 577113 w 3263829"/>
                    <a:gd name="connsiteY31" fmla="*/ 1445089 h 3391127"/>
                    <a:gd name="connsiteX32" fmla="*/ 588869 w 3263829"/>
                    <a:gd name="connsiteY32" fmla="*/ 1386304 h 3391127"/>
                    <a:gd name="connsiteX33" fmla="*/ 625674 w 3263829"/>
                    <a:gd name="connsiteY33" fmla="*/ 1389371 h 3391127"/>
                    <a:gd name="connsiteX34" fmla="*/ 718196 w 3263829"/>
                    <a:gd name="connsiteY34" fmla="*/ 1451223 h 3391127"/>
                    <a:gd name="connsiteX35" fmla="*/ 694682 w 3263829"/>
                    <a:gd name="connsiteY35" fmla="*/ 1541190 h 3391127"/>
                    <a:gd name="connsiteX36" fmla="*/ 733020 w 3263829"/>
                    <a:gd name="connsiteY36" fmla="*/ 1552947 h 3391127"/>
                    <a:gd name="connsiteX37" fmla="*/ 727397 w 3263829"/>
                    <a:gd name="connsiteY37" fmla="*/ 1577994 h 3391127"/>
                    <a:gd name="connsiteX38" fmla="*/ 675769 w 3263829"/>
                    <a:gd name="connsiteY38" fmla="*/ 1598441 h 3391127"/>
                    <a:gd name="connsiteX39" fmla="*/ 734553 w 3263829"/>
                    <a:gd name="connsiteY39" fmla="*/ 1636779 h 3391127"/>
                    <a:gd name="connsiteX40" fmla="*/ 827075 w 3263829"/>
                    <a:gd name="connsiteY40" fmla="*/ 1570838 h 3391127"/>
                    <a:gd name="connsiteX41" fmla="*/ 874103 w 3263829"/>
                    <a:gd name="connsiteY41" fmla="*/ 1582595 h 3391127"/>
                    <a:gd name="connsiteX42" fmla="*/ 906307 w 3263829"/>
                    <a:gd name="connsiteY42" fmla="*/ 1551413 h 3391127"/>
                    <a:gd name="connsiteX43" fmla="*/ 828098 w 3263829"/>
                    <a:gd name="connsiteY43" fmla="*/ 1394994 h 3391127"/>
                    <a:gd name="connsiteX44" fmla="*/ 955891 w 3263829"/>
                    <a:gd name="connsiteY44" fmla="*/ 1344388 h 3391127"/>
                    <a:gd name="connsiteX45" fmla="*/ 972248 w 3263829"/>
                    <a:gd name="connsiteY45" fmla="*/ 1359723 h 3391127"/>
                    <a:gd name="connsiteX46" fmla="*/ 971226 w 3263829"/>
                    <a:gd name="connsiteY46" fmla="*/ 1410329 h 3391127"/>
                    <a:gd name="connsiteX47" fmla="*/ 1066304 w 3263829"/>
                    <a:gd name="connsiteY47" fmla="*/ 1411351 h 3391127"/>
                    <a:gd name="connsiteX48" fmla="*/ 1090329 w 3263829"/>
                    <a:gd name="connsiteY48" fmla="*/ 1370457 h 3391127"/>
                    <a:gd name="connsiteX49" fmla="*/ 1123555 w 3263829"/>
                    <a:gd name="connsiteY49" fmla="*/ 1411351 h 3391127"/>
                    <a:gd name="connsiteX50" fmla="*/ 1069882 w 3263829"/>
                    <a:gd name="connsiteY50" fmla="*/ 1487516 h 3391127"/>
                    <a:gd name="connsiteX51" fmla="*/ 1206876 w 3263829"/>
                    <a:gd name="connsiteY51" fmla="*/ 1725723 h 3391127"/>
                    <a:gd name="connsiteX52" fmla="*/ 1240102 w 3263829"/>
                    <a:gd name="connsiteY52" fmla="*/ 1726746 h 3391127"/>
                    <a:gd name="connsiteX53" fmla="*/ 1236012 w 3263829"/>
                    <a:gd name="connsiteY53" fmla="*/ 1857095 h 3391127"/>
                    <a:gd name="connsiteX54" fmla="*/ 1157803 w 3263829"/>
                    <a:gd name="connsiteY54" fmla="*/ 1982844 h 3391127"/>
                    <a:gd name="connsiteX55" fmla="*/ 1122021 w 3263829"/>
                    <a:gd name="connsiteY55" fmla="*/ 1981310 h 3391127"/>
                    <a:gd name="connsiteX56" fmla="*/ 1119465 w 3263829"/>
                    <a:gd name="connsiteY56" fmla="*/ 1941950 h 3391127"/>
                    <a:gd name="connsiteX57" fmla="*/ 1048924 w 3263829"/>
                    <a:gd name="connsiteY57" fmla="*/ 1951151 h 3391127"/>
                    <a:gd name="connsiteX58" fmla="*/ 941578 w 3263829"/>
                    <a:gd name="connsiteY58" fmla="*/ 2062076 h 3391127"/>
                    <a:gd name="connsiteX59" fmla="*/ 963047 w 3263829"/>
                    <a:gd name="connsiteY59" fmla="*/ 2081500 h 3391127"/>
                    <a:gd name="connsiteX60" fmla="*/ 992184 w 3263829"/>
                    <a:gd name="connsiteY60" fmla="*/ 2062076 h 3391127"/>
                    <a:gd name="connsiteX61" fmla="*/ 1017742 w 3263829"/>
                    <a:gd name="connsiteY61" fmla="*/ 2123417 h 3391127"/>
                    <a:gd name="connsiteX62" fmla="*/ 926243 w 3263829"/>
                    <a:gd name="connsiteY62" fmla="*/ 2178112 h 3391127"/>
                    <a:gd name="connsiteX63" fmla="*/ 795383 w 3263829"/>
                    <a:gd name="connsiteY63" fmla="*/ 2409674 h 3391127"/>
                    <a:gd name="connsiteX64" fmla="*/ 666056 w 3263829"/>
                    <a:gd name="connsiteY64" fmla="*/ 2275747 h 3391127"/>
                    <a:gd name="connsiteX65" fmla="*/ 157441 w 3263829"/>
                    <a:gd name="connsiteY65" fmla="*/ 3073689 h 3391127"/>
                    <a:gd name="connsiteX66" fmla="*/ 155907 w 3263829"/>
                    <a:gd name="connsiteY66" fmla="*/ 3059887 h 3391127"/>
                    <a:gd name="connsiteX67" fmla="*/ 205491 w 3263829"/>
                    <a:gd name="connsiteY67" fmla="*/ 2985767 h 3391127"/>
                    <a:gd name="connsiteX68" fmla="*/ 222360 w 3263829"/>
                    <a:gd name="connsiteY68" fmla="*/ 2911647 h 3391127"/>
                    <a:gd name="connsiteX69" fmla="*/ 113480 w 3263829"/>
                    <a:gd name="connsiteY69" fmla="*/ 2852862 h 3391127"/>
                    <a:gd name="connsiteX70" fmla="*/ 77698 w 3263829"/>
                    <a:gd name="connsiteY70" fmla="*/ 2794077 h 3391127"/>
                    <a:gd name="connsiteX71" fmla="*/ 89966 w 3263829"/>
                    <a:gd name="connsiteY71" fmla="*/ 2660149 h 3391127"/>
                    <a:gd name="connsiteX72" fmla="*/ 160508 w 3263829"/>
                    <a:gd name="connsiteY72" fmla="*/ 2583473 h 3391127"/>
                    <a:gd name="connsiteX73" fmla="*/ 203957 w 3263829"/>
                    <a:gd name="connsiteY73" fmla="*/ 2613121 h 3391127"/>
                    <a:gd name="connsiteX74" fmla="*/ 323060 w 3263829"/>
                    <a:gd name="connsiteY74" fmla="*/ 2611077 h 3391127"/>
                    <a:gd name="connsiteX75" fmla="*/ 304658 w 3263829"/>
                    <a:gd name="connsiteY75" fmla="*/ 2549225 h 3391127"/>
                    <a:gd name="connsiteX76" fmla="*/ 311815 w 3263829"/>
                    <a:gd name="connsiteY76" fmla="*/ 2523155 h 3391127"/>
                    <a:gd name="connsiteX77" fmla="*/ 593470 w 3263829"/>
                    <a:gd name="connsiteY77" fmla="*/ 2362646 h 3391127"/>
                    <a:gd name="connsiteX78" fmla="*/ 607783 w 3263829"/>
                    <a:gd name="connsiteY78" fmla="*/ 2367247 h 3391127"/>
                    <a:gd name="connsiteX79" fmla="*/ 634875 w 3263829"/>
                    <a:gd name="connsiteY79" fmla="*/ 2357534 h 3391127"/>
                    <a:gd name="connsiteX80" fmla="*/ 632319 w 3263829"/>
                    <a:gd name="connsiteY80" fmla="*/ 2330442 h 3391127"/>
                    <a:gd name="connsiteX81" fmla="*/ 652766 w 3263829"/>
                    <a:gd name="connsiteY81" fmla="*/ 2282903 h 3391127"/>
                    <a:gd name="connsiteX82" fmla="*/ 665545 w 3263829"/>
                    <a:gd name="connsiteY82" fmla="*/ 2276258 h 3391127"/>
                    <a:gd name="connsiteX83" fmla="*/ 794360 w 3263829"/>
                    <a:gd name="connsiteY83" fmla="*/ 2410697 h 3391127"/>
                    <a:gd name="connsiteX84" fmla="*/ 803561 w 3263829"/>
                    <a:gd name="connsiteY84" fmla="*/ 2465903 h 3391127"/>
                    <a:gd name="connsiteX85" fmla="*/ 739665 w 3263829"/>
                    <a:gd name="connsiteY85" fmla="*/ 2511398 h 3391127"/>
                    <a:gd name="connsiteX86" fmla="*/ 742732 w 3263829"/>
                    <a:gd name="connsiteY86" fmla="*/ 2576317 h 3391127"/>
                    <a:gd name="connsiteX87" fmla="*/ 771358 w 3263829"/>
                    <a:gd name="connsiteY87" fmla="*/ 2588074 h 3391127"/>
                    <a:gd name="connsiteX88" fmla="*/ 796916 w 3263829"/>
                    <a:gd name="connsiteY88" fmla="*/ 2643792 h 3391127"/>
                    <a:gd name="connsiteX89" fmla="*/ 673213 w 3263829"/>
                    <a:gd name="connsiteY89" fmla="*/ 2765962 h 3391127"/>
                    <a:gd name="connsiteX90" fmla="*/ 720241 w 3263829"/>
                    <a:gd name="connsiteY90" fmla="*/ 2823214 h 3391127"/>
                    <a:gd name="connsiteX91" fmla="*/ 749377 w 3263829"/>
                    <a:gd name="connsiteY91" fmla="*/ 2824747 h 3391127"/>
                    <a:gd name="connsiteX92" fmla="*/ 799983 w 3263829"/>
                    <a:gd name="connsiteY92" fmla="*/ 2801234 h 3391127"/>
                    <a:gd name="connsiteX93" fmla="*/ 871547 w 3263829"/>
                    <a:gd name="connsiteY93" fmla="*/ 2814524 h 3391127"/>
                    <a:gd name="connsiteX94" fmla="*/ 898128 w 3263829"/>
                    <a:gd name="connsiteY94" fmla="*/ 2931583 h 3391127"/>
                    <a:gd name="connsiteX95" fmla="*/ 886882 w 3263829"/>
                    <a:gd name="connsiteY95" fmla="*/ 2997013 h 3391127"/>
                    <a:gd name="connsiteX96" fmla="*/ 903751 w 3263829"/>
                    <a:gd name="connsiteY96" fmla="*/ 3035862 h 3391127"/>
                    <a:gd name="connsiteX97" fmla="*/ 910396 w 3263829"/>
                    <a:gd name="connsiteY97" fmla="*/ 3091580 h 3391127"/>
                    <a:gd name="connsiteX98" fmla="*/ 935444 w 3263829"/>
                    <a:gd name="connsiteY98" fmla="*/ 3144742 h 3391127"/>
                    <a:gd name="connsiteX99" fmla="*/ 922153 w 3263829"/>
                    <a:gd name="connsiteY99" fmla="*/ 3198415 h 3391127"/>
                    <a:gd name="connsiteX100" fmla="*/ 929310 w 3263829"/>
                    <a:gd name="connsiteY100" fmla="*/ 3216818 h 3391127"/>
                    <a:gd name="connsiteX101" fmla="*/ 905284 w 3263829"/>
                    <a:gd name="connsiteY101" fmla="*/ 3244932 h 3391127"/>
                    <a:gd name="connsiteX102" fmla="*/ 858257 w 3263829"/>
                    <a:gd name="connsiteY102" fmla="*/ 3391128 h 3391127"/>
                    <a:gd name="connsiteX103" fmla="*/ 772380 w 3263829"/>
                    <a:gd name="connsiteY103" fmla="*/ 3365058 h 3391127"/>
                    <a:gd name="connsiteX104" fmla="*/ 762157 w 3263829"/>
                    <a:gd name="connsiteY104" fmla="*/ 3349212 h 3391127"/>
                    <a:gd name="connsiteX105" fmla="*/ 745288 w 3263829"/>
                    <a:gd name="connsiteY105" fmla="*/ 3338988 h 3391127"/>
                    <a:gd name="connsiteX106" fmla="*/ 716151 w 3263829"/>
                    <a:gd name="connsiteY106" fmla="*/ 3350746 h 3391127"/>
                    <a:gd name="connsiteX107" fmla="*/ 578135 w 3263829"/>
                    <a:gd name="connsiteY107" fmla="*/ 3304740 h 3391127"/>
                    <a:gd name="connsiteX108" fmla="*/ 570467 w 3263829"/>
                    <a:gd name="connsiteY108" fmla="*/ 3278670 h 3391127"/>
                    <a:gd name="connsiteX109" fmla="*/ 530596 w 3263829"/>
                    <a:gd name="connsiteY109" fmla="*/ 3281737 h 3391127"/>
                    <a:gd name="connsiteX110" fmla="*/ 525995 w 3263829"/>
                    <a:gd name="connsiteY110" fmla="*/ 3219374 h 3391127"/>
                    <a:gd name="connsiteX111" fmla="*/ 542353 w 3263829"/>
                    <a:gd name="connsiteY111" fmla="*/ 3211195 h 3391127"/>
                    <a:gd name="connsiteX112" fmla="*/ 539797 w 3263829"/>
                    <a:gd name="connsiteY112" fmla="*/ 3171323 h 3391127"/>
                    <a:gd name="connsiteX113" fmla="*/ 491747 w 3263829"/>
                    <a:gd name="connsiteY113" fmla="*/ 3142186 h 3391127"/>
                    <a:gd name="connsiteX114" fmla="*/ 491747 w 3263829"/>
                    <a:gd name="connsiteY114" fmla="*/ 3130429 h 3391127"/>
                    <a:gd name="connsiteX115" fmla="*/ 507593 w 3263829"/>
                    <a:gd name="connsiteY115" fmla="*/ 3112538 h 3391127"/>
                    <a:gd name="connsiteX116" fmla="*/ 496347 w 3263829"/>
                    <a:gd name="connsiteY116" fmla="*/ 3058865 h 3391127"/>
                    <a:gd name="connsiteX117" fmla="*/ 407404 w 3263829"/>
                    <a:gd name="connsiteY117" fmla="*/ 3021549 h 3391127"/>
                    <a:gd name="connsiteX118" fmla="*/ 375200 w 3263829"/>
                    <a:gd name="connsiteY118" fmla="*/ 3021549 h 3391127"/>
                    <a:gd name="connsiteX119" fmla="*/ 252008 w 3263829"/>
                    <a:gd name="connsiteY119" fmla="*/ 3082890 h 3391127"/>
                    <a:gd name="connsiteX120" fmla="*/ 157441 w 3263829"/>
                    <a:gd name="connsiteY120" fmla="*/ 3073689 h 3391127"/>
                    <a:gd name="connsiteX121" fmla="*/ 3263829 w 3263829"/>
                    <a:gd name="connsiteY121" fmla="*/ 2164822 h 3391127"/>
                    <a:gd name="connsiteX122" fmla="*/ 3192265 w 3263829"/>
                    <a:gd name="connsiteY122" fmla="*/ 2201115 h 3391127"/>
                    <a:gd name="connsiteX123" fmla="*/ 3132458 w 3263829"/>
                    <a:gd name="connsiteY123" fmla="*/ 2187825 h 3391127"/>
                    <a:gd name="connsiteX124" fmla="*/ 3135525 w 3263829"/>
                    <a:gd name="connsiteY124" fmla="*/ 2151531 h 3391127"/>
                    <a:gd name="connsiteX125" fmla="*/ 3069584 w 3263829"/>
                    <a:gd name="connsiteY125" fmla="*/ 2093257 h 3391127"/>
                    <a:gd name="connsiteX126" fmla="*/ 3003132 w 3263829"/>
                    <a:gd name="connsiteY126" fmla="*/ 2091213 h 3391127"/>
                    <a:gd name="connsiteX127" fmla="*/ 2998531 w 3263829"/>
                    <a:gd name="connsiteY127" fmla="*/ 2134151 h 3391127"/>
                    <a:gd name="connsiteX128" fmla="*/ 3043514 w 3263829"/>
                    <a:gd name="connsiteY128" fmla="*/ 2152042 h 3391127"/>
                    <a:gd name="connsiteX129" fmla="*/ 3043514 w 3263829"/>
                    <a:gd name="connsiteY129" fmla="*/ 2175045 h 3391127"/>
                    <a:gd name="connsiteX130" fmla="*/ 2784351 w 3263829"/>
                    <a:gd name="connsiteY130" fmla="*/ 2294149 h 3391127"/>
                    <a:gd name="connsiteX131" fmla="*/ 2732722 w 3263829"/>
                    <a:gd name="connsiteY131" fmla="*/ 2361624 h 3391127"/>
                    <a:gd name="connsiteX132" fmla="*/ 2670871 w 3263829"/>
                    <a:gd name="connsiteY132" fmla="*/ 2382582 h 3391127"/>
                    <a:gd name="connsiteX133" fmla="*/ 2650935 w 3263829"/>
                    <a:gd name="connsiteY133" fmla="*/ 2376959 h 3391127"/>
                    <a:gd name="connsiteX134" fmla="*/ 2629977 w 3263829"/>
                    <a:gd name="connsiteY134" fmla="*/ 2398940 h 3391127"/>
                    <a:gd name="connsiteX135" fmla="*/ 2633044 w 3263829"/>
                    <a:gd name="connsiteY135" fmla="*/ 2426543 h 3391127"/>
                    <a:gd name="connsiteX136" fmla="*/ 2546145 w 3263829"/>
                    <a:gd name="connsiteY136" fmla="*/ 2477660 h 3391127"/>
                    <a:gd name="connsiteX137" fmla="*/ 2496561 w 3263829"/>
                    <a:gd name="connsiteY137" fmla="*/ 2465392 h 3391127"/>
                    <a:gd name="connsiteX138" fmla="*/ 2345254 w 3263829"/>
                    <a:gd name="connsiteY138" fmla="*/ 2553825 h 3391127"/>
                    <a:gd name="connsiteX139" fmla="*/ 2326341 w 3263829"/>
                    <a:gd name="connsiteY139" fmla="*/ 2606987 h 3391127"/>
                    <a:gd name="connsiteX140" fmla="*/ 2309983 w 3263829"/>
                    <a:gd name="connsiteY140" fmla="*/ 2611588 h 3391127"/>
                    <a:gd name="connsiteX141" fmla="*/ 2285959 w 3263829"/>
                    <a:gd name="connsiteY141" fmla="*/ 2587563 h 3391127"/>
                    <a:gd name="connsiteX142" fmla="*/ 2249665 w 3263829"/>
                    <a:gd name="connsiteY142" fmla="*/ 2550758 h 3391127"/>
                    <a:gd name="connsiteX143" fmla="*/ 2162766 w 3263829"/>
                    <a:gd name="connsiteY143" fmla="*/ 2495040 h 3391127"/>
                    <a:gd name="connsiteX144" fmla="*/ 2177590 w 3263829"/>
                    <a:gd name="connsiteY144" fmla="*/ 2421431 h 3391127"/>
                    <a:gd name="connsiteX145" fmla="*/ 2193948 w 3263829"/>
                    <a:gd name="connsiteY145" fmla="*/ 2408141 h 3391127"/>
                    <a:gd name="connsiteX146" fmla="*/ 2247109 w 3263829"/>
                    <a:gd name="connsiteY146" fmla="*/ 2408141 h 3391127"/>
                    <a:gd name="connsiteX147" fmla="*/ 2292604 w 3263829"/>
                    <a:gd name="connsiteY147" fmla="*/ 2337599 h 3391127"/>
                    <a:gd name="connsiteX148" fmla="*/ 2266023 w 3263829"/>
                    <a:gd name="connsiteY148" fmla="*/ 2271146 h 3391127"/>
                    <a:gd name="connsiteX149" fmla="*/ 2401483 w 3263829"/>
                    <a:gd name="connsiteY149" fmla="*/ 2188847 h 3391127"/>
                    <a:gd name="connsiteX150" fmla="*/ 2391260 w 3263829"/>
                    <a:gd name="connsiteY150" fmla="*/ 2156643 h 3391127"/>
                    <a:gd name="connsiteX151" fmla="*/ 2267045 w 3263829"/>
                    <a:gd name="connsiteY151" fmla="*/ 2107570 h 3391127"/>
                    <a:gd name="connsiteX152" fmla="*/ 2203660 w 3263829"/>
                    <a:gd name="connsiteY152" fmla="*/ 1894411 h 3391127"/>
                    <a:gd name="connsiteX153" fmla="*/ 2242509 w 3263829"/>
                    <a:gd name="connsiteY153" fmla="*/ 1837670 h 3391127"/>
                    <a:gd name="connsiteX154" fmla="*/ 2431131 w 3263829"/>
                    <a:gd name="connsiteY154" fmla="*/ 1760994 h 3391127"/>
                    <a:gd name="connsiteX155" fmla="*/ 2455667 w 3263829"/>
                    <a:gd name="connsiteY155" fmla="*/ 1782975 h 3391127"/>
                    <a:gd name="connsiteX156" fmla="*/ 2474581 w 3263829"/>
                    <a:gd name="connsiteY156" fmla="*/ 1778374 h 3391127"/>
                    <a:gd name="connsiteX157" fmla="*/ 2493494 w 3263829"/>
                    <a:gd name="connsiteY157" fmla="*/ 1753327 h 3391127"/>
                    <a:gd name="connsiteX158" fmla="*/ 2517008 w 3263829"/>
                    <a:gd name="connsiteY158" fmla="*/ 1760483 h 3391127"/>
                    <a:gd name="connsiteX159" fmla="*/ 2572726 w 3263829"/>
                    <a:gd name="connsiteY159" fmla="*/ 1811089 h 3391127"/>
                    <a:gd name="connsiteX160" fmla="*/ 2578348 w 3263829"/>
                    <a:gd name="connsiteY160" fmla="*/ 1845338 h 3391127"/>
                    <a:gd name="connsiteX161" fmla="*/ 2569659 w 3263829"/>
                    <a:gd name="connsiteY161" fmla="*/ 1857606 h 3391127"/>
                    <a:gd name="connsiteX162" fmla="*/ 2580904 w 3263829"/>
                    <a:gd name="connsiteY162" fmla="*/ 1902590 h 3391127"/>
                    <a:gd name="connsiteX163" fmla="*/ 2600840 w 3263829"/>
                    <a:gd name="connsiteY163" fmla="*/ 1908213 h 3391127"/>
                    <a:gd name="connsiteX164" fmla="*/ 2616175 w 3263829"/>
                    <a:gd name="connsiteY164" fmla="*/ 1879587 h 3391127"/>
                    <a:gd name="connsiteX165" fmla="*/ 2630488 w 3263829"/>
                    <a:gd name="connsiteY165" fmla="*/ 1870897 h 3391127"/>
                    <a:gd name="connsiteX166" fmla="*/ 2724032 w 3263829"/>
                    <a:gd name="connsiteY166" fmla="*/ 1901567 h 3391127"/>
                    <a:gd name="connsiteX167" fmla="*/ 2866138 w 3263829"/>
                    <a:gd name="connsiteY167" fmla="*/ 1887254 h 3391127"/>
                    <a:gd name="connsiteX168" fmla="*/ 2874828 w 3263829"/>
                    <a:gd name="connsiteY168" fmla="*/ 1843293 h 3391127"/>
                    <a:gd name="connsiteX169" fmla="*/ 2903454 w 3263829"/>
                    <a:gd name="connsiteY169" fmla="*/ 1793198 h 3391127"/>
                    <a:gd name="connsiteX170" fmla="*/ 2973484 w 3263829"/>
                    <a:gd name="connsiteY170" fmla="*/ 1809556 h 3391127"/>
                    <a:gd name="connsiteX171" fmla="*/ 3011822 w 3263829"/>
                    <a:gd name="connsiteY171" fmla="*/ 1767128 h 3391127"/>
                    <a:gd name="connsiteX172" fmla="*/ 3122235 w 3263829"/>
                    <a:gd name="connsiteY172" fmla="*/ 1743103 h 3391127"/>
                    <a:gd name="connsiteX173" fmla="*/ 3112523 w 3263829"/>
                    <a:gd name="connsiteY173" fmla="*/ 1775307 h 3391127"/>
                    <a:gd name="connsiteX174" fmla="*/ 3124280 w 3263829"/>
                    <a:gd name="connsiteY174" fmla="*/ 1791665 h 3391127"/>
                    <a:gd name="connsiteX175" fmla="*/ 3182553 w 3263829"/>
                    <a:gd name="connsiteY175" fmla="*/ 1807000 h 3391127"/>
                    <a:gd name="connsiteX176" fmla="*/ 3244405 w 3263829"/>
                    <a:gd name="connsiteY176" fmla="*/ 1971598 h 3391127"/>
                    <a:gd name="connsiteX177" fmla="*/ 3229070 w 3263829"/>
                    <a:gd name="connsiteY177" fmla="*/ 2063609 h 3391127"/>
                    <a:gd name="connsiteX178" fmla="*/ 3262807 w 3263829"/>
                    <a:gd name="connsiteY178" fmla="*/ 2102459 h 3391127"/>
                    <a:gd name="connsiteX179" fmla="*/ 3262807 w 3263829"/>
                    <a:gd name="connsiteY179" fmla="*/ 2164822 h 3391127"/>
                    <a:gd name="connsiteX180" fmla="*/ 1677665 w 3263829"/>
                    <a:gd name="connsiteY180" fmla="*/ 1170077 h 3391127"/>
                    <a:gd name="connsiteX181" fmla="*/ 1689933 w 3263829"/>
                    <a:gd name="connsiteY181" fmla="*/ 1134806 h 3391127"/>
                    <a:gd name="connsiteX182" fmla="*/ 1756385 w 3263829"/>
                    <a:gd name="connsiteY182" fmla="*/ 1094935 h 3391127"/>
                    <a:gd name="connsiteX183" fmla="*/ 1872421 w 3263829"/>
                    <a:gd name="connsiteY183" fmla="*/ 1106181 h 3391127"/>
                    <a:gd name="connsiteX184" fmla="*/ 1956253 w 3263829"/>
                    <a:gd name="connsiteY184" fmla="*/ 1025415 h 3391127"/>
                    <a:gd name="connsiteX185" fmla="*/ 2090180 w 3263829"/>
                    <a:gd name="connsiteY185" fmla="*/ 1103625 h 3391127"/>
                    <a:gd name="connsiteX186" fmla="*/ 2165833 w 3263829"/>
                    <a:gd name="connsiteY186" fmla="*/ 1081644 h 3391127"/>
                    <a:gd name="connsiteX187" fmla="*/ 2191392 w 3263829"/>
                    <a:gd name="connsiteY187" fmla="*/ 1111292 h 3391127"/>
                    <a:gd name="connsiteX188" fmla="*/ 2176568 w 3263829"/>
                    <a:gd name="connsiteY188" fmla="*/ 1146052 h 3391127"/>
                    <a:gd name="connsiteX189" fmla="*/ 2187814 w 3263829"/>
                    <a:gd name="connsiteY189" fmla="*/ 1223750 h 3391127"/>
                    <a:gd name="connsiteX190" fmla="*/ 2168900 w 3263829"/>
                    <a:gd name="connsiteY190" fmla="*/ 1239086 h 3391127"/>
                    <a:gd name="connsiteX191" fmla="*/ 2167367 w 3263829"/>
                    <a:gd name="connsiteY191" fmla="*/ 1294293 h 3391127"/>
                    <a:gd name="connsiteX192" fmla="*/ 2231263 w 3263829"/>
                    <a:gd name="connsiteY192" fmla="*/ 1310650 h 3391127"/>
                    <a:gd name="connsiteX193" fmla="*/ 2210816 w 3263829"/>
                    <a:gd name="connsiteY193" fmla="*/ 1481893 h 3391127"/>
                    <a:gd name="connsiteX194" fmla="*/ 2280847 w 3263829"/>
                    <a:gd name="connsiteY194" fmla="*/ 1566237 h 3391127"/>
                    <a:gd name="connsiteX195" fmla="*/ 2339120 w 3263829"/>
                    <a:gd name="connsiteY195" fmla="*/ 1582595 h 3391127"/>
                    <a:gd name="connsiteX196" fmla="*/ 2369791 w 3263829"/>
                    <a:gd name="connsiteY196" fmla="*/ 1562659 h 3391127"/>
                    <a:gd name="connsiteX197" fmla="*/ 2527231 w 3263829"/>
                    <a:gd name="connsiteY197" fmla="*/ 1646491 h 3391127"/>
                    <a:gd name="connsiteX198" fmla="*/ 2559435 w 3263829"/>
                    <a:gd name="connsiteY198" fmla="*/ 1719078 h 3391127"/>
                    <a:gd name="connsiteX199" fmla="*/ 2518542 w 3263829"/>
                    <a:gd name="connsiteY199" fmla="*/ 1760994 h 3391127"/>
                    <a:gd name="connsiteX200" fmla="*/ 2495028 w 3263829"/>
                    <a:gd name="connsiteY200" fmla="*/ 1753838 h 3391127"/>
                    <a:gd name="connsiteX201" fmla="*/ 2476114 w 3263829"/>
                    <a:gd name="connsiteY201" fmla="*/ 1778885 h 3391127"/>
                    <a:gd name="connsiteX202" fmla="*/ 2457201 w 3263829"/>
                    <a:gd name="connsiteY202" fmla="*/ 1783486 h 3391127"/>
                    <a:gd name="connsiteX203" fmla="*/ 2432665 w 3263829"/>
                    <a:gd name="connsiteY203" fmla="*/ 1761506 h 3391127"/>
                    <a:gd name="connsiteX204" fmla="*/ 2244043 w 3263829"/>
                    <a:gd name="connsiteY204" fmla="*/ 1838182 h 3391127"/>
                    <a:gd name="connsiteX205" fmla="*/ 2205193 w 3263829"/>
                    <a:gd name="connsiteY205" fmla="*/ 1894922 h 3391127"/>
                    <a:gd name="connsiteX206" fmla="*/ 2268579 w 3263829"/>
                    <a:gd name="connsiteY206" fmla="*/ 2106548 h 3391127"/>
                    <a:gd name="connsiteX207" fmla="*/ 2275224 w 3263829"/>
                    <a:gd name="connsiteY207" fmla="*/ 2160221 h 3391127"/>
                    <a:gd name="connsiteX208" fmla="*/ 2261934 w 3263829"/>
                    <a:gd name="connsiteY208" fmla="*/ 2189869 h 3391127"/>
                    <a:gd name="connsiteX209" fmla="*/ 2169411 w 3263829"/>
                    <a:gd name="connsiteY209" fmla="*/ 2173512 h 3391127"/>
                    <a:gd name="connsiteX210" fmla="*/ 2160722 w 3263829"/>
                    <a:gd name="connsiteY210" fmla="*/ 2149998 h 3391127"/>
                    <a:gd name="connsiteX211" fmla="*/ 1978233 w 3263829"/>
                    <a:gd name="connsiteY211" fmla="*/ 2113193 h 3391127"/>
                    <a:gd name="connsiteX212" fmla="*/ 1942962 w 3263829"/>
                    <a:gd name="connsiteY212" fmla="*/ 2042651 h 3391127"/>
                    <a:gd name="connsiteX213" fmla="*/ 1975166 w 3263829"/>
                    <a:gd name="connsiteY213" fmla="*/ 2007891 h 3391127"/>
                    <a:gd name="connsiteX214" fmla="*/ 1944496 w 3263829"/>
                    <a:gd name="connsiteY214" fmla="*/ 1965464 h 3391127"/>
                    <a:gd name="connsiteX215" fmla="*/ 1792167 w 3263829"/>
                    <a:gd name="connsiteY215" fmla="*/ 1928659 h 3391127"/>
                    <a:gd name="connsiteX216" fmla="*/ 1770698 w 3263829"/>
                    <a:gd name="connsiteY216" fmla="*/ 1841249 h 3391127"/>
                    <a:gd name="connsiteX217" fmla="*/ 1695044 w 3263829"/>
                    <a:gd name="connsiteY217" fmla="*/ 1820291 h 3391127"/>
                    <a:gd name="connsiteX218" fmla="*/ 1655173 w 3263829"/>
                    <a:gd name="connsiteY218" fmla="*/ 1759461 h 3391127"/>
                    <a:gd name="connsiteX219" fmla="*/ 1650572 w 3263829"/>
                    <a:gd name="connsiteY219" fmla="*/ 1719589 h 3391127"/>
                    <a:gd name="connsiteX220" fmla="*/ 1668463 w 3263829"/>
                    <a:gd name="connsiteY220" fmla="*/ 1694030 h 3391127"/>
                    <a:gd name="connsiteX221" fmla="*/ 1639838 w 3263829"/>
                    <a:gd name="connsiteY221" fmla="*/ 1614799 h 3391127"/>
                    <a:gd name="connsiteX222" fmla="*/ 1793189 w 3263829"/>
                    <a:gd name="connsiteY222" fmla="*/ 1546301 h 3391127"/>
                    <a:gd name="connsiteX223" fmla="*/ 1786544 w 3263829"/>
                    <a:gd name="connsiteY223" fmla="*/ 1407262 h 3391127"/>
                    <a:gd name="connsiteX224" fmla="*/ 1752296 w 3263829"/>
                    <a:gd name="connsiteY224" fmla="*/ 1363301 h 3391127"/>
                    <a:gd name="connsiteX225" fmla="*/ 1756896 w 3263829"/>
                    <a:gd name="connsiteY225" fmla="*/ 1313717 h 3391127"/>
                    <a:gd name="connsiteX226" fmla="*/ 1677665 w 3263829"/>
                    <a:gd name="connsiteY226" fmla="*/ 1170077 h 3391127"/>
                    <a:gd name="connsiteX227" fmla="*/ 1733382 w 3263829"/>
                    <a:gd name="connsiteY227" fmla="*/ 276034 h 3391127"/>
                    <a:gd name="connsiteX228" fmla="*/ 1690444 w 3263829"/>
                    <a:gd name="connsiteY228" fmla="*/ 261210 h 3391127"/>
                    <a:gd name="connsiteX229" fmla="*/ 1619902 w 3263829"/>
                    <a:gd name="connsiteY229" fmla="*/ 309771 h 3391127"/>
                    <a:gd name="connsiteX230" fmla="*/ 1600478 w 3263829"/>
                    <a:gd name="connsiteY230" fmla="*/ 303126 h 3391127"/>
                    <a:gd name="connsiteX231" fmla="*/ 1582587 w 3263829"/>
                    <a:gd name="connsiteY231" fmla="*/ 280635 h 3391127"/>
                    <a:gd name="connsiteX232" fmla="*/ 1482908 w 3263829"/>
                    <a:gd name="connsiteY232" fmla="*/ 240252 h 3391127"/>
                    <a:gd name="connsiteX233" fmla="*/ 1452749 w 3263829"/>
                    <a:gd name="connsiteY233" fmla="*/ 253542 h 3391127"/>
                    <a:gd name="connsiteX234" fmla="*/ 1423101 w 3263829"/>
                    <a:gd name="connsiteY234" fmla="*/ 311305 h 3391127"/>
                    <a:gd name="connsiteX235" fmla="*/ 1416456 w 3263829"/>
                    <a:gd name="connsiteY235" fmla="*/ 305171 h 3391127"/>
                    <a:gd name="connsiteX236" fmla="*/ 1424635 w 3263829"/>
                    <a:gd name="connsiteY236" fmla="*/ 274500 h 3391127"/>
                    <a:gd name="connsiteX237" fmla="*/ 1433325 w 3263829"/>
                    <a:gd name="connsiteY237" fmla="*/ 236162 h 3391127"/>
                    <a:gd name="connsiteX238" fmla="*/ 1409300 w 3263829"/>
                    <a:gd name="connsiteY238" fmla="*/ 222361 h 3391127"/>
                    <a:gd name="connsiteX239" fmla="*/ 1333135 w 3263829"/>
                    <a:gd name="connsiteY239" fmla="*/ 241274 h 3391127"/>
                    <a:gd name="connsiteX240" fmla="*/ 1313199 w 3263829"/>
                    <a:gd name="connsiteY240" fmla="*/ 231562 h 3391127"/>
                    <a:gd name="connsiteX241" fmla="*/ 1374029 w 3263829"/>
                    <a:gd name="connsiteY241" fmla="*/ 196291 h 3391127"/>
                    <a:gd name="connsiteX242" fmla="*/ 1379140 w 3263829"/>
                    <a:gd name="connsiteY242" fmla="*/ 108880 h 3391127"/>
                    <a:gd name="connsiteX243" fmla="*/ 1353582 w 3263829"/>
                    <a:gd name="connsiteY243" fmla="*/ 60830 h 3391127"/>
                    <a:gd name="connsiteX244" fmla="*/ 1213010 w 3263829"/>
                    <a:gd name="connsiteY244" fmla="*/ 12779 h 3391127"/>
                    <a:gd name="connsiteX245" fmla="*/ 1181317 w 3263829"/>
                    <a:gd name="connsiteY245" fmla="*/ 32204 h 3391127"/>
                    <a:gd name="connsiteX246" fmla="*/ 962536 w 3263829"/>
                    <a:gd name="connsiteY246" fmla="*/ 0 h 3391127"/>
                    <a:gd name="connsiteX247" fmla="*/ 905284 w 3263829"/>
                    <a:gd name="connsiteY247" fmla="*/ 15846 h 3391127"/>
                    <a:gd name="connsiteX248" fmla="*/ 905284 w 3263829"/>
                    <a:gd name="connsiteY248" fmla="*/ 15846 h 3391127"/>
                    <a:gd name="connsiteX249" fmla="*/ 906818 w 3263829"/>
                    <a:gd name="connsiteY249" fmla="*/ 54184 h 3391127"/>
                    <a:gd name="connsiteX250" fmla="*/ 1019276 w 3263829"/>
                    <a:gd name="connsiteY250" fmla="*/ 192201 h 3391127"/>
                    <a:gd name="connsiteX251" fmla="*/ 1044834 w 3263829"/>
                    <a:gd name="connsiteY251" fmla="*/ 260699 h 3391127"/>
                    <a:gd name="connsiteX252" fmla="*/ 1028477 w 3263829"/>
                    <a:gd name="connsiteY252" fmla="*/ 261210 h 3391127"/>
                    <a:gd name="connsiteX253" fmla="*/ 923175 w 3263829"/>
                    <a:gd name="connsiteY253" fmla="*/ 289324 h 3391127"/>
                    <a:gd name="connsiteX254" fmla="*/ 906307 w 3263829"/>
                    <a:gd name="connsiteY254" fmla="*/ 316417 h 3391127"/>
                    <a:gd name="connsiteX255" fmla="*/ 931865 w 3263829"/>
                    <a:gd name="connsiteY255" fmla="*/ 352710 h 3391127"/>
                    <a:gd name="connsiteX256" fmla="*/ 1007008 w 3263829"/>
                    <a:gd name="connsiteY256" fmla="*/ 335330 h 3391127"/>
                    <a:gd name="connsiteX257" fmla="*/ 1010586 w 3263829"/>
                    <a:gd name="connsiteY257" fmla="*/ 358333 h 3391127"/>
                    <a:gd name="connsiteX258" fmla="*/ 987072 w 3263829"/>
                    <a:gd name="connsiteY258" fmla="*/ 363445 h 3391127"/>
                    <a:gd name="connsiteX259" fmla="*/ 983494 w 3263829"/>
                    <a:gd name="connsiteY259" fmla="*/ 426319 h 3391127"/>
                    <a:gd name="connsiteX260" fmla="*/ 1034611 w 3263829"/>
                    <a:gd name="connsiteY260" fmla="*/ 433987 h 3391127"/>
                    <a:gd name="connsiteX261" fmla="*/ 1044834 w 3263829"/>
                    <a:gd name="connsiteY261" fmla="*/ 480504 h 3391127"/>
                    <a:gd name="connsiteX262" fmla="*/ 999851 w 3263829"/>
                    <a:gd name="connsiteY262" fmla="*/ 473858 h 3391127"/>
                    <a:gd name="connsiteX263" fmla="*/ 996784 w 3263829"/>
                    <a:gd name="connsiteY263" fmla="*/ 495328 h 3391127"/>
                    <a:gd name="connsiteX264" fmla="*/ 1043812 w 3263829"/>
                    <a:gd name="connsiteY264" fmla="*/ 560758 h 3391127"/>
                    <a:gd name="connsiteX265" fmla="*/ 1138379 w 3263829"/>
                    <a:gd name="connsiteY265" fmla="*/ 566892 h 3391127"/>
                    <a:gd name="connsiteX266" fmla="*/ 1239080 w 3263829"/>
                    <a:gd name="connsiteY266" fmla="*/ 675261 h 3391127"/>
                    <a:gd name="connsiteX267" fmla="*/ 1303998 w 3263829"/>
                    <a:gd name="connsiteY267" fmla="*/ 747336 h 3391127"/>
                    <a:gd name="connsiteX268" fmla="*/ 1311155 w 3263829"/>
                    <a:gd name="connsiteY268" fmla="*/ 708487 h 3391127"/>
                    <a:gd name="connsiteX269" fmla="*/ 1392942 w 3263829"/>
                    <a:gd name="connsiteY269" fmla="*/ 672194 h 3391127"/>
                    <a:gd name="connsiteX270" fmla="*/ 1435881 w 3263829"/>
                    <a:gd name="connsiteY270" fmla="*/ 622610 h 3391127"/>
                    <a:gd name="connsiteX271" fmla="*/ 1452238 w 3263829"/>
                    <a:gd name="connsiteY271" fmla="*/ 625677 h 3391127"/>
                    <a:gd name="connsiteX272" fmla="*/ 1448660 w 3263829"/>
                    <a:gd name="connsiteY272" fmla="*/ 667593 h 3391127"/>
                    <a:gd name="connsiteX273" fmla="*/ 1459905 w 3263829"/>
                    <a:gd name="connsiteY273" fmla="*/ 687529 h 3391127"/>
                    <a:gd name="connsiteX274" fmla="*/ 1439970 w 3263829"/>
                    <a:gd name="connsiteY274" fmla="*/ 741713 h 3391127"/>
                    <a:gd name="connsiteX275" fmla="*/ 1456327 w 3263829"/>
                    <a:gd name="connsiteY275" fmla="*/ 749381 h 3391127"/>
                    <a:gd name="connsiteX276" fmla="*/ 1525336 w 3263829"/>
                    <a:gd name="connsiteY276" fmla="*/ 813789 h 3391127"/>
                    <a:gd name="connsiteX277" fmla="*/ 1531981 w 3263829"/>
                    <a:gd name="connsiteY277" fmla="*/ 829124 h 3391127"/>
                    <a:gd name="connsiteX278" fmla="*/ 1574408 w 3263829"/>
                    <a:gd name="connsiteY278" fmla="*/ 841904 h 3391127"/>
                    <a:gd name="connsiteX279" fmla="*/ 1589743 w 3263829"/>
                    <a:gd name="connsiteY279" fmla="*/ 859795 h 3391127"/>
                    <a:gd name="connsiteX280" fmla="*/ 1600989 w 3263829"/>
                    <a:gd name="connsiteY280" fmla="*/ 860817 h 3391127"/>
                    <a:gd name="connsiteX281" fmla="*/ 1614279 w 3263829"/>
                    <a:gd name="connsiteY281" fmla="*/ 851105 h 3391127"/>
                    <a:gd name="connsiteX282" fmla="*/ 1611212 w 3263829"/>
                    <a:gd name="connsiteY282" fmla="*/ 805099 h 3391127"/>
                    <a:gd name="connsiteX283" fmla="*/ 1703734 w 3263829"/>
                    <a:gd name="connsiteY283" fmla="*/ 718199 h 3391127"/>
                    <a:gd name="connsiteX284" fmla="*/ 1715491 w 3263829"/>
                    <a:gd name="connsiteY284" fmla="*/ 656347 h 3391127"/>
                    <a:gd name="connsiteX285" fmla="*/ 1651595 w 3263829"/>
                    <a:gd name="connsiteY285" fmla="*/ 624143 h 3391127"/>
                    <a:gd name="connsiteX286" fmla="*/ 1651084 w 3263829"/>
                    <a:gd name="connsiteY286" fmla="*/ 552068 h 3391127"/>
                    <a:gd name="connsiteX287" fmla="*/ 1679709 w 3263829"/>
                    <a:gd name="connsiteY287" fmla="*/ 542356 h 3391127"/>
                    <a:gd name="connsiteX288" fmla="*/ 1684821 w 3263829"/>
                    <a:gd name="connsiteY288" fmla="*/ 530599 h 3391127"/>
                    <a:gd name="connsiteX289" fmla="*/ 1697089 w 3263829"/>
                    <a:gd name="connsiteY289" fmla="*/ 503506 h 3391127"/>
                    <a:gd name="connsiteX290" fmla="*/ 1697089 w 3263829"/>
                    <a:gd name="connsiteY290" fmla="*/ 503506 h 3391127"/>
                    <a:gd name="connsiteX291" fmla="*/ 1684821 w 3263829"/>
                    <a:gd name="connsiteY291" fmla="*/ 530599 h 3391127"/>
                    <a:gd name="connsiteX292" fmla="*/ 1685332 w 3263829"/>
                    <a:gd name="connsiteY292" fmla="*/ 487660 h 3391127"/>
                    <a:gd name="connsiteX293" fmla="*/ 1673064 w 3263829"/>
                    <a:gd name="connsiteY293" fmla="*/ 486638 h 3391127"/>
                    <a:gd name="connsiteX294" fmla="*/ 1660285 w 3263829"/>
                    <a:gd name="connsiteY294" fmla="*/ 492261 h 3391127"/>
                    <a:gd name="connsiteX295" fmla="*/ 1634215 w 3263829"/>
                    <a:gd name="connsiteY295" fmla="*/ 449322 h 3391127"/>
                    <a:gd name="connsiteX296" fmla="*/ 1738494 w 3263829"/>
                    <a:gd name="connsiteY296" fmla="*/ 371112 h 3391127"/>
                    <a:gd name="connsiteX297" fmla="*/ 1745650 w 3263829"/>
                    <a:gd name="connsiteY297" fmla="*/ 359355 h 3391127"/>
                    <a:gd name="connsiteX298" fmla="*/ 1733382 w 3263829"/>
                    <a:gd name="connsiteY298" fmla="*/ 276034 h 33911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</a:cxnLst>
                  <a:rect l="l" t="t" r="r" b="b"/>
                  <a:pathLst>
                    <a:path w="3263829" h="3391127">
                      <a:moveTo>
                        <a:pt x="666056" y="2275747"/>
                      </a:moveTo>
                      <a:lnTo>
                        <a:pt x="653277" y="2282392"/>
                      </a:lnTo>
                      <a:lnTo>
                        <a:pt x="632830" y="2329931"/>
                      </a:lnTo>
                      <a:lnTo>
                        <a:pt x="635386" y="2357023"/>
                      </a:lnTo>
                      <a:lnTo>
                        <a:pt x="608294" y="2366736"/>
                      </a:lnTo>
                      <a:lnTo>
                        <a:pt x="593981" y="2362135"/>
                      </a:lnTo>
                      <a:lnTo>
                        <a:pt x="312326" y="2523155"/>
                      </a:lnTo>
                      <a:lnTo>
                        <a:pt x="305169" y="2549225"/>
                      </a:lnTo>
                      <a:lnTo>
                        <a:pt x="323572" y="2611077"/>
                      </a:lnTo>
                      <a:lnTo>
                        <a:pt x="204469" y="2613121"/>
                      </a:lnTo>
                      <a:lnTo>
                        <a:pt x="161019" y="2583473"/>
                      </a:lnTo>
                      <a:lnTo>
                        <a:pt x="164086" y="2556381"/>
                      </a:lnTo>
                      <a:lnTo>
                        <a:pt x="108368" y="2509353"/>
                      </a:lnTo>
                      <a:lnTo>
                        <a:pt x="28114" y="2344244"/>
                      </a:lnTo>
                      <a:lnTo>
                        <a:pt x="72586" y="2329420"/>
                      </a:lnTo>
                      <a:lnTo>
                        <a:pt x="44472" y="2241498"/>
                      </a:lnTo>
                      <a:lnTo>
                        <a:pt x="7668" y="2231274"/>
                      </a:lnTo>
                      <a:lnTo>
                        <a:pt x="0" y="2200604"/>
                      </a:lnTo>
                      <a:lnTo>
                        <a:pt x="117058" y="2038562"/>
                      </a:lnTo>
                      <a:lnTo>
                        <a:pt x="120636" y="1930704"/>
                      </a:lnTo>
                      <a:lnTo>
                        <a:pt x="74120" y="1888277"/>
                      </a:lnTo>
                      <a:lnTo>
                        <a:pt x="24025" y="1756394"/>
                      </a:lnTo>
                      <a:lnTo>
                        <a:pt x="82299" y="1714477"/>
                      </a:lnTo>
                      <a:lnTo>
                        <a:pt x="195267" y="1742081"/>
                      </a:lnTo>
                      <a:lnTo>
                        <a:pt x="292390" y="1723679"/>
                      </a:lnTo>
                      <a:lnTo>
                        <a:pt x="326127" y="1664382"/>
                      </a:lnTo>
                      <a:lnTo>
                        <a:pt x="269899" y="1629623"/>
                      </a:lnTo>
                      <a:lnTo>
                        <a:pt x="303125" y="1586173"/>
                      </a:lnTo>
                      <a:lnTo>
                        <a:pt x="330728" y="1590262"/>
                      </a:lnTo>
                      <a:lnTo>
                        <a:pt x="411493" y="1514097"/>
                      </a:lnTo>
                      <a:lnTo>
                        <a:pt x="491747" y="1505407"/>
                      </a:lnTo>
                      <a:lnTo>
                        <a:pt x="577113" y="1445089"/>
                      </a:lnTo>
                      <a:lnTo>
                        <a:pt x="588869" y="1386304"/>
                      </a:lnTo>
                      <a:lnTo>
                        <a:pt x="625674" y="1389371"/>
                      </a:lnTo>
                      <a:lnTo>
                        <a:pt x="718196" y="1451223"/>
                      </a:lnTo>
                      <a:lnTo>
                        <a:pt x="694682" y="1541190"/>
                      </a:lnTo>
                      <a:lnTo>
                        <a:pt x="733020" y="1552947"/>
                      </a:lnTo>
                      <a:lnTo>
                        <a:pt x="727397" y="1577994"/>
                      </a:lnTo>
                      <a:lnTo>
                        <a:pt x="675769" y="1598441"/>
                      </a:lnTo>
                      <a:lnTo>
                        <a:pt x="734553" y="1636779"/>
                      </a:lnTo>
                      <a:lnTo>
                        <a:pt x="827075" y="1570838"/>
                      </a:lnTo>
                      <a:lnTo>
                        <a:pt x="874103" y="1582595"/>
                      </a:lnTo>
                      <a:lnTo>
                        <a:pt x="906307" y="1551413"/>
                      </a:lnTo>
                      <a:lnTo>
                        <a:pt x="828098" y="1394994"/>
                      </a:lnTo>
                      <a:lnTo>
                        <a:pt x="955891" y="1344388"/>
                      </a:lnTo>
                      <a:lnTo>
                        <a:pt x="972248" y="1359723"/>
                      </a:lnTo>
                      <a:lnTo>
                        <a:pt x="971226" y="1410329"/>
                      </a:lnTo>
                      <a:lnTo>
                        <a:pt x="1066304" y="1411351"/>
                      </a:lnTo>
                      <a:lnTo>
                        <a:pt x="1090329" y="1370457"/>
                      </a:lnTo>
                      <a:lnTo>
                        <a:pt x="1123555" y="1411351"/>
                      </a:lnTo>
                      <a:lnTo>
                        <a:pt x="1069882" y="1487516"/>
                      </a:lnTo>
                      <a:lnTo>
                        <a:pt x="1206876" y="1725723"/>
                      </a:lnTo>
                      <a:lnTo>
                        <a:pt x="1240102" y="1726746"/>
                      </a:lnTo>
                      <a:lnTo>
                        <a:pt x="1236012" y="1857095"/>
                      </a:lnTo>
                      <a:lnTo>
                        <a:pt x="1157803" y="1982844"/>
                      </a:lnTo>
                      <a:lnTo>
                        <a:pt x="1122021" y="1981310"/>
                      </a:lnTo>
                      <a:lnTo>
                        <a:pt x="1119465" y="1941950"/>
                      </a:lnTo>
                      <a:lnTo>
                        <a:pt x="1048924" y="1951151"/>
                      </a:lnTo>
                      <a:lnTo>
                        <a:pt x="941578" y="2062076"/>
                      </a:lnTo>
                      <a:lnTo>
                        <a:pt x="963047" y="2081500"/>
                      </a:lnTo>
                      <a:lnTo>
                        <a:pt x="992184" y="2062076"/>
                      </a:lnTo>
                      <a:lnTo>
                        <a:pt x="1017742" y="2123417"/>
                      </a:lnTo>
                      <a:lnTo>
                        <a:pt x="926243" y="2178112"/>
                      </a:lnTo>
                      <a:lnTo>
                        <a:pt x="795383" y="2409674"/>
                      </a:lnTo>
                      <a:lnTo>
                        <a:pt x="666056" y="2275747"/>
                      </a:lnTo>
                      <a:close/>
                      <a:moveTo>
                        <a:pt x="157441" y="3073689"/>
                      </a:moveTo>
                      <a:lnTo>
                        <a:pt x="155907" y="3059887"/>
                      </a:lnTo>
                      <a:lnTo>
                        <a:pt x="205491" y="2985767"/>
                      </a:lnTo>
                      <a:lnTo>
                        <a:pt x="222360" y="2911647"/>
                      </a:lnTo>
                      <a:lnTo>
                        <a:pt x="113480" y="2852862"/>
                      </a:lnTo>
                      <a:lnTo>
                        <a:pt x="77698" y="2794077"/>
                      </a:lnTo>
                      <a:lnTo>
                        <a:pt x="89966" y="2660149"/>
                      </a:lnTo>
                      <a:lnTo>
                        <a:pt x="160508" y="2583473"/>
                      </a:lnTo>
                      <a:lnTo>
                        <a:pt x="203957" y="2613121"/>
                      </a:lnTo>
                      <a:lnTo>
                        <a:pt x="323060" y="2611077"/>
                      </a:lnTo>
                      <a:lnTo>
                        <a:pt x="304658" y="2549225"/>
                      </a:lnTo>
                      <a:lnTo>
                        <a:pt x="311815" y="2523155"/>
                      </a:lnTo>
                      <a:lnTo>
                        <a:pt x="593470" y="2362646"/>
                      </a:lnTo>
                      <a:lnTo>
                        <a:pt x="607783" y="2367247"/>
                      </a:lnTo>
                      <a:lnTo>
                        <a:pt x="634875" y="2357534"/>
                      </a:lnTo>
                      <a:lnTo>
                        <a:pt x="632319" y="2330442"/>
                      </a:lnTo>
                      <a:lnTo>
                        <a:pt x="652766" y="2282903"/>
                      </a:lnTo>
                      <a:lnTo>
                        <a:pt x="665545" y="2276258"/>
                      </a:lnTo>
                      <a:lnTo>
                        <a:pt x="794360" y="2410697"/>
                      </a:lnTo>
                      <a:lnTo>
                        <a:pt x="803561" y="2465903"/>
                      </a:lnTo>
                      <a:lnTo>
                        <a:pt x="739665" y="2511398"/>
                      </a:lnTo>
                      <a:lnTo>
                        <a:pt x="742732" y="2576317"/>
                      </a:lnTo>
                      <a:lnTo>
                        <a:pt x="771358" y="2588074"/>
                      </a:lnTo>
                      <a:lnTo>
                        <a:pt x="796916" y="2643792"/>
                      </a:lnTo>
                      <a:lnTo>
                        <a:pt x="673213" y="2765962"/>
                      </a:lnTo>
                      <a:lnTo>
                        <a:pt x="720241" y="2823214"/>
                      </a:lnTo>
                      <a:lnTo>
                        <a:pt x="749377" y="2824747"/>
                      </a:lnTo>
                      <a:lnTo>
                        <a:pt x="799983" y="2801234"/>
                      </a:lnTo>
                      <a:lnTo>
                        <a:pt x="871547" y="2814524"/>
                      </a:lnTo>
                      <a:lnTo>
                        <a:pt x="898128" y="2931583"/>
                      </a:lnTo>
                      <a:lnTo>
                        <a:pt x="886882" y="2997013"/>
                      </a:lnTo>
                      <a:lnTo>
                        <a:pt x="903751" y="3035862"/>
                      </a:lnTo>
                      <a:lnTo>
                        <a:pt x="910396" y="3091580"/>
                      </a:lnTo>
                      <a:lnTo>
                        <a:pt x="935444" y="3144742"/>
                      </a:lnTo>
                      <a:lnTo>
                        <a:pt x="922153" y="3198415"/>
                      </a:lnTo>
                      <a:lnTo>
                        <a:pt x="929310" y="3216818"/>
                      </a:lnTo>
                      <a:lnTo>
                        <a:pt x="905284" y="3244932"/>
                      </a:lnTo>
                      <a:lnTo>
                        <a:pt x="858257" y="3391128"/>
                      </a:lnTo>
                      <a:lnTo>
                        <a:pt x="772380" y="3365058"/>
                      </a:lnTo>
                      <a:lnTo>
                        <a:pt x="762157" y="3349212"/>
                      </a:lnTo>
                      <a:lnTo>
                        <a:pt x="745288" y="3338988"/>
                      </a:lnTo>
                      <a:lnTo>
                        <a:pt x="716151" y="3350746"/>
                      </a:lnTo>
                      <a:lnTo>
                        <a:pt x="578135" y="3304740"/>
                      </a:lnTo>
                      <a:lnTo>
                        <a:pt x="570467" y="3278670"/>
                      </a:lnTo>
                      <a:lnTo>
                        <a:pt x="530596" y="3281737"/>
                      </a:lnTo>
                      <a:lnTo>
                        <a:pt x="525995" y="3219374"/>
                      </a:lnTo>
                      <a:lnTo>
                        <a:pt x="542353" y="3211195"/>
                      </a:lnTo>
                      <a:lnTo>
                        <a:pt x="539797" y="3171323"/>
                      </a:lnTo>
                      <a:lnTo>
                        <a:pt x="491747" y="3142186"/>
                      </a:lnTo>
                      <a:lnTo>
                        <a:pt x="491747" y="3130429"/>
                      </a:lnTo>
                      <a:lnTo>
                        <a:pt x="507593" y="3112538"/>
                      </a:lnTo>
                      <a:lnTo>
                        <a:pt x="496347" y="3058865"/>
                      </a:lnTo>
                      <a:lnTo>
                        <a:pt x="407404" y="3021549"/>
                      </a:lnTo>
                      <a:lnTo>
                        <a:pt x="375200" y="3021549"/>
                      </a:lnTo>
                      <a:lnTo>
                        <a:pt x="252008" y="3082890"/>
                      </a:lnTo>
                      <a:lnTo>
                        <a:pt x="157441" y="3073689"/>
                      </a:lnTo>
                      <a:close/>
                      <a:moveTo>
                        <a:pt x="3263829" y="2164822"/>
                      </a:moveTo>
                      <a:lnTo>
                        <a:pt x="3192265" y="2201115"/>
                      </a:lnTo>
                      <a:lnTo>
                        <a:pt x="3132458" y="2187825"/>
                      </a:lnTo>
                      <a:lnTo>
                        <a:pt x="3135525" y="2151531"/>
                      </a:lnTo>
                      <a:lnTo>
                        <a:pt x="3069584" y="2093257"/>
                      </a:lnTo>
                      <a:lnTo>
                        <a:pt x="3003132" y="2091213"/>
                      </a:lnTo>
                      <a:lnTo>
                        <a:pt x="2998531" y="2134151"/>
                      </a:lnTo>
                      <a:lnTo>
                        <a:pt x="3043514" y="2152042"/>
                      </a:lnTo>
                      <a:lnTo>
                        <a:pt x="3043514" y="2175045"/>
                      </a:lnTo>
                      <a:lnTo>
                        <a:pt x="2784351" y="2294149"/>
                      </a:lnTo>
                      <a:lnTo>
                        <a:pt x="2732722" y="2361624"/>
                      </a:lnTo>
                      <a:lnTo>
                        <a:pt x="2670871" y="2382582"/>
                      </a:lnTo>
                      <a:lnTo>
                        <a:pt x="2650935" y="2376959"/>
                      </a:lnTo>
                      <a:lnTo>
                        <a:pt x="2629977" y="2398940"/>
                      </a:lnTo>
                      <a:lnTo>
                        <a:pt x="2633044" y="2426543"/>
                      </a:lnTo>
                      <a:lnTo>
                        <a:pt x="2546145" y="2477660"/>
                      </a:lnTo>
                      <a:lnTo>
                        <a:pt x="2496561" y="2465392"/>
                      </a:lnTo>
                      <a:lnTo>
                        <a:pt x="2345254" y="2553825"/>
                      </a:lnTo>
                      <a:lnTo>
                        <a:pt x="2326341" y="2606987"/>
                      </a:lnTo>
                      <a:lnTo>
                        <a:pt x="2309983" y="2611588"/>
                      </a:lnTo>
                      <a:lnTo>
                        <a:pt x="2285959" y="2587563"/>
                      </a:lnTo>
                      <a:lnTo>
                        <a:pt x="2249665" y="2550758"/>
                      </a:lnTo>
                      <a:lnTo>
                        <a:pt x="2162766" y="2495040"/>
                      </a:lnTo>
                      <a:lnTo>
                        <a:pt x="2177590" y="2421431"/>
                      </a:lnTo>
                      <a:lnTo>
                        <a:pt x="2193948" y="2408141"/>
                      </a:lnTo>
                      <a:lnTo>
                        <a:pt x="2247109" y="2408141"/>
                      </a:lnTo>
                      <a:lnTo>
                        <a:pt x="2292604" y="2337599"/>
                      </a:lnTo>
                      <a:lnTo>
                        <a:pt x="2266023" y="2271146"/>
                      </a:lnTo>
                      <a:lnTo>
                        <a:pt x="2401483" y="2188847"/>
                      </a:lnTo>
                      <a:lnTo>
                        <a:pt x="2391260" y="2156643"/>
                      </a:lnTo>
                      <a:lnTo>
                        <a:pt x="2267045" y="2107570"/>
                      </a:lnTo>
                      <a:lnTo>
                        <a:pt x="2203660" y="1894411"/>
                      </a:lnTo>
                      <a:lnTo>
                        <a:pt x="2242509" y="1837670"/>
                      </a:lnTo>
                      <a:lnTo>
                        <a:pt x="2431131" y="1760994"/>
                      </a:lnTo>
                      <a:lnTo>
                        <a:pt x="2455667" y="1782975"/>
                      </a:lnTo>
                      <a:lnTo>
                        <a:pt x="2474581" y="1778374"/>
                      </a:lnTo>
                      <a:lnTo>
                        <a:pt x="2493494" y="1753327"/>
                      </a:lnTo>
                      <a:lnTo>
                        <a:pt x="2517008" y="1760483"/>
                      </a:lnTo>
                      <a:lnTo>
                        <a:pt x="2572726" y="1811089"/>
                      </a:lnTo>
                      <a:lnTo>
                        <a:pt x="2578348" y="1845338"/>
                      </a:lnTo>
                      <a:lnTo>
                        <a:pt x="2569659" y="1857606"/>
                      </a:lnTo>
                      <a:lnTo>
                        <a:pt x="2580904" y="1902590"/>
                      </a:lnTo>
                      <a:lnTo>
                        <a:pt x="2600840" y="1908213"/>
                      </a:lnTo>
                      <a:lnTo>
                        <a:pt x="2616175" y="1879587"/>
                      </a:lnTo>
                      <a:lnTo>
                        <a:pt x="2630488" y="1870897"/>
                      </a:lnTo>
                      <a:lnTo>
                        <a:pt x="2724032" y="1901567"/>
                      </a:lnTo>
                      <a:lnTo>
                        <a:pt x="2866138" y="1887254"/>
                      </a:lnTo>
                      <a:lnTo>
                        <a:pt x="2874828" y="1843293"/>
                      </a:lnTo>
                      <a:lnTo>
                        <a:pt x="2903454" y="1793198"/>
                      </a:lnTo>
                      <a:lnTo>
                        <a:pt x="2973484" y="1809556"/>
                      </a:lnTo>
                      <a:lnTo>
                        <a:pt x="3011822" y="1767128"/>
                      </a:lnTo>
                      <a:lnTo>
                        <a:pt x="3122235" y="1743103"/>
                      </a:lnTo>
                      <a:lnTo>
                        <a:pt x="3112523" y="1775307"/>
                      </a:lnTo>
                      <a:lnTo>
                        <a:pt x="3124280" y="1791665"/>
                      </a:lnTo>
                      <a:lnTo>
                        <a:pt x="3182553" y="1807000"/>
                      </a:lnTo>
                      <a:lnTo>
                        <a:pt x="3244405" y="1971598"/>
                      </a:lnTo>
                      <a:lnTo>
                        <a:pt x="3229070" y="2063609"/>
                      </a:lnTo>
                      <a:lnTo>
                        <a:pt x="3262807" y="2102459"/>
                      </a:lnTo>
                      <a:lnTo>
                        <a:pt x="3262807" y="2164822"/>
                      </a:lnTo>
                      <a:close/>
                      <a:moveTo>
                        <a:pt x="1677665" y="1170077"/>
                      </a:moveTo>
                      <a:lnTo>
                        <a:pt x="1689933" y="1134806"/>
                      </a:lnTo>
                      <a:lnTo>
                        <a:pt x="1756385" y="1094935"/>
                      </a:lnTo>
                      <a:lnTo>
                        <a:pt x="1872421" y="1106181"/>
                      </a:lnTo>
                      <a:lnTo>
                        <a:pt x="1956253" y="1025415"/>
                      </a:lnTo>
                      <a:lnTo>
                        <a:pt x="2090180" y="1103625"/>
                      </a:lnTo>
                      <a:lnTo>
                        <a:pt x="2165833" y="1081644"/>
                      </a:lnTo>
                      <a:lnTo>
                        <a:pt x="2191392" y="1111292"/>
                      </a:lnTo>
                      <a:lnTo>
                        <a:pt x="2176568" y="1146052"/>
                      </a:lnTo>
                      <a:lnTo>
                        <a:pt x="2187814" y="1223750"/>
                      </a:lnTo>
                      <a:lnTo>
                        <a:pt x="2168900" y="1239086"/>
                      </a:lnTo>
                      <a:lnTo>
                        <a:pt x="2167367" y="1294293"/>
                      </a:lnTo>
                      <a:lnTo>
                        <a:pt x="2231263" y="1310650"/>
                      </a:lnTo>
                      <a:lnTo>
                        <a:pt x="2210816" y="1481893"/>
                      </a:lnTo>
                      <a:lnTo>
                        <a:pt x="2280847" y="1566237"/>
                      </a:lnTo>
                      <a:lnTo>
                        <a:pt x="2339120" y="1582595"/>
                      </a:lnTo>
                      <a:lnTo>
                        <a:pt x="2369791" y="1562659"/>
                      </a:lnTo>
                      <a:lnTo>
                        <a:pt x="2527231" y="1646491"/>
                      </a:lnTo>
                      <a:lnTo>
                        <a:pt x="2559435" y="1719078"/>
                      </a:lnTo>
                      <a:lnTo>
                        <a:pt x="2518542" y="1760994"/>
                      </a:lnTo>
                      <a:lnTo>
                        <a:pt x="2495028" y="1753838"/>
                      </a:lnTo>
                      <a:lnTo>
                        <a:pt x="2476114" y="1778885"/>
                      </a:lnTo>
                      <a:lnTo>
                        <a:pt x="2457201" y="1783486"/>
                      </a:lnTo>
                      <a:lnTo>
                        <a:pt x="2432665" y="1761506"/>
                      </a:lnTo>
                      <a:lnTo>
                        <a:pt x="2244043" y="1838182"/>
                      </a:lnTo>
                      <a:lnTo>
                        <a:pt x="2205193" y="1894922"/>
                      </a:lnTo>
                      <a:lnTo>
                        <a:pt x="2268579" y="2106548"/>
                      </a:lnTo>
                      <a:lnTo>
                        <a:pt x="2275224" y="2160221"/>
                      </a:lnTo>
                      <a:lnTo>
                        <a:pt x="2261934" y="2189869"/>
                      </a:lnTo>
                      <a:lnTo>
                        <a:pt x="2169411" y="2173512"/>
                      </a:lnTo>
                      <a:lnTo>
                        <a:pt x="2160722" y="2149998"/>
                      </a:lnTo>
                      <a:lnTo>
                        <a:pt x="1978233" y="2113193"/>
                      </a:lnTo>
                      <a:lnTo>
                        <a:pt x="1942962" y="2042651"/>
                      </a:lnTo>
                      <a:lnTo>
                        <a:pt x="1975166" y="2007891"/>
                      </a:lnTo>
                      <a:lnTo>
                        <a:pt x="1944496" y="1965464"/>
                      </a:lnTo>
                      <a:lnTo>
                        <a:pt x="1792167" y="1928659"/>
                      </a:lnTo>
                      <a:lnTo>
                        <a:pt x="1770698" y="1841249"/>
                      </a:lnTo>
                      <a:lnTo>
                        <a:pt x="1695044" y="1820291"/>
                      </a:lnTo>
                      <a:lnTo>
                        <a:pt x="1655173" y="1759461"/>
                      </a:lnTo>
                      <a:lnTo>
                        <a:pt x="1650572" y="1719589"/>
                      </a:lnTo>
                      <a:lnTo>
                        <a:pt x="1668463" y="1694030"/>
                      </a:lnTo>
                      <a:lnTo>
                        <a:pt x="1639838" y="1614799"/>
                      </a:lnTo>
                      <a:lnTo>
                        <a:pt x="1793189" y="1546301"/>
                      </a:lnTo>
                      <a:lnTo>
                        <a:pt x="1786544" y="1407262"/>
                      </a:lnTo>
                      <a:lnTo>
                        <a:pt x="1752296" y="1363301"/>
                      </a:lnTo>
                      <a:lnTo>
                        <a:pt x="1756896" y="1313717"/>
                      </a:lnTo>
                      <a:lnTo>
                        <a:pt x="1677665" y="1170077"/>
                      </a:lnTo>
                      <a:close/>
                      <a:moveTo>
                        <a:pt x="1733382" y="276034"/>
                      </a:moveTo>
                      <a:lnTo>
                        <a:pt x="1690444" y="261210"/>
                      </a:lnTo>
                      <a:lnTo>
                        <a:pt x="1619902" y="309771"/>
                      </a:lnTo>
                      <a:lnTo>
                        <a:pt x="1600478" y="303126"/>
                      </a:lnTo>
                      <a:lnTo>
                        <a:pt x="1582587" y="280635"/>
                      </a:lnTo>
                      <a:lnTo>
                        <a:pt x="1482908" y="240252"/>
                      </a:lnTo>
                      <a:lnTo>
                        <a:pt x="1452749" y="253542"/>
                      </a:lnTo>
                      <a:lnTo>
                        <a:pt x="1423101" y="311305"/>
                      </a:lnTo>
                      <a:lnTo>
                        <a:pt x="1416456" y="305171"/>
                      </a:lnTo>
                      <a:lnTo>
                        <a:pt x="1424635" y="274500"/>
                      </a:lnTo>
                      <a:lnTo>
                        <a:pt x="1433325" y="236162"/>
                      </a:lnTo>
                      <a:lnTo>
                        <a:pt x="1409300" y="222361"/>
                      </a:lnTo>
                      <a:lnTo>
                        <a:pt x="1333135" y="241274"/>
                      </a:lnTo>
                      <a:lnTo>
                        <a:pt x="1313199" y="231562"/>
                      </a:lnTo>
                      <a:lnTo>
                        <a:pt x="1374029" y="196291"/>
                      </a:lnTo>
                      <a:lnTo>
                        <a:pt x="1379140" y="108880"/>
                      </a:lnTo>
                      <a:lnTo>
                        <a:pt x="1353582" y="60830"/>
                      </a:lnTo>
                      <a:lnTo>
                        <a:pt x="1213010" y="12779"/>
                      </a:lnTo>
                      <a:lnTo>
                        <a:pt x="1181317" y="32204"/>
                      </a:lnTo>
                      <a:lnTo>
                        <a:pt x="962536" y="0"/>
                      </a:lnTo>
                      <a:lnTo>
                        <a:pt x="905284" y="15846"/>
                      </a:lnTo>
                      <a:lnTo>
                        <a:pt x="905284" y="15846"/>
                      </a:lnTo>
                      <a:lnTo>
                        <a:pt x="906818" y="54184"/>
                      </a:lnTo>
                      <a:lnTo>
                        <a:pt x="1019276" y="192201"/>
                      </a:lnTo>
                      <a:lnTo>
                        <a:pt x="1044834" y="260699"/>
                      </a:lnTo>
                      <a:lnTo>
                        <a:pt x="1028477" y="261210"/>
                      </a:lnTo>
                      <a:lnTo>
                        <a:pt x="923175" y="289324"/>
                      </a:lnTo>
                      <a:lnTo>
                        <a:pt x="906307" y="316417"/>
                      </a:lnTo>
                      <a:lnTo>
                        <a:pt x="931865" y="352710"/>
                      </a:lnTo>
                      <a:lnTo>
                        <a:pt x="1007008" y="335330"/>
                      </a:lnTo>
                      <a:lnTo>
                        <a:pt x="1010586" y="358333"/>
                      </a:lnTo>
                      <a:lnTo>
                        <a:pt x="987072" y="363445"/>
                      </a:lnTo>
                      <a:lnTo>
                        <a:pt x="983494" y="426319"/>
                      </a:lnTo>
                      <a:lnTo>
                        <a:pt x="1034611" y="433987"/>
                      </a:lnTo>
                      <a:lnTo>
                        <a:pt x="1044834" y="480504"/>
                      </a:lnTo>
                      <a:lnTo>
                        <a:pt x="999851" y="473858"/>
                      </a:lnTo>
                      <a:lnTo>
                        <a:pt x="996784" y="495328"/>
                      </a:lnTo>
                      <a:lnTo>
                        <a:pt x="1043812" y="560758"/>
                      </a:lnTo>
                      <a:lnTo>
                        <a:pt x="1138379" y="566892"/>
                      </a:lnTo>
                      <a:lnTo>
                        <a:pt x="1239080" y="675261"/>
                      </a:lnTo>
                      <a:lnTo>
                        <a:pt x="1303998" y="747336"/>
                      </a:lnTo>
                      <a:lnTo>
                        <a:pt x="1311155" y="708487"/>
                      </a:lnTo>
                      <a:lnTo>
                        <a:pt x="1392942" y="672194"/>
                      </a:lnTo>
                      <a:lnTo>
                        <a:pt x="1435881" y="622610"/>
                      </a:lnTo>
                      <a:lnTo>
                        <a:pt x="1452238" y="625677"/>
                      </a:lnTo>
                      <a:lnTo>
                        <a:pt x="1448660" y="667593"/>
                      </a:lnTo>
                      <a:lnTo>
                        <a:pt x="1459905" y="687529"/>
                      </a:lnTo>
                      <a:lnTo>
                        <a:pt x="1439970" y="741713"/>
                      </a:lnTo>
                      <a:lnTo>
                        <a:pt x="1456327" y="749381"/>
                      </a:lnTo>
                      <a:lnTo>
                        <a:pt x="1525336" y="813789"/>
                      </a:lnTo>
                      <a:lnTo>
                        <a:pt x="1531981" y="829124"/>
                      </a:lnTo>
                      <a:lnTo>
                        <a:pt x="1574408" y="841904"/>
                      </a:lnTo>
                      <a:lnTo>
                        <a:pt x="1589743" y="859795"/>
                      </a:lnTo>
                      <a:lnTo>
                        <a:pt x="1600989" y="860817"/>
                      </a:lnTo>
                      <a:lnTo>
                        <a:pt x="1614279" y="851105"/>
                      </a:lnTo>
                      <a:lnTo>
                        <a:pt x="1611212" y="805099"/>
                      </a:lnTo>
                      <a:lnTo>
                        <a:pt x="1703734" y="718199"/>
                      </a:lnTo>
                      <a:lnTo>
                        <a:pt x="1715491" y="656347"/>
                      </a:lnTo>
                      <a:lnTo>
                        <a:pt x="1651595" y="624143"/>
                      </a:lnTo>
                      <a:lnTo>
                        <a:pt x="1651084" y="552068"/>
                      </a:lnTo>
                      <a:lnTo>
                        <a:pt x="1679709" y="542356"/>
                      </a:lnTo>
                      <a:lnTo>
                        <a:pt x="1684821" y="530599"/>
                      </a:lnTo>
                      <a:lnTo>
                        <a:pt x="1697089" y="503506"/>
                      </a:lnTo>
                      <a:lnTo>
                        <a:pt x="1697089" y="503506"/>
                      </a:lnTo>
                      <a:lnTo>
                        <a:pt x="1684821" y="530599"/>
                      </a:lnTo>
                      <a:lnTo>
                        <a:pt x="1685332" y="487660"/>
                      </a:lnTo>
                      <a:lnTo>
                        <a:pt x="1673064" y="486638"/>
                      </a:lnTo>
                      <a:lnTo>
                        <a:pt x="1660285" y="492261"/>
                      </a:lnTo>
                      <a:lnTo>
                        <a:pt x="1634215" y="449322"/>
                      </a:lnTo>
                      <a:lnTo>
                        <a:pt x="1738494" y="371112"/>
                      </a:lnTo>
                      <a:lnTo>
                        <a:pt x="1745650" y="359355"/>
                      </a:lnTo>
                      <a:lnTo>
                        <a:pt x="1733382" y="276034"/>
                      </a:lnTo>
                      <a:close/>
                    </a:path>
                  </a:pathLst>
                </a:custGeom>
                <a:noFill/>
                <a:ln w="1281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40" name="Freihandform: Form 139">
                  <a:extLst>
                    <a:ext uri="{FF2B5EF4-FFF2-40B4-BE49-F238E27FC236}">
                      <a16:creationId xmlns:a16="http://schemas.microsoft.com/office/drawing/2014/main" id="{20A4A7C3-FE60-458D-8211-C8E1A1D88EEE}"/>
                    </a:ext>
                  </a:extLst>
                </p:cNvPr>
                <p:cNvSpPr/>
                <p:nvPr/>
              </p:nvSpPr>
              <p:spPr>
                <a:xfrm>
                  <a:off x="6184536" y="731647"/>
                  <a:ext cx="2646334" cy="1868851"/>
                </a:xfrm>
                <a:custGeom>
                  <a:avLst/>
                  <a:gdLst>
                    <a:gd name="connsiteX0" fmla="*/ 1405210 w 2646334"/>
                    <a:gd name="connsiteY0" fmla="*/ 361911 h 1868851"/>
                    <a:gd name="connsiteX1" fmla="*/ 1376585 w 2646334"/>
                    <a:gd name="connsiteY1" fmla="*/ 371623 h 1868851"/>
                    <a:gd name="connsiteX2" fmla="*/ 1377096 w 2646334"/>
                    <a:gd name="connsiteY2" fmla="*/ 443699 h 1868851"/>
                    <a:gd name="connsiteX3" fmla="*/ 1440992 w 2646334"/>
                    <a:gd name="connsiteY3" fmla="*/ 475903 h 1868851"/>
                    <a:gd name="connsiteX4" fmla="*/ 1429235 w 2646334"/>
                    <a:gd name="connsiteY4" fmla="*/ 537755 h 1868851"/>
                    <a:gd name="connsiteX5" fmla="*/ 1336713 w 2646334"/>
                    <a:gd name="connsiteY5" fmla="*/ 624655 h 1868851"/>
                    <a:gd name="connsiteX6" fmla="*/ 1339780 w 2646334"/>
                    <a:gd name="connsiteY6" fmla="*/ 670660 h 1868851"/>
                    <a:gd name="connsiteX7" fmla="*/ 1421568 w 2646334"/>
                    <a:gd name="connsiteY7" fmla="*/ 685995 h 1868851"/>
                    <a:gd name="connsiteX8" fmla="*/ 1458883 w 2646334"/>
                    <a:gd name="connsiteY8" fmla="*/ 671683 h 1868851"/>
                    <a:gd name="connsiteX9" fmla="*/ 1526358 w 2646334"/>
                    <a:gd name="connsiteY9" fmla="*/ 753470 h 1868851"/>
                    <a:gd name="connsiteX10" fmla="*/ 1514090 w 2646334"/>
                    <a:gd name="connsiteY10" fmla="*/ 782096 h 1868851"/>
                    <a:gd name="connsiteX11" fmla="*/ 1570319 w 2646334"/>
                    <a:gd name="connsiteY11" fmla="*/ 821457 h 1868851"/>
                    <a:gd name="connsiteX12" fmla="*/ 1618880 w 2646334"/>
                    <a:gd name="connsiteY12" fmla="*/ 781074 h 1868851"/>
                    <a:gd name="connsiteX13" fmla="*/ 1647505 w 2646334"/>
                    <a:gd name="connsiteY13" fmla="*/ 797431 h 1868851"/>
                    <a:gd name="connsiteX14" fmla="*/ 1663863 w 2646334"/>
                    <a:gd name="connsiteY14" fmla="*/ 778518 h 1868851"/>
                    <a:gd name="connsiteX15" fmla="*/ 1651595 w 2646334"/>
                    <a:gd name="connsiteY15" fmla="*/ 732001 h 1868851"/>
                    <a:gd name="connsiteX16" fmla="*/ 1681243 w 2646334"/>
                    <a:gd name="connsiteY16" fmla="*/ 711043 h 1868851"/>
                    <a:gd name="connsiteX17" fmla="*/ 1717536 w 2646334"/>
                    <a:gd name="connsiteY17" fmla="*/ 725356 h 1868851"/>
                    <a:gd name="connsiteX18" fmla="*/ 1799323 w 2646334"/>
                    <a:gd name="connsiteY18" fmla="*/ 685484 h 1868851"/>
                    <a:gd name="connsiteX19" fmla="*/ 1822326 w 2646334"/>
                    <a:gd name="connsiteY19" fmla="*/ 630278 h 1868851"/>
                    <a:gd name="connsiteX20" fmla="*/ 1920471 w 2646334"/>
                    <a:gd name="connsiteY20" fmla="*/ 653280 h 1868851"/>
                    <a:gd name="connsiteX21" fmla="*/ 1955742 w 2646334"/>
                    <a:gd name="connsiteY21" fmla="*/ 689574 h 1868851"/>
                    <a:gd name="connsiteX22" fmla="*/ 2021683 w 2646334"/>
                    <a:gd name="connsiteY22" fmla="*/ 680884 h 1868851"/>
                    <a:gd name="connsiteX23" fmla="*/ 2057976 w 2646334"/>
                    <a:gd name="connsiteY23" fmla="*/ 697241 h 1868851"/>
                    <a:gd name="connsiteX24" fmla="*/ 2064621 w 2646334"/>
                    <a:gd name="connsiteY24" fmla="*/ 713599 h 1868851"/>
                    <a:gd name="connsiteX25" fmla="*/ 2140786 w 2646334"/>
                    <a:gd name="connsiteY25" fmla="*/ 722289 h 1868851"/>
                    <a:gd name="connsiteX26" fmla="*/ 2163789 w 2646334"/>
                    <a:gd name="connsiteY26" fmla="*/ 684973 h 1868851"/>
                    <a:gd name="connsiteX27" fmla="*/ 2240976 w 2646334"/>
                    <a:gd name="connsiteY27" fmla="*/ 645102 h 1868851"/>
                    <a:gd name="connsiteX28" fmla="*/ 2271646 w 2646334"/>
                    <a:gd name="connsiteY28" fmla="*/ 664015 h 1868851"/>
                    <a:gd name="connsiteX29" fmla="*/ 2315606 w 2646334"/>
                    <a:gd name="connsiteY29" fmla="*/ 614431 h 1868851"/>
                    <a:gd name="connsiteX30" fmla="*/ 2322252 w 2646334"/>
                    <a:gd name="connsiteY30" fmla="*/ 564847 h 1868851"/>
                    <a:gd name="connsiteX31" fmla="*/ 2403017 w 2646334"/>
                    <a:gd name="connsiteY31" fmla="*/ 482037 h 1868851"/>
                    <a:gd name="connsiteX32" fmla="*/ 2457201 w 2646334"/>
                    <a:gd name="connsiteY32" fmla="*/ 542867 h 1868851"/>
                    <a:gd name="connsiteX33" fmla="*/ 2512407 w 2646334"/>
                    <a:gd name="connsiteY33" fmla="*/ 520886 h 1868851"/>
                    <a:gd name="connsiteX34" fmla="*/ 2548701 w 2646334"/>
                    <a:gd name="connsiteY34" fmla="*/ 526509 h 1868851"/>
                    <a:gd name="connsiteX35" fmla="*/ 2555346 w 2646334"/>
                    <a:gd name="connsiteY35" fmla="*/ 575071 h 1868851"/>
                    <a:gd name="connsiteX36" fmla="*/ 2522120 w 2646334"/>
                    <a:gd name="connsiteY36" fmla="*/ 600629 h 1868851"/>
                    <a:gd name="connsiteX37" fmla="*/ 2526720 w 2646334"/>
                    <a:gd name="connsiteY37" fmla="*/ 628233 h 1868851"/>
                    <a:gd name="connsiteX38" fmla="*/ 2580905 w 2646334"/>
                    <a:gd name="connsiteY38" fmla="*/ 620565 h 1868851"/>
                    <a:gd name="connsiteX39" fmla="*/ 2594195 w 2646334"/>
                    <a:gd name="connsiteY39" fmla="*/ 593984 h 1868851"/>
                    <a:gd name="connsiteX40" fmla="*/ 2646334 w 2646334"/>
                    <a:gd name="connsiteY40" fmla="*/ 575071 h 1868851"/>
                    <a:gd name="connsiteX41" fmla="*/ 2598796 w 2646334"/>
                    <a:gd name="connsiteY41" fmla="*/ 416607 h 1868851"/>
                    <a:gd name="connsiteX42" fmla="*/ 2529787 w 2646334"/>
                    <a:gd name="connsiteY42" fmla="*/ 366512 h 1868851"/>
                    <a:gd name="connsiteX43" fmla="*/ 2496050 w 2646334"/>
                    <a:gd name="connsiteY43" fmla="*/ 370090 h 1868851"/>
                    <a:gd name="connsiteX44" fmla="*/ 2400461 w 2646334"/>
                    <a:gd name="connsiteY44" fmla="*/ 318973 h 1868851"/>
                    <a:gd name="connsiteX45" fmla="*/ 2392793 w 2646334"/>
                    <a:gd name="connsiteY45" fmla="*/ 308238 h 1868851"/>
                    <a:gd name="connsiteX46" fmla="*/ 2428575 w 2646334"/>
                    <a:gd name="connsiteY46" fmla="*/ 265299 h 1868851"/>
                    <a:gd name="connsiteX47" fmla="*/ 2369791 w 2646334"/>
                    <a:gd name="connsiteY47" fmla="*/ 221849 h 1868851"/>
                    <a:gd name="connsiteX48" fmla="*/ 2380014 w 2646334"/>
                    <a:gd name="connsiteY48" fmla="*/ 179933 h 1868851"/>
                    <a:gd name="connsiteX49" fmla="*/ 2339632 w 2646334"/>
                    <a:gd name="connsiteY49" fmla="*/ 138528 h 1868851"/>
                    <a:gd name="connsiteX50" fmla="*/ 2272157 w 2646334"/>
                    <a:gd name="connsiteY50" fmla="*/ 169710 h 1868851"/>
                    <a:gd name="connsiteX51" fmla="*/ 2141297 w 2646334"/>
                    <a:gd name="connsiteY51" fmla="*/ 97123 h 1868851"/>
                    <a:gd name="connsiteX52" fmla="*/ 2134141 w 2646334"/>
                    <a:gd name="connsiteY52" fmla="*/ 43961 h 1868851"/>
                    <a:gd name="connsiteX53" fmla="*/ 2105004 w 2646334"/>
                    <a:gd name="connsiteY53" fmla="*/ 6645 h 1868851"/>
                    <a:gd name="connsiteX54" fmla="*/ 2084557 w 2646334"/>
                    <a:gd name="connsiteY54" fmla="*/ 10735 h 1868851"/>
                    <a:gd name="connsiteX55" fmla="*/ 2033951 w 2646334"/>
                    <a:gd name="connsiteY55" fmla="*/ 58274 h 1868851"/>
                    <a:gd name="connsiteX56" fmla="*/ 1949608 w 2646334"/>
                    <a:gd name="connsiteY56" fmla="*/ 53673 h 1868851"/>
                    <a:gd name="connsiteX57" fmla="*/ 1927116 w 2646334"/>
                    <a:gd name="connsiteY57" fmla="*/ 75143 h 1868851"/>
                    <a:gd name="connsiteX58" fmla="*/ 1891334 w 2646334"/>
                    <a:gd name="connsiteY58" fmla="*/ 117059 h 1868851"/>
                    <a:gd name="connsiteX59" fmla="*/ 1946030 w 2646334"/>
                    <a:gd name="connsiteY59" fmla="*/ 41916 h 1868851"/>
                    <a:gd name="connsiteX60" fmla="*/ 2048775 w 2646334"/>
                    <a:gd name="connsiteY60" fmla="*/ 30159 h 1868851"/>
                    <a:gd name="connsiteX61" fmla="*/ 2055931 w 2646334"/>
                    <a:gd name="connsiteY61" fmla="*/ 1534 h 1868851"/>
                    <a:gd name="connsiteX62" fmla="*/ 1926094 w 2646334"/>
                    <a:gd name="connsiteY62" fmla="*/ 0 h 1868851"/>
                    <a:gd name="connsiteX63" fmla="*/ 1831016 w 2646334"/>
                    <a:gd name="connsiteY63" fmla="*/ 134950 h 1868851"/>
                    <a:gd name="connsiteX64" fmla="*/ 1731849 w 2646334"/>
                    <a:gd name="connsiteY64" fmla="*/ 199358 h 1868851"/>
                    <a:gd name="connsiteX65" fmla="*/ 1674086 w 2646334"/>
                    <a:gd name="connsiteY65" fmla="*/ 195268 h 1868851"/>
                    <a:gd name="connsiteX66" fmla="*/ 1642905 w 2646334"/>
                    <a:gd name="connsiteY66" fmla="*/ 222872 h 1868851"/>
                    <a:gd name="connsiteX67" fmla="*/ 1635748 w 2646334"/>
                    <a:gd name="connsiteY67" fmla="*/ 268878 h 1868851"/>
                    <a:gd name="connsiteX68" fmla="*/ 1609679 w 2646334"/>
                    <a:gd name="connsiteY68" fmla="*/ 295459 h 1868851"/>
                    <a:gd name="connsiteX69" fmla="*/ 1612235 w 2646334"/>
                    <a:gd name="connsiteY69" fmla="*/ 311305 h 1868851"/>
                    <a:gd name="connsiteX70" fmla="*/ 1596388 w 2646334"/>
                    <a:gd name="connsiteY70" fmla="*/ 340953 h 1868851"/>
                    <a:gd name="connsiteX71" fmla="*/ 1549360 w 2646334"/>
                    <a:gd name="connsiteY71" fmla="*/ 325107 h 1868851"/>
                    <a:gd name="connsiteX72" fmla="*/ 1537092 w 2646334"/>
                    <a:gd name="connsiteY72" fmla="*/ 336864 h 1868851"/>
                    <a:gd name="connsiteX73" fmla="*/ 1509489 w 2646334"/>
                    <a:gd name="connsiteY73" fmla="*/ 292903 h 1868851"/>
                    <a:gd name="connsiteX74" fmla="*/ 1450193 w 2646334"/>
                    <a:gd name="connsiteY74" fmla="*/ 298526 h 1868851"/>
                    <a:gd name="connsiteX75" fmla="*/ 1420545 w 2646334"/>
                    <a:gd name="connsiteY75" fmla="*/ 321017 h 1868851"/>
                    <a:gd name="connsiteX76" fmla="*/ 1405210 w 2646334"/>
                    <a:gd name="connsiteY76" fmla="*/ 361911 h 1868851"/>
                    <a:gd name="connsiteX77" fmla="*/ 657878 w 2646334"/>
                    <a:gd name="connsiteY77" fmla="*/ 799476 h 1868851"/>
                    <a:gd name="connsiteX78" fmla="*/ 690081 w 2646334"/>
                    <a:gd name="connsiteY78" fmla="*/ 867973 h 1868851"/>
                    <a:gd name="connsiteX79" fmla="*/ 705417 w 2646334"/>
                    <a:gd name="connsiteY79" fmla="*/ 879730 h 1868851"/>
                    <a:gd name="connsiteX80" fmla="*/ 759090 w 2646334"/>
                    <a:gd name="connsiteY80" fmla="*/ 884842 h 1868851"/>
                    <a:gd name="connsiteX81" fmla="*/ 786182 w 2646334"/>
                    <a:gd name="connsiteY81" fmla="*/ 837814 h 1868851"/>
                    <a:gd name="connsiteX82" fmla="*/ 777492 w 2646334"/>
                    <a:gd name="connsiteY82" fmla="*/ 801010 h 1868851"/>
                    <a:gd name="connsiteX83" fmla="*/ 690593 w 2646334"/>
                    <a:gd name="connsiteY83" fmla="*/ 781074 h 1868851"/>
                    <a:gd name="connsiteX84" fmla="*/ 615450 w 2646334"/>
                    <a:gd name="connsiteY84" fmla="*/ 768806 h 1868851"/>
                    <a:gd name="connsiteX85" fmla="*/ 618517 w 2646334"/>
                    <a:gd name="connsiteY85" fmla="*/ 784141 h 1868851"/>
                    <a:gd name="connsiteX86" fmla="*/ 657878 w 2646334"/>
                    <a:gd name="connsiteY86" fmla="*/ 799476 h 1868851"/>
                    <a:gd name="connsiteX87" fmla="*/ 1402654 w 2646334"/>
                    <a:gd name="connsiteY87" fmla="*/ 989122 h 1868851"/>
                    <a:gd name="connsiteX88" fmla="*/ 1479841 w 2646334"/>
                    <a:gd name="connsiteY88" fmla="*/ 1132762 h 1868851"/>
                    <a:gd name="connsiteX89" fmla="*/ 1475241 w 2646334"/>
                    <a:gd name="connsiteY89" fmla="*/ 1182345 h 1868851"/>
                    <a:gd name="connsiteX90" fmla="*/ 1509489 w 2646334"/>
                    <a:gd name="connsiteY90" fmla="*/ 1226306 h 1868851"/>
                    <a:gd name="connsiteX91" fmla="*/ 1516134 w 2646334"/>
                    <a:gd name="connsiteY91" fmla="*/ 1365346 h 1868851"/>
                    <a:gd name="connsiteX92" fmla="*/ 1362783 w 2646334"/>
                    <a:gd name="connsiteY92" fmla="*/ 1433843 h 1868851"/>
                    <a:gd name="connsiteX93" fmla="*/ 1391409 w 2646334"/>
                    <a:gd name="connsiteY93" fmla="*/ 1513075 h 1868851"/>
                    <a:gd name="connsiteX94" fmla="*/ 1373518 w 2646334"/>
                    <a:gd name="connsiteY94" fmla="*/ 1538634 h 1868851"/>
                    <a:gd name="connsiteX95" fmla="*/ 1378118 w 2646334"/>
                    <a:gd name="connsiteY95" fmla="*/ 1578505 h 1868851"/>
                    <a:gd name="connsiteX96" fmla="*/ 1417989 w 2646334"/>
                    <a:gd name="connsiteY96" fmla="*/ 1639335 h 1868851"/>
                    <a:gd name="connsiteX97" fmla="*/ 1374029 w 2646334"/>
                    <a:gd name="connsiteY97" fmla="*/ 1694542 h 1868851"/>
                    <a:gd name="connsiteX98" fmla="*/ 1307576 w 2646334"/>
                    <a:gd name="connsiteY98" fmla="*/ 1686874 h 1868851"/>
                    <a:gd name="connsiteX99" fmla="*/ 1152180 w 2646334"/>
                    <a:gd name="connsiteY99" fmla="*/ 1818246 h 1868851"/>
                    <a:gd name="connsiteX100" fmla="*/ 1108220 w 2646334"/>
                    <a:gd name="connsiteY100" fmla="*/ 1790642 h 1868851"/>
                    <a:gd name="connsiteX101" fmla="*/ 1061703 w 2646334"/>
                    <a:gd name="connsiteY101" fmla="*/ 1868852 h 1868851"/>
                    <a:gd name="connsiteX102" fmla="*/ 1011097 w 2646334"/>
                    <a:gd name="connsiteY102" fmla="*/ 1848916 h 1868851"/>
                    <a:gd name="connsiteX103" fmla="*/ 1055058 w 2646334"/>
                    <a:gd name="connsiteY103" fmla="*/ 1717545 h 1868851"/>
                    <a:gd name="connsiteX104" fmla="*/ 1041767 w 2646334"/>
                    <a:gd name="connsiteY104" fmla="*/ 1674606 h 1868851"/>
                    <a:gd name="connsiteX105" fmla="*/ 960491 w 2646334"/>
                    <a:gd name="connsiteY105" fmla="*/ 1677162 h 1868851"/>
                    <a:gd name="connsiteX106" fmla="*/ 964580 w 2646334"/>
                    <a:gd name="connsiteY106" fmla="*/ 1546812 h 1868851"/>
                    <a:gd name="connsiteX107" fmla="*/ 931354 w 2646334"/>
                    <a:gd name="connsiteY107" fmla="*/ 1545790 h 1868851"/>
                    <a:gd name="connsiteX108" fmla="*/ 794872 w 2646334"/>
                    <a:gd name="connsiteY108" fmla="*/ 1306561 h 1868851"/>
                    <a:gd name="connsiteX109" fmla="*/ 849056 w 2646334"/>
                    <a:gd name="connsiteY109" fmla="*/ 1229373 h 1868851"/>
                    <a:gd name="connsiteX110" fmla="*/ 815830 w 2646334"/>
                    <a:gd name="connsiteY110" fmla="*/ 1188479 h 1868851"/>
                    <a:gd name="connsiteX111" fmla="*/ 791804 w 2646334"/>
                    <a:gd name="connsiteY111" fmla="*/ 1229373 h 1868851"/>
                    <a:gd name="connsiteX112" fmla="*/ 696727 w 2646334"/>
                    <a:gd name="connsiteY112" fmla="*/ 1228351 h 1868851"/>
                    <a:gd name="connsiteX113" fmla="*/ 697749 w 2646334"/>
                    <a:gd name="connsiteY113" fmla="*/ 1177745 h 1868851"/>
                    <a:gd name="connsiteX114" fmla="*/ 681391 w 2646334"/>
                    <a:gd name="connsiteY114" fmla="*/ 1162410 h 1868851"/>
                    <a:gd name="connsiteX115" fmla="*/ 553599 w 2646334"/>
                    <a:gd name="connsiteY115" fmla="*/ 1213016 h 1868851"/>
                    <a:gd name="connsiteX116" fmla="*/ 631808 w 2646334"/>
                    <a:gd name="connsiteY116" fmla="*/ 1369435 h 1868851"/>
                    <a:gd name="connsiteX117" fmla="*/ 599604 w 2646334"/>
                    <a:gd name="connsiteY117" fmla="*/ 1400617 h 1868851"/>
                    <a:gd name="connsiteX118" fmla="*/ 552576 w 2646334"/>
                    <a:gd name="connsiteY118" fmla="*/ 1388860 h 1868851"/>
                    <a:gd name="connsiteX119" fmla="*/ 460054 w 2646334"/>
                    <a:gd name="connsiteY119" fmla="*/ 1454801 h 1868851"/>
                    <a:gd name="connsiteX120" fmla="*/ 401270 w 2646334"/>
                    <a:gd name="connsiteY120" fmla="*/ 1416974 h 1868851"/>
                    <a:gd name="connsiteX121" fmla="*/ 452898 w 2646334"/>
                    <a:gd name="connsiteY121" fmla="*/ 1396527 h 1868851"/>
                    <a:gd name="connsiteX122" fmla="*/ 459032 w 2646334"/>
                    <a:gd name="connsiteY122" fmla="*/ 1371480 h 1868851"/>
                    <a:gd name="connsiteX123" fmla="*/ 420694 w 2646334"/>
                    <a:gd name="connsiteY123" fmla="*/ 1359723 h 1868851"/>
                    <a:gd name="connsiteX124" fmla="*/ 444208 w 2646334"/>
                    <a:gd name="connsiteY124" fmla="*/ 1269756 h 1868851"/>
                    <a:gd name="connsiteX125" fmla="*/ 351686 w 2646334"/>
                    <a:gd name="connsiteY125" fmla="*/ 1207904 h 1868851"/>
                    <a:gd name="connsiteX126" fmla="*/ 314882 w 2646334"/>
                    <a:gd name="connsiteY126" fmla="*/ 1204837 h 1868851"/>
                    <a:gd name="connsiteX127" fmla="*/ 303125 w 2646334"/>
                    <a:gd name="connsiteY127" fmla="*/ 1263622 h 1868851"/>
                    <a:gd name="connsiteX128" fmla="*/ 217248 w 2646334"/>
                    <a:gd name="connsiteY128" fmla="*/ 1324452 h 1868851"/>
                    <a:gd name="connsiteX129" fmla="*/ 136994 w 2646334"/>
                    <a:gd name="connsiteY129" fmla="*/ 1333142 h 1868851"/>
                    <a:gd name="connsiteX130" fmla="*/ 113480 w 2646334"/>
                    <a:gd name="connsiteY130" fmla="*/ 1300938 h 1868851"/>
                    <a:gd name="connsiteX131" fmla="*/ 144150 w 2646334"/>
                    <a:gd name="connsiteY131" fmla="*/ 1262089 h 1868851"/>
                    <a:gd name="connsiteX132" fmla="*/ 107857 w 2646334"/>
                    <a:gd name="connsiteY132" fmla="*/ 1207393 h 1868851"/>
                    <a:gd name="connsiteX133" fmla="*/ 91500 w 2646334"/>
                    <a:gd name="connsiteY133" fmla="*/ 1223239 h 1868851"/>
                    <a:gd name="connsiteX134" fmla="*/ 0 w 2646334"/>
                    <a:gd name="connsiteY134" fmla="*/ 1194614 h 1868851"/>
                    <a:gd name="connsiteX135" fmla="*/ 23514 w 2646334"/>
                    <a:gd name="connsiteY135" fmla="*/ 1106181 h 1868851"/>
                    <a:gd name="connsiteX136" fmla="*/ 123704 w 2646334"/>
                    <a:gd name="connsiteY136" fmla="*/ 1102091 h 1868851"/>
                    <a:gd name="connsiteX137" fmla="*/ 135460 w 2646334"/>
                    <a:gd name="connsiteY137" fmla="*/ 990144 h 1868851"/>
                    <a:gd name="connsiteX138" fmla="*/ 180955 w 2646334"/>
                    <a:gd name="connsiteY138" fmla="*/ 726378 h 1868851"/>
                    <a:gd name="connsiteX139" fmla="*/ 223382 w 2646334"/>
                    <a:gd name="connsiteY139" fmla="*/ 738135 h 1868851"/>
                    <a:gd name="connsiteX140" fmla="*/ 194756 w 2646334"/>
                    <a:gd name="connsiteY140" fmla="*/ 720244 h 1868851"/>
                    <a:gd name="connsiteX141" fmla="*/ 105301 w 2646334"/>
                    <a:gd name="connsiteY141" fmla="*/ 707976 h 1868851"/>
                    <a:gd name="connsiteX142" fmla="*/ 104279 w 2646334"/>
                    <a:gd name="connsiteY142" fmla="*/ 626699 h 1868851"/>
                    <a:gd name="connsiteX143" fmla="*/ 118592 w 2646334"/>
                    <a:gd name="connsiteY143" fmla="*/ 605741 h 1868851"/>
                    <a:gd name="connsiteX144" fmla="*/ 148751 w 2646334"/>
                    <a:gd name="connsiteY144" fmla="*/ 615453 h 1868851"/>
                    <a:gd name="connsiteX145" fmla="*/ 154885 w 2646334"/>
                    <a:gd name="connsiteY145" fmla="*/ 602674 h 1868851"/>
                    <a:gd name="connsiteX146" fmla="*/ 148751 w 2646334"/>
                    <a:gd name="connsiteY146" fmla="*/ 591428 h 1868851"/>
                    <a:gd name="connsiteX147" fmla="*/ 126259 w 2646334"/>
                    <a:gd name="connsiteY147" fmla="*/ 577115 h 1868851"/>
                    <a:gd name="connsiteX148" fmla="*/ 151307 w 2646334"/>
                    <a:gd name="connsiteY148" fmla="*/ 543889 h 1868851"/>
                    <a:gd name="connsiteX149" fmla="*/ 194245 w 2646334"/>
                    <a:gd name="connsiteY149" fmla="*/ 519864 h 1868851"/>
                    <a:gd name="connsiteX150" fmla="*/ 427851 w 2646334"/>
                    <a:gd name="connsiteY150" fmla="*/ 496350 h 1868851"/>
                    <a:gd name="connsiteX151" fmla="*/ 451364 w 2646334"/>
                    <a:gd name="connsiteY151" fmla="*/ 511174 h 1868851"/>
                    <a:gd name="connsiteX152" fmla="*/ 450342 w 2646334"/>
                    <a:gd name="connsiteY152" fmla="*/ 529576 h 1868851"/>
                    <a:gd name="connsiteX153" fmla="*/ 490213 w 2646334"/>
                    <a:gd name="connsiteY153" fmla="*/ 601652 h 1868851"/>
                    <a:gd name="connsiteX154" fmla="*/ 459543 w 2646334"/>
                    <a:gd name="connsiteY154" fmla="*/ 613920 h 1868851"/>
                    <a:gd name="connsiteX155" fmla="*/ 458521 w 2646334"/>
                    <a:gd name="connsiteY155" fmla="*/ 631300 h 1868851"/>
                    <a:gd name="connsiteX156" fmla="*/ 498903 w 2646334"/>
                    <a:gd name="connsiteY156" fmla="*/ 672705 h 1868851"/>
                    <a:gd name="connsiteX157" fmla="*/ 525484 w 2646334"/>
                    <a:gd name="connsiteY157" fmla="*/ 675261 h 1868851"/>
                    <a:gd name="connsiteX158" fmla="*/ 541842 w 2646334"/>
                    <a:gd name="connsiteY158" fmla="*/ 618009 h 1868851"/>
                    <a:gd name="connsiteX159" fmla="*/ 509127 w 2646334"/>
                    <a:gd name="connsiteY159" fmla="*/ 604208 h 1868851"/>
                    <a:gd name="connsiteX160" fmla="*/ 522417 w 2646334"/>
                    <a:gd name="connsiteY160" fmla="*/ 552579 h 1868851"/>
                    <a:gd name="connsiteX161" fmla="*/ 536730 w 2646334"/>
                    <a:gd name="connsiteY161" fmla="*/ 548490 h 1868851"/>
                    <a:gd name="connsiteX162" fmla="*/ 615450 w 2646334"/>
                    <a:gd name="connsiteY162" fmla="*/ 596029 h 1868851"/>
                    <a:gd name="connsiteX163" fmla="*/ 622096 w 2646334"/>
                    <a:gd name="connsiteY163" fmla="*/ 610853 h 1868851"/>
                    <a:gd name="connsiteX164" fmla="*/ 633853 w 2646334"/>
                    <a:gd name="connsiteY164" fmla="*/ 638456 h 1868851"/>
                    <a:gd name="connsiteX165" fmla="*/ 658900 w 2646334"/>
                    <a:gd name="connsiteY165" fmla="*/ 643057 h 1868851"/>
                    <a:gd name="connsiteX166" fmla="*/ 666567 w 2646334"/>
                    <a:gd name="connsiteY166" fmla="*/ 620565 h 1868851"/>
                    <a:gd name="connsiteX167" fmla="*/ 654811 w 2646334"/>
                    <a:gd name="connsiteY167" fmla="*/ 573537 h 1868851"/>
                    <a:gd name="connsiteX168" fmla="*/ 617495 w 2646334"/>
                    <a:gd name="connsiteY168" fmla="*/ 574048 h 1868851"/>
                    <a:gd name="connsiteX169" fmla="*/ 596537 w 2646334"/>
                    <a:gd name="connsiteY169" fmla="*/ 512196 h 1868851"/>
                    <a:gd name="connsiteX170" fmla="*/ 646632 w 2646334"/>
                    <a:gd name="connsiteY170" fmla="*/ 396160 h 1868851"/>
                    <a:gd name="connsiteX171" fmla="*/ 674746 w 2646334"/>
                    <a:gd name="connsiteY171" fmla="*/ 390026 h 1868851"/>
                    <a:gd name="connsiteX172" fmla="*/ 693660 w 2646334"/>
                    <a:gd name="connsiteY172" fmla="*/ 416607 h 1868851"/>
                    <a:gd name="connsiteX173" fmla="*/ 793338 w 2646334"/>
                    <a:gd name="connsiteY173" fmla="*/ 407917 h 1868851"/>
                    <a:gd name="connsiteX174" fmla="*/ 874103 w 2646334"/>
                    <a:gd name="connsiteY174" fmla="*/ 428364 h 1868851"/>
                    <a:gd name="connsiteX175" fmla="*/ 1036144 w 2646334"/>
                    <a:gd name="connsiteY175" fmla="*/ 591428 h 1868851"/>
                    <a:gd name="connsiteX176" fmla="*/ 1079083 w 2646334"/>
                    <a:gd name="connsiteY176" fmla="*/ 636412 h 1868851"/>
                    <a:gd name="connsiteX177" fmla="*/ 1130711 w 2646334"/>
                    <a:gd name="connsiteY177" fmla="*/ 639479 h 1868851"/>
                    <a:gd name="connsiteX178" fmla="*/ 1140423 w 2646334"/>
                    <a:gd name="connsiteY178" fmla="*/ 629766 h 1868851"/>
                    <a:gd name="connsiteX179" fmla="*/ 1161382 w 2646334"/>
                    <a:gd name="connsiteY179" fmla="*/ 627722 h 1868851"/>
                    <a:gd name="connsiteX180" fmla="*/ 1185406 w 2646334"/>
                    <a:gd name="connsiteY180" fmla="*/ 653280 h 1868851"/>
                    <a:gd name="connsiteX181" fmla="*/ 1195119 w 2646334"/>
                    <a:gd name="connsiteY181" fmla="*/ 653280 h 1868851"/>
                    <a:gd name="connsiteX182" fmla="*/ 1220677 w 2646334"/>
                    <a:gd name="connsiteY182" fmla="*/ 636923 h 1868851"/>
                    <a:gd name="connsiteX183" fmla="*/ 1238568 w 2646334"/>
                    <a:gd name="connsiteY183" fmla="*/ 635900 h 1868851"/>
                    <a:gd name="connsiteX184" fmla="*/ 1255948 w 2646334"/>
                    <a:gd name="connsiteY184" fmla="*/ 649191 h 1868851"/>
                    <a:gd name="connsiteX185" fmla="*/ 1298375 w 2646334"/>
                    <a:gd name="connsiteY185" fmla="*/ 661970 h 1868851"/>
                    <a:gd name="connsiteX186" fmla="*/ 1313711 w 2646334"/>
                    <a:gd name="connsiteY186" fmla="*/ 679861 h 1868851"/>
                    <a:gd name="connsiteX187" fmla="*/ 1324956 w 2646334"/>
                    <a:gd name="connsiteY187" fmla="*/ 680884 h 1868851"/>
                    <a:gd name="connsiteX188" fmla="*/ 1338247 w 2646334"/>
                    <a:gd name="connsiteY188" fmla="*/ 671171 h 1868851"/>
                    <a:gd name="connsiteX189" fmla="*/ 1420034 w 2646334"/>
                    <a:gd name="connsiteY189" fmla="*/ 686507 h 1868851"/>
                    <a:gd name="connsiteX190" fmla="*/ 1457350 w 2646334"/>
                    <a:gd name="connsiteY190" fmla="*/ 672194 h 1868851"/>
                    <a:gd name="connsiteX191" fmla="*/ 1524824 w 2646334"/>
                    <a:gd name="connsiteY191" fmla="*/ 753982 h 1868851"/>
                    <a:gd name="connsiteX192" fmla="*/ 1512556 w 2646334"/>
                    <a:gd name="connsiteY192" fmla="*/ 782607 h 1868851"/>
                    <a:gd name="connsiteX193" fmla="*/ 1568785 w 2646334"/>
                    <a:gd name="connsiteY193" fmla="*/ 821968 h 1868851"/>
                    <a:gd name="connsiteX194" fmla="*/ 1679198 w 2646334"/>
                    <a:gd name="connsiteY194" fmla="*/ 845482 h 1868851"/>
                    <a:gd name="connsiteX195" fmla="*/ 1595366 w 2646334"/>
                    <a:gd name="connsiteY195" fmla="*/ 926247 h 1868851"/>
                    <a:gd name="connsiteX196" fmla="*/ 1479330 w 2646334"/>
                    <a:gd name="connsiteY196" fmla="*/ 915001 h 1868851"/>
                    <a:gd name="connsiteX197" fmla="*/ 1412878 w 2646334"/>
                    <a:gd name="connsiteY197" fmla="*/ 954873 h 1868851"/>
                    <a:gd name="connsiteX198" fmla="*/ 1402654 w 2646334"/>
                    <a:gd name="connsiteY198" fmla="*/ 989122 h 1868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</a:cxnLst>
                  <a:rect l="l" t="t" r="r" b="b"/>
                  <a:pathLst>
                    <a:path w="2646334" h="1868851">
                      <a:moveTo>
                        <a:pt x="1405210" y="361911"/>
                      </a:moveTo>
                      <a:lnTo>
                        <a:pt x="1376585" y="371623"/>
                      </a:lnTo>
                      <a:lnTo>
                        <a:pt x="1377096" y="443699"/>
                      </a:lnTo>
                      <a:lnTo>
                        <a:pt x="1440992" y="475903"/>
                      </a:lnTo>
                      <a:lnTo>
                        <a:pt x="1429235" y="537755"/>
                      </a:lnTo>
                      <a:lnTo>
                        <a:pt x="1336713" y="624655"/>
                      </a:lnTo>
                      <a:lnTo>
                        <a:pt x="1339780" y="670660"/>
                      </a:lnTo>
                      <a:lnTo>
                        <a:pt x="1421568" y="685995"/>
                      </a:lnTo>
                      <a:lnTo>
                        <a:pt x="1458883" y="671683"/>
                      </a:lnTo>
                      <a:lnTo>
                        <a:pt x="1526358" y="753470"/>
                      </a:lnTo>
                      <a:lnTo>
                        <a:pt x="1514090" y="782096"/>
                      </a:lnTo>
                      <a:lnTo>
                        <a:pt x="1570319" y="821457"/>
                      </a:lnTo>
                      <a:lnTo>
                        <a:pt x="1618880" y="781074"/>
                      </a:lnTo>
                      <a:lnTo>
                        <a:pt x="1647505" y="797431"/>
                      </a:lnTo>
                      <a:lnTo>
                        <a:pt x="1663863" y="778518"/>
                      </a:lnTo>
                      <a:lnTo>
                        <a:pt x="1651595" y="732001"/>
                      </a:lnTo>
                      <a:lnTo>
                        <a:pt x="1681243" y="711043"/>
                      </a:lnTo>
                      <a:lnTo>
                        <a:pt x="1717536" y="725356"/>
                      </a:lnTo>
                      <a:lnTo>
                        <a:pt x="1799323" y="685484"/>
                      </a:lnTo>
                      <a:lnTo>
                        <a:pt x="1822326" y="630278"/>
                      </a:lnTo>
                      <a:lnTo>
                        <a:pt x="1920471" y="653280"/>
                      </a:lnTo>
                      <a:lnTo>
                        <a:pt x="1955742" y="689574"/>
                      </a:lnTo>
                      <a:lnTo>
                        <a:pt x="2021683" y="680884"/>
                      </a:lnTo>
                      <a:lnTo>
                        <a:pt x="2057976" y="697241"/>
                      </a:lnTo>
                      <a:lnTo>
                        <a:pt x="2064621" y="713599"/>
                      </a:lnTo>
                      <a:lnTo>
                        <a:pt x="2140786" y="722289"/>
                      </a:lnTo>
                      <a:lnTo>
                        <a:pt x="2163789" y="684973"/>
                      </a:lnTo>
                      <a:lnTo>
                        <a:pt x="2240976" y="645102"/>
                      </a:lnTo>
                      <a:lnTo>
                        <a:pt x="2271646" y="664015"/>
                      </a:lnTo>
                      <a:lnTo>
                        <a:pt x="2315606" y="614431"/>
                      </a:lnTo>
                      <a:lnTo>
                        <a:pt x="2322252" y="564847"/>
                      </a:lnTo>
                      <a:cubicBezTo>
                        <a:pt x="2322252" y="564847"/>
                        <a:pt x="2399439" y="481015"/>
                        <a:pt x="2403017" y="482037"/>
                      </a:cubicBezTo>
                      <a:cubicBezTo>
                        <a:pt x="2406084" y="483059"/>
                        <a:pt x="2457201" y="542867"/>
                        <a:pt x="2457201" y="542867"/>
                      </a:cubicBezTo>
                      <a:lnTo>
                        <a:pt x="2512407" y="520886"/>
                      </a:lnTo>
                      <a:lnTo>
                        <a:pt x="2548701" y="526509"/>
                      </a:lnTo>
                      <a:lnTo>
                        <a:pt x="2555346" y="575071"/>
                      </a:lnTo>
                      <a:lnTo>
                        <a:pt x="2522120" y="600629"/>
                      </a:lnTo>
                      <a:lnTo>
                        <a:pt x="2526720" y="628233"/>
                      </a:lnTo>
                      <a:lnTo>
                        <a:pt x="2580905" y="620565"/>
                      </a:lnTo>
                      <a:lnTo>
                        <a:pt x="2594195" y="593984"/>
                      </a:lnTo>
                      <a:lnTo>
                        <a:pt x="2646334" y="575071"/>
                      </a:lnTo>
                      <a:lnTo>
                        <a:pt x="2598796" y="416607"/>
                      </a:lnTo>
                      <a:lnTo>
                        <a:pt x="2529787" y="366512"/>
                      </a:lnTo>
                      <a:lnTo>
                        <a:pt x="2496050" y="370090"/>
                      </a:lnTo>
                      <a:lnTo>
                        <a:pt x="2400461" y="318973"/>
                      </a:lnTo>
                      <a:lnTo>
                        <a:pt x="2392793" y="308238"/>
                      </a:lnTo>
                      <a:lnTo>
                        <a:pt x="2428575" y="265299"/>
                      </a:lnTo>
                      <a:lnTo>
                        <a:pt x="2369791" y="221849"/>
                      </a:lnTo>
                      <a:lnTo>
                        <a:pt x="2380014" y="179933"/>
                      </a:lnTo>
                      <a:lnTo>
                        <a:pt x="2339632" y="138528"/>
                      </a:lnTo>
                      <a:lnTo>
                        <a:pt x="2272157" y="169710"/>
                      </a:lnTo>
                      <a:lnTo>
                        <a:pt x="2141297" y="97123"/>
                      </a:lnTo>
                      <a:lnTo>
                        <a:pt x="2134141" y="43961"/>
                      </a:lnTo>
                      <a:lnTo>
                        <a:pt x="2105004" y="6645"/>
                      </a:lnTo>
                      <a:lnTo>
                        <a:pt x="2084557" y="10735"/>
                      </a:lnTo>
                      <a:lnTo>
                        <a:pt x="2033951" y="58274"/>
                      </a:lnTo>
                      <a:lnTo>
                        <a:pt x="1949608" y="53673"/>
                      </a:lnTo>
                      <a:lnTo>
                        <a:pt x="1927116" y="75143"/>
                      </a:lnTo>
                      <a:lnTo>
                        <a:pt x="1891334" y="117059"/>
                      </a:lnTo>
                      <a:lnTo>
                        <a:pt x="1946030" y="41916"/>
                      </a:lnTo>
                      <a:lnTo>
                        <a:pt x="2048775" y="30159"/>
                      </a:lnTo>
                      <a:lnTo>
                        <a:pt x="2055931" y="1534"/>
                      </a:lnTo>
                      <a:lnTo>
                        <a:pt x="1926094" y="0"/>
                      </a:lnTo>
                      <a:lnTo>
                        <a:pt x="1831016" y="134950"/>
                      </a:lnTo>
                      <a:lnTo>
                        <a:pt x="1731849" y="199358"/>
                      </a:lnTo>
                      <a:lnTo>
                        <a:pt x="1674086" y="195268"/>
                      </a:lnTo>
                      <a:lnTo>
                        <a:pt x="1642905" y="222872"/>
                      </a:lnTo>
                      <a:lnTo>
                        <a:pt x="1635748" y="268878"/>
                      </a:lnTo>
                      <a:lnTo>
                        <a:pt x="1609679" y="295459"/>
                      </a:lnTo>
                      <a:lnTo>
                        <a:pt x="1612235" y="311305"/>
                      </a:lnTo>
                      <a:lnTo>
                        <a:pt x="1596388" y="340953"/>
                      </a:lnTo>
                      <a:lnTo>
                        <a:pt x="1549360" y="325107"/>
                      </a:lnTo>
                      <a:lnTo>
                        <a:pt x="1537092" y="336864"/>
                      </a:lnTo>
                      <a:lnTo>
                        <a:pt x="1509489" y="292903"/>
                      </a:lnTo>
                      <a:lnTo>
                        <a:pt x="1450193" y="298526"/>
                      </a:lnTo>
                      <a:lnTo>
                        <a:pt x="1420545" y="321017"/>
                      </a:lnTo>
                      <a:lnTo>
                        <a:pt x="1405210" y="361911"/>
                      </a:lnTo>
                      <a:close/>
                      <a:moveTo>
                        <a:pt x="657878" y="799476"/>
                      </a:moveTo>
                      <a:lnTo>
                        <a:pt x="690081" y="867973"/>
                      </a:lnTo>
                      <a:lnTo>
                        <a:pt x="705417" y="879730"/>
                      </a:lnTo>
                      <a:lnTo>
                        <a:pt x="759090" y="884842"/>
                      </a:lnTo>
                      <a:lnTo>
                        <a:pt x="786182" y="837814"/>
                      </a:lnTo>
                      <a:lnTo>
                        <a:pt x="777492" y="801010"/>
                      </a:lnTo>
                      <a:lnTo>
                        <a:pt x="690593" y="781074"/>
                      </a:lnTo>
                      <a:lnTo>
                        <a:pt x="615450" y="768806"/>
                      </a:lnTo>
                      <a:lnTo>
                        <a:pt x="618517" y="784141"/>
                      </a:lnTo>
                      <a:lnTo>
                        <a:pt x="657878" y="799476"/>
                      </a:lnTo>
                      <a:close/>
                      <a:moveTo>
                        <a:pt x="1402654" y="989122"/>
                      </a:moveTo>
                      <a:lnTo>
                        <a:pt x="1479841" y="1132762"/>
                      </a:lnTo>
                      <a:lnTo>
                        <a:pt x="1475241" y="1182345"/>
                      </a:lnTo>
                      <a:lnTo>
                        <a:pt x="1509489" y="1226306"/>
                      </a:lnTo>
                      <a:lnTo>
                        <a:pt x="1516134" y="1365346"/>
                      </a:lnTo>
                      <a:lnTo>
                        <a:pt x="1362783" y="1433843"/>
                      </a:lnTo>
                      <a:lnTo>
                        <a:pt x="1391409" y="1513075"/>
                      </a:lnTo>
                      <a:lnTo>
                        <a:pt x="1373518" y="1538634"/>
                      </a:lnTo>
                      <a:lnTo>
                        <a:pt x="1378118" y="1578505"/>
                      </a:lnTo>
                      <a:lnTo>
                        <a:pt x="1417989" y="1639335"/>
                      </a:lnTo>
                      <a:lnTo>
                        <a:pt x="1374029" y="1694542"/>
                      </a:lnTo>
                      <a:lnTo>
                        <a:pt x="1307576" y="1686874"/>
                      </a:lnTo>
                      <a:lnTo>
                        <a:pt x="1152180" y="1818246"/>
                      </a:lnTo>
                      <a:lnTo>
                        <a:pt x="1108220" y="1790642"/>
                      </a:lnTo>
                      <a:lnTo>
                        <a:pt x="1061703" y="1868852"/>
                      </a:lnTo>
                      <a:lnTo>
                        <a:pt x="1011097" y="1848916"/>
                      </a:lnTo>
                      <a:lnTo>
                        <a:pt x="1055058" y="1717545"/>
                      </a:lnTo>
                      <a:lnTo>
                        <a:pt x="1041767" y="1674606"/>
                      </a:lnTo>
                      <a:lnTo>
                        <a:pt x="960491" y="1677162"/>
                      </a:lnTo>
                      <a:lnTo>
                        <a:pt x="964580" y="1546812"/>
                      </a:lnTo>
                      <a:lnTo>
                        <a:pt x="931354" y="1545790"/>
                      </a:lnTo>
                      <a:lnTo>
                        <a:pt x="794872" y="1306561"/>
                      </a:lnTo>
                      <a:lnTo>
                        <a:pt x="849056" y="1229373"/>
                      </a:lnTo>
                      <a:lnTo>
                        <a:pt x="815830" y="1188479"/>
                      </a:lnTo>
                      <a:lnTo>
                        <a:pt x="791804" y="1229373"/>
                      </a:lnTo>
                      <a:lnTo>
                        <a:pt x="696727" y="1228351"/>
                      </a:lnTo>
                      <a:lnTo>
                        <a:pt x="697749" y="1177745"/>
                      </a:lnTo>
                      <a:lnTo>
                        <a:pt x="681391" y="1162410"/>
                      </a:lnTo>
                      <a:lnTo>
                        <a:pt x="553599" y="1213016"/>
                      </a:lnTo>
                      <a:lnTo>
                        <a:pt x="631808" y="1369435"/>
                      </a:lnTo>
                      <a:lnTo>
                        <a:pt x="599604" y="1400617"/>
                      </a:lnTo>
                      <a:lnTo>
                        <a:pt x="552576" y="1388860"/>
                      </a:lnTo>
                      <a:lnTo>
                        <a:pt x="460054" y="1454801"/>
                      </a:lnTo>
                      <a:lnTo>
                        <a:pt x="401270" y="1416974"/>
                      </a:lnTo>
                      <a:lnTo>
                        <a:pt x="452898" y="1396527"/>
                      </a:lnTo>
                      <a:lnTo>
                        <a:pt x="459032" y="1371480"/>
                      </a:lnTo>
                      <a:lnTo>
                        <a:pt x="420694" y="1359723"/>
                      </a:lnTo>
                      <a:lnTo>
                        <a:pt x="444208" y="1269756"/>
                      </a:lnTo>
                      <a:lnTo>
                        <a:pt x="351686" y="1207904"/>
                      </a:lnTo>
                      <a:lnTo>
                        <a:pt x="314882" y="1204837"/>
                      </a:lnTo>
                      <a:lnTo>
                        <a:pt x="303125" y="1263622"/>
                      </a:lnTo>
                      <a:lnTo>
                        <a:pt x="217248" y="1324452"/>
                      </a:lnTo>
                      <a:lnTo>
                        <a:pt x="136994" y="1333142"/>
                      </a:lnTo>
                      <a:lnTo>
                        <a:pt x="113480" y="1300938"/>
                      </a:lnTo>
                      <a:lnTo>
                        <a:pt x="144150" y="1262089"/>
                      </a:lnTo>
                      <a:lnTo>
                        <a:pt x="107857" y="1207393"/>
                      </a:lnTo>
                      <a:lnTo>
                        <a:pt x="91500" y="1223239"/>
                      </a:lnTo>
                      <a:lnTo>
                        <a:pt x="0" y="1194614"/>
                      </a:lnTo>
                      <a:lnTo>
                        <a:pt x="23514" y="1106181"/>
                      </a:lnTo>
                      <a:lnTo>
                        <a:pt x="123704" y="1102091"/>
                      </a:lnTo>
                      <a:lnTo>
                        <a:pt x="135460" y="990144"/>
                      </a:lnTo>
                      <a:lnTo>
                        <a:pt x="180955" y="726378"/>
                      </a:lnTo>
                      <a:lnTo>
                        <a:pt x="223382" y="738135"/>
                      </a:lnTo>
                      <a:lnTo>
                        <a:pt x="194756" y="720244"/>
                      </a:lnTo>
                      <a:lnTo>
                        <a:pt x="105301" y="707976"/>
                      </a:lnTo>
                      <a:lnTo>
                        <a:pt x="104279" y="626699"/>
                      </a:lnTo>
                      <a:lnTo>
                        <a:pt x="118592" y="605741"/>
                      </a:lnTo>
                      <a:lnTo>
                        <a:pt x="148751" y="615453"/>
                      </a:lnTo>
                      <a:lnTo>
                        <a:pt x="154885" y="602674"/>
                      </a:lnTo>
                      <a:lnTo>
                        <a:pt x="148751" y="591428"/>
                      </a:lnTo>
                      <a:lnTo>
                        <a:pt x="126259" y="577115"/>
                      </a:lnTo>
                      <a:lnTo>
                        <a:pt x="151307" y="543889"/>
                      </a:lnTo>
                      <a:lnTo>
                        <a:pt x="194245" y="519864"/>
                      </a:lnTo>
                      <a:lnTo>
                        <a:pt x="427851" y="496350"/>
                      </a:lnTo>
                      <a:lnTo>
                        <a:pt x="451364" y="511174"/>
                      </a:lnTo>
                      <a:lnTo>
                        <a:pt x="450342" y="529576"/>
                      </a:lnTo>
                      <a:lnTo>
                        <a:pt x="490213" y="601652"/>
                      </a:lnTo>
                      <a:lnTo>
                        <a:pt x="459543" y="613920"/>
                      </a:lnTo>
                      <a:lnTo>
                        <a:pt x="458521" y="631300"/>
                      </a:lnTo>
                      <a:lnTo>
                        <a:pt x="498903" y="672705"/>
                      </a:lnTo>
                      <a:lnTo>
                        <a:pt x="525484" y="675261"/>
                      </a:lnTo>
                      <a:lnTo>
                        <a:pt x="541842" y="618009"/>
                      </a:lnTo>
                      <a:lnTo>
                        <a:pt x="509127" y="604208"/>
                      </a:lnTo>
                      <a:lnTo>
                        <a:pt x="522417" y="552579"/>
                      </a:lnTo>
                      <a:lnTo>
                        <a:pt x="536730" y="548490"/>
                      </a:lnTo>
                      <a:lnTo>
                        <a:pt x="615450" y="596029"/>
                      </a:lnTo>
                      <a:lnTo>
                        <a:pt x="622096" y="610853"/>
                      </a:lnTo>
                      <a:lnTo>
                        <a:pt x="633853" y="638456"/>
                      </a:lnTo>
                      <a:lnTo>
                        <a:pt x="658900" y="643057"/>
                      </a:lnTo>
                      <a:lnTo>
                        <a:pt x="666567" y="620565"/>
                      </a:lnTo>
                      <a:lnTo>
                        <a:pt x="654811" y="573537"/>
                      </a:lnTo>
                      <a:lnTo>
                        <a:pt x="617495" y="574048"/>
                      </a:lnTo>
                      <a:lnTo>
                        <a:pt x="596537" y="512196"/>
                      </a:lnTo>
                      <a:lnTo>
                        <a:pt x="646632" y="396160"/>
                      </a:lnTo>
                      <a:lnTo>
                        <a:pt x="674746" y="390026"/>
                      </a:lnTo>
                      <a:lnTo>
                        <a:pt x="693660" y="416607"/>
                      </a:lnTo>
                      <a:lnTo>
                        <a:pt x="793338" y="407917"/>
                      </a:lnTo>
                      <a:lnTo>
                        <a:pt x="874103" y="428364"/>
                      </a:lnTo>
                      <a:lnTo>
                        <a:pt x="1036144" y="591428"/>
                      </a:lnTo>
                      <a:lnTo>
                        <a:pt x="1079083" y="636412"/>
                      </a:lnTo>
                      <a:lnTo>
                        <a:pt x="1130711" y="639479"/>
                      </a:lnTo>
                      <a:lnTo>
                        <a:pt x="1140423" y="629766"/>
                      </a:lnTo>
                      <a:lnTo>
                        <a:pt x="1161382" y="627722"/>
                      </a:lnTo>
                      <a:lnTo>
                        <a:pt x="1185406" y="653280"/>
                      </a:lnTo>
                      <a:lnTo>
                        <a:pt x="1195119" y="653280"/>
                      </a:lnTo>
                      <a:lnTo>
                        <a:pt x="1220677" y="636923"/>
                      </a:lnTo>
                      <a:lnTo>
                        <a:pt x="1238568" y="635900"/>
                      </a:lnTo>
                      <a:lnTo>
                        <a:pt x="1255948" y="649191"/>
                      </a:lnTo>
                      <a:lnTo>
                        <a:pt x="1298375" y="661970"/>
                      </a:lnTo>
                      <a:lnTo>
                        <a:pt x="1313711" y="679861"/>
                      </a:lnTo>
                      <a:lnTo>
                        <a:pt x="1324956" y="680884"/>
                      </a:lnTo>
                      <a:lnTo>
                        <a:pt x="1338247" y="671171"/>
                      </a:lnTo>
                      <a:lnTo>
                        <a:pt x="1420034" y="686507"/>
                      </a:lnTo>
                      <a:lnTo>
                        <a:pt x="1457350" y="672194"/>
                      </a:lnTo>
                      <a:lnTo>
                        <a:pt x="1524824" y="753982"/>
                      </a:lnTo>
                      <a:lnTo>
                        <a:pt x="1512556" y="782607"/>
                      </a:lnTo>
                      <a:lnTo>
                        <a:pt x="1568785" y="821968"/>
                      </a:lnTo>
                      <a:lnTo>
                        <a:pt x="1679198" y="845482"/>
                      </a:lnTo>
                      <a:lnTo>
                        <a:pt x="1595366" y="926247"/>
                      </a:lnTo>
                      <a:lnTo>
                        <a:pt x="1479330" y="915001"/>
                      </a:lnTo>
                      <a:lnTo>
                        <a:pt x="1412878" y="954873"/>
                      </a:lnTo>
                      <a:lnTo>
                        <a:pt x="1402654" y="989122"/>
                      </a:lnTo>
                      <a:close/>
                    </a:path>
                  </a:pathLst>
                </a:custGeom>
                <a:noFill/>
                <a:ln w="1281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7" name="Freihandform: Form 86">
                <a:extLst>
                  <a:ext uri="{FF2B5EF4-FFF2-40B4-BE49-F238E27FC236}">
                    <a16:creationId xmlns:a16="http://schemas.microsoft.com/office/drawing/2014/main" id="{9CB62BEE-8447-44D3-9BEA-DC6B28DEC547}"/>
                  </a:ext>
                </a:extLst>
              </p:cNvPr>
              <p:cNvSpPr/>
              <p:nvPr/>
            </p:nvSpPr>
            <p:spPr>
              <a:xfrm>
                <a:off x="6584783" y="1173813"/>
                <a:ext cx="863368" cy="2451590"/>
              </a:xfrm>
              <a:custGeom>
                <a:avLst/>
                <a:gdLst>
                  <a:gd name="connsiteX0" fmla="*/ 257631 w 863368"/>
                  <a:gd name="connsiteY0" fmla="*/ 357311 h 2451590"/>
                  <a:gd name="connsiteX1" fmla="*/ 289834 w 863368"/>
                  <a:gd name="connsiteY1" fmla="*/ 425808 h 2451590"/>
                  <a:gd name="connsiteX2" fmla="*/ 305169 w 863368"/>
                  <a:gd name="connsiteY2" fmla="*/ 437565 h 2451590"/>
                  <a:gd name="connsiteX3" fmla="*/ 358842 w 863368"/>
                  <a:gd name="connsiteY3" fmla="*/ 442677 h 2451590"/>
                  <a:gd name="connsiteX4" fmla="*/ 385934 w 863368"/>
                  <a:gd name="connsiteY4" fmla="*/ 395649 h 2451590"/>
                  <a:gd name="connsiteX5" fmla="*/ 377245 w 863368"/>
                  <a:gd name="connsiteY5" fmla="*/ 358844 h 2451590"/>
                  <a:gd name="connsiteX6" fmla="*/ 290345 w 863368"/>
                  <a:gd name="connsiteY6" fmla="*/ 338908 h 2451590"/>
                  <a:gd name="connsiteX7" fmla="*/ 215203 w 863368"/>
                  <a:gd name="connsiteY7" fmla="*/ 326640 h 2451590"/>
                  <a:gd name="connsiteX8" fmla="*/ 218270 w 863368"/>
                  <a:gd name="connsiteY8" fmla="*/ 341975 h 2451590"/>
                  <a:gd name="connsiteX9" fmla="*/ 257631 w 863368"/>
                  <a:gd name="connsiteY9" fmla="*/ 357311 h 2451590"/>
                  <a:gd name="connsiteX10" fmla="*/ 259675 w 863368"/>
                  <a:gd name="connsiteY10" fmla="*/ 200380 h 2451590"/>
                  <a:gd name="connsiteX11" fmla="*/ 267343 w 863368"/>
                  <a:gd name="connsiteY11" fmla="*/ 177889 h 2451590"/>
                  <a:gd name="connsiteX12" fmla="*/ 255586 w 863368"/>
                  <a:gd name="connsiteY12" fmla="*/ 130860 h 2451590"/>
                  <a:gd name="connsiteX13" fmla="*/ 218270 w 863368"/>
                  <a:gd name="connsiteY13" fmla="*/ 131372 h 2451590"/>
                  <a:gd name="connsiteX14" fmla="*/ 222871 w 863368"/>
                  <a:gd name="connsiteY14" fmla="*/ 167665 h 2451590"/>
                  <a:gd name="connsiteX15" fmla="*/ 234628 w 863368"/>
                  <a:gd name="connsiteY15" fmla="*/ 195268 h 2451590"/>
                  <a:gd name="connsiteX16" fmla="*/ 259675 w 863368"/>
                  <a:gd name="connsiteY16" fmla="*/ 200380 h 2451590"/>
                  <a:gd name="connsiteX17" fmla="*/ 782092 w 863368"/>
                  <a:gd name="connsiteY17" fmla="*/ 126771 h 2451590"/>
                  <a:gd name="connsiteX18" fmla="*/ 765735 w 863368"/>
                  <a:gd name="connsiteY18" fmla="*/ 119104 h 2451590"/>
                  <a:gd name="connsiteX19" fmla="*/ 785671 w 863368"/>
                  <a:gd name="connsiteY19" fmla="*/ 64919 h 2451590"/>
                  <a:gd name="connsiteX20" fmla="*/ 774425 w 863368"/>
                  <a:gd name="connsiteY20" fmla="*/ 44983 h 2451590"/>
                  <a:gd name="connsiteX21" fmla="*/ 777492 w 863368"/>
                  <a:gd name="connsiteY21" fmla="*/ 3067 h 2451590"/>
                  <a:gd name="connsiteX22" fmla="*/ 761134 w 863368"/>
                  <a:gd name="connsiteY22" fmla="*/ 0 h 2451590"/>
                  <a:gd name="connsiteX23" fmla="*/ 718196 w 863368"/>
                  <a:gd name="connsiteY23" fmla="*/ 49584 h 2451590"/>
                  <a:gd name="connsiteX24" fmla="*/ 636408 w 863368"/>
                  <a:gd name="connsiteY24" fmla="*/ 85877 h 2451590"/>
                  <a:gd name="connsiteX25" fmla="*/ 629252 w 863368"/>
                  <a:gd name="connsiteY25" fmla="*/ 124726 h 2451590"/>
                  <a:gd name="connsiteX26" fmla="*/ 637431 w 863368"/>
                  <a:gd name="connsiteY26" fmla="*/ 148752 h 2451590"/>
                  <a:gd name="connsiteX27" fmla="*/ 680369 w 863368"/>
                  <a:gd name="connsiteY27" fmla="*/ 193735 h 2451590"/>
                  <a:gd name="connsiteX28" fmla="*/ 731998 w 863368"/>
                  <a:gd name="connsiteY28" fmla="*/ 196802 h 2451590"/>
                  <a:gd name="connsiteX29" fmla="*/ 741710 w 863368"/>
                  <a:gd name="connsiteY29" fmla="*/ 187090 h 2451590"/>
                  <a:gd name="connsiteX30" fmla="*/ 762668 w 863368"/>
                  <a:gd name="connsiteY30" fmla="*/ 185045 h 2451590"/>
                  <a:gd name="connsiteX31" fmla="*/ 786693 w 863368"/>
                  <a:gd name="connsiteY31" fmla="*/ 210604 h 2451590"/>
                  <a:gd name="connsiteX32" fmla="*/ 796405 w 863368"/>
                  <a:gd name="connsiteY32" fmla="*/ 210604 h 2451590"/>
                  <a:gd name="connsiteX33" fmla="*/ 821964 w 863368"/>
                  <a:gd name="connsiteY33" fmla="*/ 194246 h 2451590"/>
                  <a:gd name="connsiteX34" fmla="*/ 839855 w 863368"/>
                  <a:gd name="connsiteY34" fmla="*/ 193224 h 2451590"/>
                  <a:gd name="connsiteX35" fmla="*/ 857234 w 863368"/>
                  <a:gd name="connsiteY35" fmla="*/ 206514 h 2451590"/>
                  <a:gd name="connsiteX36" fmla="*/ 850589 w 863368"/>
                  <a:gd name="connsiteY36" fmla="*/ 191179 h 2451590"/>
                  <a:gd name="connsiteX37" fmla="*/ 782092 w 863368"/>
                  <a:gd name="connsiteY37" fmla="*/ 126771 h 2451590"/>
                  <a:gd name="connsiteX38" fmla="*/ 119614 w 863368"/>
                  <a:gd name="connsiteY38" fmla="*/ 1787064 h 2451590"/>
                  <a:gd name="connsiteX39" fmla="*/ 250474 w 863368"/>
                  <a:gd name="connsiteY39" fmla="*/ 1555502 h 2451590"/>
                  <a:gd name="connsiteX40" fmla="*/ 341974 w 863368"/>
                  <a:gd name="connsiteY40" fmla="*/ 1500807 h 2451590"/>
                  <a:gd name="connsiteX41" fmla="*/ 316415 w 863368"/>
                  <a:gd name="connsiteY41" fmla="*/ 1439466 h 2451590"/>
                  <a:gd name="connsiteX42" fmla="*/ 287278 w 863368"/>
                  <a:gd name="connsiteY42" fmla="*/ 1458891 h 2451590"/>
                  <a:gd name="connsiteX43" fmla="*/ 265809 w 863368"/>
                  <a:gd name="connsiteY43" fmla="*/ 1439466 h 2451590"/>
                  <a:gd name="connsiteX44" fmla="*/ 373155 w 863368"/>
                  <a:gd name="connsiteY44" fmla="*/ 1328541 h 2451590"/>
                  <a:gd name="connsiteX45" fmla="*/ 443697 w 863368"/>
                  <a:gd name="connsiteY45" fmla="*/ 1319340 h 2451590"/>
                  <a:gd name="connsiteX46" fmla="*/ 446253 w 863368"/>
                  <a:gd name="connsiteY46" fmla="*/ 1358700 h 2451590"/>
                  <a:gd name="connsiteX47" fmla="*/ 482035 w 863368"/>
                  <a:gd name="connsiteY47" fmla="*/ 1360234 h 2451590"/>
                  <a:gd name="connsiteX48" fmla="*/ 560244 w 863368"/>
                  <a:gd name="connsiteY48" fmla="*/ 1234485 h 2451590"/>
                  <a:gd name="connsiteX49" fmla="*/ 641520 w 863368"/>
                  <a:gd name="connsiteY49" fmla="*/ 1231929 h 2451590"/>
                  <a:gd name="connsiteX50" fmla="*/ 654811 w 863368"/>
                  <a:gd name="connsiteY50" fmla="*/ 1274868 h 2451590"/>
                  <a:gd name="connsiteX51" fmla="*/ 610850 w 863368"/>
                  <a:gd name="connsiteY51" fmla="*/ 1406240 h 2451590"/>
                  <a:gd name="connsiteX52" fmla="*/ 661456 w 863368"/>
                  <a:gd name="connsiteY52" fmla="*/ 1426175 h 2451590"/>
                  <a:gd name="connsiteX53" fmla="*/ 707972 w 863368"/>
                  <a:gd name="connsiteY53" fmla="*/ 1347966 h 2451590"/>
                  <a:gd name="connsiteX54" fmla="*/ 751933 w 863368"/>
                  <a:gd name="connsiteY54" fmla="*/ 1375569 h 2451590"/>
                  <a:gd name="connsiteX55" fmla="*/ 863369 w 863368"/>
                  <a:gd name="connsiteY55" fmla="*/ 1475759 h 2451590"/>
                  <a:gd name="connsiteX56" fmla="*/ 849567 w 863368"/>
                  <a:gd name="connsiteY56" fmla="*/ 1585150 h 2451590"/>
                  <a:gd name="connsiteX57" fmla="*/ 772891 w 863368"/>
                  <a:gd name="connsiteY57" fmla="*/ 1675117 h 2451590"/>
                  <a:gd name="connsiteX58" fmla="*/ 750911 w 863368"/>
                  <a:gd name="connsiteY58" fmla="*/ 1763550 h 2451590"/>
                  <a:gd name="connsiteX59" fmla="*/ 824520 w 863368"/>
                  <a:gd name="connsiteY59" fmla="*/ 1787064 h 2451590"/>
                  <a:gd name="connsiteX60" fmla="*/ 840366 w 863368"/>
                  <a:gd name="connsiteY60" fmla="*/ 1837159 h 2451590"/>
                  <a:gd name="connsiteX61" fmla="*/ 757045 w 863368"/>
                  <a:gd name="connsiteY61" fmla="*/ 1935305 h 2451590"/>
                  <a:gd name="connsiteX62" fmla="*/ 713595 w 863368"/>
                  <a:gd name="connsiteY62" fmla="*/ 1919970 h 2451590"/>
                  <a:gd name="connsiteX63" fmla="*/ 676280 w 863368"/>
                  <a:gd name="connsiteY63" fmla="*/ 1945528 h 2451590"/>
                  <a:gd name="connsiteX64" fmla="*/ 677813 w 863368"/>
                  <a:gd name="connsiteY64" fmla="*/ 2034472 h 2451590"/>
                  <a:gd name="connsiteX65" fmla="*/ 625674 w 863368"/>
                  <a:gd name="connsiteY65" fmla="*/ 2036006 h 2451590"/>
                  <a:gd name="connsiteX66" fmla="*/ 630274 w 863368"/>
                  <a:gd name="connsiteY66" fmla="*/ 2105014 h 2451590"/>
                  <a:gd name="connsiteX67" fmla="*/ 591425 w 863368"/>
                  <a:gd name="connsiteY67" fmla="*/ 2112171 h 2451590"/>
                  <a:gd name="connsiteX68" fmla="*/ 577624 w 863368"/>
                  <a:gd name="connsiteY68" fmla="*/ 2092235 h 2451590"/>
                  <a:gd name="connsiteX69" fmla="*/ 433985 w 863368"/>
                  <a:gd name="connsiteY69" fmla="*/ 2119327 h 2451590"/>
                  <a:gd name="connsiteX70" fmla="*/ 495836 w 863368"/>
                  <a:gd name="connsiteY70" fmla="*/ 2330953 h 2451590"/>
                  <a:gd name="connsiteX71" fmla="*/ 489702 w 863368"/>
                  <a:gd name="connsiteY71" fmla="*/ 2415297 h 2451590"/>
                  <a:gd name="connsiteX72" fmla="*/ 467211 w 863368"/>
                  <a:gd name="connsiteY72" fmla="*/ 2450057 h 2451590"/>
                  <a:gd name="connsiteX73" fmla="*/ 361909 w 863368"/>
                  <a:gd name="connsiteY73" fmla="*/ 2451591 h 2451590"/>
                  <a:gd name="connsiteX74" fmla="*/ 349641 w 863368"/>
                  <a:gd name="connsiteY74" fmla="*/ 2389227 h 2451590"/>
                  <a:gd name="connsiteX75" fmla="*/ 230538 w 863368"/>
                  <a:gd name="connsiteY75" fmla="*/ 2412230 h 2451590"/>
                  <a:gd name="connsiteX76" fmla="*/ 213670 w 863368"/>
                  <a:gd name="connsiteY76" fmla="*/ 2373381 h 2451590"/>
                  <a:gd name="connsiteX77" fmla="*/ 224915 w 863368"/>
                  <a:gd name="connsiteY77" fmla="*/ 2307950 h 2451590"/>
                  <a:gd name="connsiteX78" fmla="*/ 198335 w 863368"/>
                  <a:gd name="connsiteY78" fmla="*/ 2190892 h 2451590"/>
                  <a:gd name="connsiteX79" fmla="*/ 126771 w 863368"/>
                  <a:gd name="connsiteY79" fmla="*/ 2177601 h 2451590"/>
                  <a:gd name="connsiteX80" fmla="*/ 76165 w 863368"/>
                  <a:gd name="connsiteY80" fmla="*/ 2201115 h 2451590"/>
                  <a:gd name="connsiteX81" fmla="*/ 47028 w 863368"/>
                  <a:gd name="connsiteY81" fmla="*/ 2199582 h 2451590"/>
                  <a:gd name="connsiteX82" fmla="*/ 0 w 863368"/>
                  <a:gd name="connsiteY82" fmla="*/ 2142330 h 2451590"/>
                  <a:gd name="connsiteX83" fmla="*/ 123704 w 863368"/>
                  <a:gd name="connsiteY83" fmla="*/ 2020160 h 2451590"/>
                  <a:gd name="connsiteX84" fmla="*/ 98145 w 863368"/>
                  <a:gd name="connsiteY84" fmla="*/ 1964441 h 2451590"/>
                  <a:gd name="connsiteX85" fmla="*/ 69519 w 863368"/>
                  <a:gd name="connsiteY85" fmla="*/ 1952685 h 2451590"/>
                  <a:gd name="connsiteX86" fmla="*/ 66452 w 863368"/>
                  <a:gd name="connsiteY86" fmla="*/ 1887766 h 2451590"/>
                  <a:gd name="connsiteX87" fmla="*/ 130349 w 863368"/>
                  <a:gd name="connsiteY87" fmla="*/ 1842271 h 2451590"/>
                  <a:gd name="connsiteX88" fmla="*/ 119614 w 863368"/>
                  <a:gd name="connsiteY88" fmla="*/ 1787064 h 2451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863368" h="2451590">
                    <a:moveTo>
                      <a:pt x="257631" y="357311"/>
                    </a:moveTo>
                    <a:lnTo>
                      <a:pt x="289834" y="425808"/>
                    </a:lnTo>
                    <a:lnTo>
                      <a:pt x="305169" y="437565"/>
                    </a:lnTo>
                    <a:lnTo>
                      <a:pt x="358842" y="442677"/>
                    </a:lnTo>
                    <a:lnTo>
                      <a:pt x="385934" y="395649"/>
                    </a:lnTo>
                    <a:lnTo>
                      <a:pt x="377245" y="358844"/>
                    </a:lnTo>
                    <a:lnTo>
                      <a:pt x="290345" y="338908"/>
                    </a:lnTo>
                    <a:lnTo>
                      <a:pt x="215203" y="326640"/>
                    </a:lnTo>
                    <a:lnTo>
                      <a:pt x="218270" y="341975"/>
                    </a:lnTo>
                    <a:lnTo>
                      <a:pt x="257631" y="357311"/>
                    </a:lnTo>
                    <a:close/>
                    <a:moveTo>
                      <a:pt x="259675" y="200380"/>
                    </a:moveTo>
                    <a:lnTo>
                      <a:pt x="267343" y="177889"/>
                    </a:lnTo>
                    <a:lnTo>
                      <a:pt x="255586" y="130860"/>
                    </a:lnTo>
                    <a:lnTo>
                      <a:pt x="218270" y="131372"/>
                    </a:lnTo>
                    <a:lnTo>
                      <a:pt x="222871" y="167665"/>
                    </a:lnTo>
                    <a:lnTo>
                      <a:pt x="234628" y="195268"/>
                    </a:lnTo>
                    <a:lnTo>
                      <a:pt x="259675" y="200380"/>
                    </a:lnTo>
                    <a:close/>
                    <a:moveTo>
                      <a:pt x="782092" y="126771"/>
                    </a:moveTo>
                    <a:lnTo>
                      <a:pt x="765735" y="119104"/>
                    </a:lnTo>
                    <a:lnTo>
                      <a:pt x="785671" y="64919"/>
                    </a:lnTo>
                    <a:lnTo>
                      <a:pt x="774425" y="44983"/>
                    </a:lnTo>
                    <a:lnTo>
                      <a:pt x="777492" y="3067"/>
                    </a:lnTo>
                    <a:lnTo>
                      <a:pt x="761134" y="0"/>
                    </a:lnTo>
                    <a:lnTo>
                      <a:pt x="718196" y="49584"/>
                    </a:lnTo>
                    <a:lnTo>
                      <a:pt x="636408" y="85877"/>
                    </a:lnTo>
                    <a:lnTo>
                      <a:pt x="629252" y="124726"/>
                    </a:lnTo>
                    <a:lnTo>
                      <a:pt x="637431" y="148752"/>
                    </a:lnTo>
                    <a:lnTo>
                      <a:pt x="680369" y="193735"/>
                    </a:lnTo>
                    <a:lnTo>
                      <a:pt x="731998" y="196802"/>
                    </a:lnTo>
                    <a:lnTo>
                      <a:pt x="741710" y="187090"/>
                    </a:lnTo>
                    <a:lnTo>
                      <a:pt x="762668" y="185045"/>
                    </a:lnTo>
                    <a:lnTo>
                      <a:pt x="786693" y="210604"/>
                    </a:lnTo>
                    <a:lnTo>
                      <a:pt x="796405" y="210604"/>
                    </a:lnTo>
                    <a:lnTo>
                      <a:pt x="821964" y="194246"/>
                    </a:lnTo>
                    <a:lnTo>
                      <a:pt x="839855" y="193224"/>
                    </a:lnTo>
                    <a:lnTo>
                      <a:pt x="857234" y="206514"/>
                    </a:lnTo>
                    <a:lnTo>
                      <a:pt x="850589" y="191179"/>
                    </a:lnTo>
                    <a:lnTo>
                      <a:pt x="782092" y="126771"/>
                    </a:lnTo>
                    <a:close/>
                    <a:moveTo>
                      <a:pt x="119614" y="1787064"/>
                    </a:moveTo>
                    <a:lnTo>
                      <a:pt x="250474" y="1555502"/>
                    </a:lnTo>
                    <a:lnTo>
                      <a:pt x="341974" y="1500807"/>
                    </a:lnTo>
                    <a:lnTo>
                      <a:pt x="316415" y="1439466"/>
                    </a:lnTo>
                    <a:lnTo>
                      <a:pt x="287278" y="1458891"/>
                    </a:lnTo>
                    <a:lnTo>
                      <a:pt x="265809" y="1439466"/>
                    </a:lnTo>
                    <a:lnTo>
                      <a:pt x="373155" y="1328541"/>
                    </a:lnTo>
                    <a:lnTo>
                      <a:pt x="443697" y="1319340"/>
                    </a:lnTo>
                    <a:lnTo>
                      <a:pt x="446253" y="1358700"/>
                    </a:lnTo>
                    <a:lnTo>
                      <a:pt x="482035" y="1360234"/>
                    </a:lnTo>
                    <a:lnTo>
                      <a:pt x="560244" y="1234485"/>
                    </a:lnTo>
                    <a:lnTo>
                      <a:pt x="641520" y="1231929"/>
                    </a:lnTo>
                    <a:lnTo>
                      <a:pt x="654811" y="1274868"/>
                    </a:lnTo>
                    <a:lnTo>
                      <a:pt x="610850" y="1406240"/>
                    </a:lnTo>
                    <a:lnTo>
                      <a:pt x="661456" y="1426175"/>
                    </a:lnTo>
                    <a:lnTo>
                      <a:pt x="707972" y="1347966"/>
                    </a:lnTo>
                    <a:lnTo>
                      <a:pt x="751933" y="1375569"/>
                    </a:lnTo>
                    <a:lnTo>
                      <a:pt x="863369" y="1475759"/>
                    </a:lnTo>
                    <a:lnTo>
                      <a:pt x="849567" y="1585150"/>
                    </a:lnTo>
                    <a:lnTo>
                      <a:pt x="772891" y="1675117"/>
                    </a:lnTo>
                    <a:lnTo>
                      <a:pt x="750911" y="1763550"/>
                    </a:lnTo>
                    <a:lnTo>
                      <a:pt x="824520" y="1787064"/>
                    </a:lnTo>
                    <a:lnTo>
                      <a:pt x="840366" y="1837159"/>
                    </a:lnTo>
                    <a:lnTo>
                      <a:pt x="757045" y="1935305"/>
                    </a:lnTo>
                    <a:lnTo>
                      <a:pt x="713595" y="1919970"/>
                    </a:lnTo>
                    <a:lnTo>
                      <a:pt x="676280" y="1945528"/>
                    </a:lnTo>
                    <a:lnTo>
                      <a:pt x="677813" y="2034472"/>
                    </a:lnTo>
                    <a:lnTo>
                      <a:pt x="625674" y="2036006"/>
                    </a:lnTo>
                    <a:lnTo>
                      <a:pt x="630274" y="2105014"/>
                    </a:lnTo>
                    <a:lnTo>
                      <a:pt x="591425" y="2112171"/>
                    </a:lnTo>
                    <a:lnTo>
                      <a:pt x="577624" y="2092235"/>
                    </a:lnTo>
                    <a:lnTo>
                      <a:pt x="433985" y="2119327"/>
                    </a:lnTo>
                    <a:lnTo>
                      <a:pt x="495836" y="2330953"/>
                    </a:lnTo>
                    <a:lnTo>
                      <a:pt x="489702" y="2415297"/>
                    </a:lnTo>
                    <a:lnTo>
                      <a:pt x="467211" y="2450057"/>
                    </a:lnTo>
                    <a:lnTo>
                      <a:pt x="361909" y="2451591"/>
                    </a:lnTo>
                    <a:lnTo>
                      <a:pt x="349641" y="2389227"/>
                    </a:lnTo>
                    <a:lnTo>
                      <a:pt x="230538" y="2412230"/>
                    </a:lnTo>
                    <a:lnTo>
                      <a:pt x="213670" y="2373381"/>
                    </a:lnTo>
                    <a:lnTo>
                      <a:pt x="224915" y="2307950"/>
                    </a:lnTo>
                    <a:lnTo>
                      <a:pt x="198335" y="2190892"/>
                    </a:lnTo>
                    <a:lnTo>
                      <a:pt x="126771" y="2177601"/>
                    </a:lnTo>
                    <a:lnTo>
                      <a:pt x="76165" y="2201115"/>
                    </a:lnTo>
                    <a:lnTo>
                      <a:pt x="47028" y="2199582"/>
                    </a:lnTo>
                    <a:lnTo>
                      <a:pt x="0" y="2142330"/>
                    </a:lnTo>
                    <a:lnTo>
                      <a:pt x="123704" y="2020160"/>
                    </a:lnTo>
                    <a:lnTo>
                      <a:pt x="98145" y="1964441"/>
                    </a:lnTo>
                    <a:lnTo>
                      <a:pt x="69519" y="1952685"/>
                    </a:lnTo>
                    <a:lnTo>
                      <a:pt x="66452" y="1887766"/>
                    </a:lnTo>
                    <a:lnTo>
                      <a:pt x="130349" y="1842271"/>
                    </a:lnTo>
                    <a:lnTo>
                      <a:pt x="119614" y="1787064"/>
                    </a:lnTo>
                    <a:close/>
                  </a:path>
                </a:pathLst>
              </a:custGeom>
              <a:noFill/>
              <a:ln w="12812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88" name="Grafik 381">
                <a:extLst>
                  <a:ext uri="{FF2B5EF4-FFF2-40B4-BE49-F238E27FC236}">
                    <a16:creationId xmlns:a16="http://schemas.microsoft.com/office/drawing/2014/main" id="{5EA2D853-C03C-4641-B740-1B71AFB79DA0}"/>
                  </a:ext>
                </a:extLst>
              </p:cNvPr>
              <p:cNvGrpSpPr/>
              <p:nvPr/>
            </p:nvGrpSpPr>
            <p:grpSpPr>
              <a:xfrm>
                <a:off x="5086540" y="1213675"/>
                <a:ext cx="3991179" cy="3659503"/>
                <a:chOff x="5086540" y="1213675"/>
                <a:chExt cx="3991179" cy="3659503"/>
              </a:xfrm>
              <a:noFill/>
            </p:grpSpPr>
            <p:sp>
              <p:nvSpPr>
                <p:cNvPr id="136" name="Freihandform: Form 135">
                  <a:extLst>
                    <a:ext uri="{FF2B5EF4-FFF2-40B4-BE49-F238E27FC236}">
                      <a16:creationId xmlns:a16="http://schemas.microsoft.com/office/drawing/2014/main" id="{45E88BD0-92FC-456A-A6B2-ED825E507374}"/>
                    </a:ext>
                  </a:extLst>
                </p:cNvPr>
                <p:cNvSpPr/>
                <p:nvPr/>
              </p:nvSpPr>
              <p:spPr>
                <a:xfrm>
                  <a:off x="7754855" y="1213675"/>
                  <a:ext cx="1286107" cy="1246762"/>
                </a:xfrm>
                <a:custGeom>
                  <a:avLst/>
                  <a:gdLst>
                    <a:gd name="connsiteX0" fmla="*/ 110413 w 1286107"/>
                    <a:gd name="connsiteY0" fmla="*/ 361409 h 1246762"/>
                    <a:gd name="connsiteX1" fmla="*/ 0 w 1286107"/>
                    <a:gd name="connsiteY1" fmla="*/ 338918 h 1246762"/>
                    <a:gd name="connsiteX2" fmla="*/ 48561 w 1286107"/>
                    <a:gd name="connsiteY2" fmla="*/ 298535 h 1246762"/>
                    <a:gd name="connsiteX3" fmla="*/ 831676 w 1286107"/>
                    <a:gd name="connsiteY3" fmla="*/ 606262 h 1246762"/>
                    <a:gd name="connsiteX4" fmla="*/ 836276 w 1286107"/>
                    <a:gd name="connsiteY4" fmla="*/ 583259 h 1246762"/>
                    <a:gd name="connsiteX5" fmla="*/ 796405 w 1286107"/>
                    <a:gd name="connsiteY5" fmla="*/ 523451 h 1246762"/>
                    <a:gd name="connsiteX6" fmla="*/ 782092 w 1286107"/>
                    <a:gd name="connsiteY6" fmla="*/ 505560 h 1246762"/>
                    <a:gd name="connsiteX7" fmla="*/ 763179 w 1286107"/>
                    <a:gd name="connsiteY7" fmla="*/ 508627 h 1246762"/>
                    <a:gd name="connsiteX8" fmla="*/ 741199 w 1286107"/>
                    <a:gd name="connsiteY8" fmla="*/ 537253 h 1246762"/>
                    <a:gd name="connsiteX9" fmla="*/ 703883 w 1286107"/>
                    <a:gd name="connsiteY9" fmla="*/ 518340 h 1246762"/>
                    <a:gd name="connsiteX10" fmla="*/ 654299 w 1286107"/>
                    <a:gd name="connsiteY10" fmla="*/ 563323 h 1246762"/>
                    <a:gd name="connsiteX11" fmla="*/ 658900 w 1286107"/>
                    <a:gd name="connsiteY11" fmla="*/ 644088 h 1246762"/>
                    <a:gd name="connsiteX12" fmla="*/ 642543 w 1286107"/>
                    <a:gd name="connsiteY12" fmla="*/ 674759 h 1246762"/>
                    <a:gd name="connsiteX13" fmla="*/ 653788 w 1286107"/>
                    <a:gd name="connsiteY13" fmla="*/ 684471 h 1246762"/>
                    <a:gd name="connsiteX14" fmla="*/ 723308 w 1286107"/>
                    <a:gd name="connsiteY14" fmla="*/ 656868 h 1246762"/>
                    <a:gd name="connsiteX15" fmla="*/ 814807 w 1286107"/>
                    <a:gd name="connsiteY15" fmla="*/ 659935 h 1246762"/>
                    <a:gd name="connsiteX16" fmla="*/ 842410 w 1286107"/>
                    <a:gd name="connsiteY16" fmla="*/ 692139 h 1246762"/>
                    <a:gd name="connsiteX17" fmla="*/ 870014 w 1286107"/>
                    <a:gd name="connsiteY17" fmla="*/ 648178 h 1246762"/>
                    <a:gd name="connsiteX18" fmla="*/ 867969 w 1286107"/>
                    <a:gd name="connsiteY18" fmla="*/ 619552 h 1246762"/>
                    <a:gd name="connsiteX19" fmla="*/ 831676 w 1286107"/>
                    <a:gd name="connsiteY19" fmla="*/ 606262 h 1246762"/>
                    <a:gd name="connsiteX20" fmla="*/ 1024899 w 1286107"/>
                    <a:gd name="connsiteY20" fmla="*/ 111956 h 1246762"/>
                    <a:gd name="connsiteX21" fmla="*/ 1077038 w 1286107"/>
                    <a:gd name="connsiteY21" fmla="*/ 93043 h 1246762"/>
                    <a:gd name="connsiteX22" fmla="*/ 1085217 w 1286107"/>
                    <a:gd name="connsiteY22" fmla="*/ 119624 h 1246762"/>
                    <a:gd name="connsiteX23" fmla="*/ 1054036 w 1286107"/>
                    <a:gd name="connsiteY23" fmla="*/ 189144 h 1246762"/>
                    <a:gd name="connsiteX24" fmla="*/ 1066303 w 1286107"/>
                    <a:gd name="connsiteY24" fmla="*/ 229526 h 1246762"/>
                    <a:gd name="connsiteX25" fmla="*/ 1022854 w 1286107"/>
                    <a:gd name="connsiteY25" fmla="*/ 312848 h 1246762"/>
                    <a:gd name="connsiteX26" fmla="*/ 979916 w 1286107"/>
                    <a:gd name="connsiteY26" fmla="*/ 340451 h 1246762"/>
                    <a:gd name="connsiteX27" fmla="*/ 987072 w 1286107"/>
                    <a:gd name="connsiteY27" fmla="*/ 400258 h 1246762"/>
                    <a:gd name="connsiteX28" fmla="*/ 1058636 w 1286107"/>
                    <a:gd name="connsiteY28" fmla="*/ 436041 h 1246762"/>
                    <a:gd name="connsiteX29" fmla="*/ 1116910 w 1286107"/>
                    <a:gd name="connsiteY29" fmla="*/ 496870 h 1246762"/>
                    <a:gd name="connsiteX30" fmla="*/ 1142979 w 1286107"/>
                    <a:gd name="connsiteY30" fmla="*/ 504027 h 1246762"/>
                    <a:gd name="connsiteX31" fmla="*/ 1176205 w 1286107"/>
                    <a:gd name="connsiteY31" fmla="*/ 536231 h 1246762"/>
                    <a:gd name="connsiteX32" fmla="*/ 1181828 w 1286107"/>
                    <a:gd name="connsiteY32" fmla="*/ 585303 h 1246762"/>
                    <a:gd name="connsiteX33" fmla="*/ 1153714 w 1286107"/>
                    <a:gd name="connsiteY33" fmla="*/ 657890 h 1246762"/>
                    <a:gd name="connsiteX34" fmla="*/ 1176717 w 1286107"/>
                    <a:gd name="connsiteY34" fmla="*/ 713097 h 1246762"/>
                    <a:gd name="connsiteX35" fmla="*/ 1219144 w 1286107"/>
                    <a:gd name="connsiteY35" fmla="*/ 734055 h 1246762"/>
                    <a:gd name="connsiteX36" fmla="*/ 1247258 w 1286107"/>
                    <a:gd name="connsiteY36" fmla="*/ 822999 h 1246762"/>
                    <a:gd name="connsiteX37" fmla="*/ 1240613 w 1286107"/>
                    <a:gd name="connsiteY37" fmla="*/ 919611 h 1246762"/>
                    <a:gd name="connsiteX38" fmla="*/ 1216588 w 1286107"/>
                    <a:gd name="connsiteY38" fmla="*/ 944659 h 1246762"/>
                    <a:gd name="connsiteX39" fmla="*/ 1212499 w 1286107"/>
                    <a:gd name="connsiteY39" fmla="*/ 970217 h 1246762"/>
                    <a:gd name="connsiteX40" fmla="*/ 1286107 w 1286107"/>
                    <a:gd name="connsiteY40" fmla="*/ 1074497 h 1246762"/>
                    <a:gd name="connsiteX41" fmla="*/ 1278951 w 1286107"/>
                    <a:gd name="connsiteY41" fmla="*/ 1081653 h 1246762"/>
                    <a:gd name="connsiteX42" fmla="*/ 1168538 w 1286107"/>
                    <a:gd name="connsiteY42" fmla="*/ 1105679 h 1246762"/>
                    <a:gd name="connsiteX43" fmla="*/ 1130200 w 1286107"/>
                    <a:gd name="connsiteY43" fmla="*/ 1148106 h 1246762"/>
                    <a:gd name="connsiteX44" fmla="*/ 1060169 w 1286107"/>
                    <a:gd name="connsiteY44" fmla="*/ 1131748 h 1246762"/>
                    <a:gd name="connsiteX45" fmla="*/ 1031544 w 1286107"/>
                    <a:gd name="connsiteY45" fmla="*/ 1181843 h 1246762"/>
                    <a:gd name="connsiteX46" fmla="*/ 1022854 w 1286107"/>
                    <a:gd name="connsiteY46" fmla="*/ 1225804 h 1246762"/>
                    <a:gd name="connsiteX47" fmla="*/ 880748 w 1286107"/>
                    <a:gd name="connsiteY47" fmla="*/ 1240117 h 1246762"/>
                    <a:gd name="connsiteX48" fmla="*/ 787204 w 1286107"/>
                    <a:gd name="connsiteY48" fmla="*/ 1209447 h 1246762"/>
                    <a:gd name="connsiteX49" fmla="*/ 772891 w 1286107"/>
                    <a:gd name="connsiteY49" fmla="*/ 1218137 h 1246762"/>
                    <a:gd name="connsiteX50" fmla="*/ 757556 w 1286107"/>
                    <a:gd name="connsiteY50" fmla="*/ 1246763 h 1246762"/>
                    <a:gd name="connsiteX51" fmla="*/ 737620 w 1286107"/>
                    <a:gd name="connsiteY51" fmla="*/ 1241140 h 1246762"/>
                    <a:gd name="connsiteX52" fmla="*/ 726374 w 1286107"/>
                    <a:gd name="connsiteY52" fmla="*/ 1196156 h 1246762"/>
                    <a:gd name="connsiteX53" fmla="*/ 735064 w 1286107"/>
                    <a:gd name="connsiteY53" fmla="*/ 1183888 h 1246762"/>
                    <a:gd name="connsiteX54" fmla="*/ 729442 w 1286107"/>
                    <a:gd name="connsiteY54" fmla="*/ 1149640 h 1246762"/>
                    <a:gd name="connsiteX55" fmla="*/ 673724 w 1286107"/>
                    <a:gd name="connsiteY55" fmla="*/ 1099033 h 1246762"/>
                    <a:gd name="connsiteX56" fmla="*/ 714618 w 1286107"/>
                    <a:gd name="connsiteY56" fmla="*/ 1057117 h 1246762"/>
                    <a:gd name="connsiteX57" fmla="*/ 682414 w 1286107"/>
                    <a:gd name="connsiteY57" fmla="*/ 984530 h 1246762"/>
                    <a:gd name="connsiteX58" fmla="*/ 524973 w 1286107"/>
                    <a:gd name="connsiteY58" fmla="*/ 900698 h 1246762"/>
                    <a:gd name="connsiteX59" fmla="*/ 494303 w 1286107"/>
                    <a:gd name="connsiteY59" fmla="*/ 920634 h 1246762"/>
                    <a:gd name="connsiteX60" fmla="*/ 436029 w 1286107"/>
                    <a:gd name="connsiteY60" fmla="*/ 904276 h 1246762"/>
                    <a:gd name="connsiteX61" fmla="*/ 365999 w 1286107"/>
                    <a:gd name="connsiteY61" fmla="*/ 819932 h 1246762"/>
                    <a:gd name="connsiteX62" fmla="*/ 386445 w 1286107"/>
                    <a:gd name="connsiteY62" fmla="*/ 648689 h 1246762"/>
                    <a:gd name="connsiteX63" fmla="*/ 322549 w 1286107"/>
                    <a:gd name="connsiteY63" fmla="*/ 632331 h 1246762"/>
                    <a:gd name="connsiteX64" fmla="*/ 324082 w 1286107"/>
                    <a:gd name="connsiteY64" fmla="*/ 577125 h 1246762"/>
                    <a:gd name="connsiteX65" fmla="*/ 342996 w 1286107"/>
                    <a:gd name="connsiteY65" fmla="*/ 561789 h 1246762"/>
                    <a:gd name="connsiteX66" fmla="*/ 331750 w 1286107"/>
                    <a:gd name="connsiteY66" fmla="*/ 483580 h 1246762"/>
                    <a:gd name="connsiteX67" fmla="*/ 346574 w 1286107"/>
                    <a:gd name="connsiteY67" fmla="*/ 448820 h 1246762"/>
                    <a:gd name="connsiteX68" fmla="*/ 321016 w 1286107"/>
                    <a:gd name="connsiteY68" fmla="*/ 419172 h 1246762"/>
                    <a:gd name="connsiteX69" fmla="*/ 245362 w 1286107"/>
                    <a:gd name="connsiteY69" fmla="*/ 441152 h 1246762"/>
                    <a:gd name="connsiteX70" fmla="*/ 111435 w 1286107"/>
                    <a:gd name="connsiteY70" fmla="*/ 361920 h 1246762"/>
                    <a:gd name="connsiteX71" fmla="*/ 1022 w 1286107"/>
                    <a:gd name="connsiteY71" fmla="*/ 339429 h 1246762"/>
                    <a:gd name="connsiteX72" fmla="*/ 49584 w 1286107"/>
                    <a:gd name="connsiteY72" fmla="*/ 299046 h 1246762"/>
                    <a:gd name="connsiteX73" fmla="*/ 78209 w 1286107"/>
                    <a:gd name="connsiteY73" fmla="*/ 315404 h 1246762"/>
                    <a:gd name="connsiteX74" fmla="*/ 94567 w 1286107"/>
                    <a:gd name="connsiteY74" fmla="*/ 296490 h 1246762"/>
                    <a:gd name="connsiteX75" fmla="*/ 82298 w 1286107"/>
                    <a:gd name="connsiteY75" fmla="*/ 249973 h 1246762"/>
                    <a:gd name="connsiteX76" fmla="*/ 111946 w 1286107"/>
                    <a:gd name="connsiteY76" fmla="*/ 229015 h 1246762"/>
                    <a:gd name="connsiteX77" fmla="*/ 148240 w 1286107"/>
                    <a:gd name="connsiteY77" fmla="*/ 243328 h 1246762"/>
                    <a:gd name="connsiteX78" fmla="*/ 230027 w 1286107"/>
                    <a:gd name="connsiteY78" fmla="*/ 203456 h 1246762"/>
                    <a:gd name="connsiteX79" fmla="*/ 253030 w 1286107"/>
                    <a:gd name="connsiteY79" fmla="*/ 148250 h 1246762"/>
                    <a:gd name="connsiteX80" fmla="*/ 351175 w 1286107"/>
                    <a:gd name="connsiteY80" fmla="*/ 171253 h 1246762"/>
                    <a:gd name="connsiteX81" fmla="*/ 386445 w 1286107"/>
                    <a:gd name="connsiteY81" fmla="*/ 207546 h 1246762"/>
                    <a:gd name="connsiteX82" fmla="*/ 452387 w 1286107"/>
                    <a:gd name="connsiteY82" fmla="*/ 198856 h 1246762"/>
                    <a:gd name="connsiteX83" fmla="*/ 488680 w 1286107"/>
                    <a:gd name="connsiteY83" fmla="*/ 215213 h 1246762"/>
                    <a:gd name="connsiteX84" fmla="*/ 495325 w 1286107"/>
                    <a:gd name="connsiteY84" fmla="*/ 231571 h 1246762"/>
                    <a:gd name="connsiteX85" fmla="*/ 571490 w 1286107"/>
                    <a:gd name="connsiteY85" fmla="*/ 240261 h 1246762"/>
                    <a:gd name="connsiteX86" fmla="*/ 594492 w 1286107"/>
                    <a:gd name="connsiteY86" fmla="*/ 202945 h 1246762"/>
                    <a:gd name="connsiteX87" fmla="*/ 671679 w 1286107"/>
                    <a:gd name="connsiteY87" fmla="*/ 163074 h 1246762"/>
                    <a:gd name="connsiteX88" fmla="*/ 702349 w 1286107"/>
                    <a:gd name="connsiteY88" fmla="*/ 181987 h 1246762"/>
                    <a:gd name="connsiteX89" fmla="*/ 746310 w 1286107"/>
                    <a:gd name="connsiteY89" fmla="*/ 132403 h 1246762"/>
                    <a:gd name="connsiteX90" fmla="*/ 752955 w 1286107"/>
                    <a:gd name="connsiteY90" fmla="*/ 82819 h 1246762"/>
                    <a:gd name="connsiteX91" fmla="*/ 833720 w 1286107"/>
                    <a:gd name="connsiteY91" fmla="*/ 9 h 1246762"/>
                    <a:gd name="connsiteX92" fmla="*/ 887905 w 1286107"/>
                    <a:gd name="connsiteY92" fmla="*/ 60839 h 1246762"/>
                    <a:gd name="connsiteX93" fmla="*/ 943111 w 1286107"/>
                    <a:gd name="connsiteY93" fmla="*/ 38858 h 1246762"/>
                    <a:gd name="connsiteX94" fmla="*/ 979404 w 1286107"/>
                    <a:gd name="connsiteY94" fmla="*/ 44481 h 1246762"/>
                    <a:gd name="connsiteX95" fmla="*/ 986049 w 1286107"/>
                    <a:gd name="connsiteY95" fmla="*/ 93043 h 1246762"/>
                    <a:gd name="connsiteX96" fmla="*/ 952823 w 1286107"/>
                    <a:gd name="connsiteY96" fmla="*/ 118602 h 1246762"/>
                    <a:gd name="connsiteX97" fmla="*/ 957424 w 1286107"/>
                    <a:gd name="connsiteY97" fmla="*/ 146205 h 1246762"/>
                    <a:gd name="connsiteX98" fmla="*/ 1011608 w 1286107"/>
                    <a:gd name="connsiteY98" fmla="*/ 138537 h 1246762"/>
                    <a:gd name="connsiteX99" fmla="*/ 1024899 w 1286107"/>
                    <a:gd name="connsiteY99" fmla="*/ 111956 h 1246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</a:cxnLst>
                  <a:rect l="l" t="t" r="r" b="b"/>
                  <a:pathLst>
                    <a:path w="1286107" h="1246762">
                      <a:moveTo>
                        <a:pt x="110413" y="361409"/>
                      </a:moveTo>
                      <a:lnTo>
                        <a:pt x="0" y="338918"/>
                      </a:lnTo>
                      <a:lnTo>
                        <a:pt x="48561" y="298535"/>
                      </a:lnTo>
                      <a:moveTo>
                        <a:pt x="831676" y="606262"/>
                      </a:moveTo>
                      <a:lnTo>
                        <a:pt x="836276" y="583259"/>
                      </a:lnTo>
                      <a:lnTo>
                        <a:pt x="796405" y="523451"/>
                      </a:lnTo>
                      <a:lnTo>
                        <a:pt x="782092" y="505560"/>
                      </a:lnTo>
                      <a:lnTo>
                        <a:pt x="763179" y="508627"/>
                      </a:lnTo>
                      <a:lnTo>
                        <a:pt x="741199" y="537253"/>
                      </a:lnTo>
                      <a:lnTo>
                        <a:pt x="703883" y="518340"/>
                      </a:lnTo>
                      <a:lnTo>
                        <a:pt x="654299" y="563323"/>
                      </a:lnTo>
                      <a:lnTo>
                        <a:pt x="658900" y="644088"/>
                      </a:lnTo>
                      <a:lnTo>
                        <a:pt x="642543" y="674759"/>
                      </a:lnTo>
                      <a:lnTo>
                        <a:pt x="653788" y="684471"/>
                      </a:lnTo>
                      <a:lnTo>
                        <a:pt x="723308" y="656868"/>
                      </a:lnTo>
                      <a:lnTo>
                        <a:pt x="814807" y="659935"/>
                      </a:lnTo>
                      <a:lnTo>
                        <a:pt x="842410" y="692139"/>
                      </a:lnTo>
                      <a:lnTo>
                        <a:pt x="870014" y="648178"/>
                      </a:lnTo>
                      <a:lnTo>
                        <a:pt x="867969" y="619552"/>
                      </a:lnTo>
                      <a:lnTo>
                        <a:pt x="831676" y="606262"/>
                      </a:lnTo>
                      <a:close/>
                      <a:moveTo>
                        <a:pt x="1024899" y="111956"/>
                      </a:moveTo>
                      <a:lnTo>
                        <a:pt x="1077038" y="93043"/>
                      </a:lnTo>
                      <a:lnTo>
                        <a:pt x="1085217" y="119624"/>
                      </a:lnTo>
                      <a:lnTo>
                        <a:pt x="1054036" y="189144"/>
                      </a:lnTo>
                      <a:lnTo>
                        <a:pt x="1066303" y="229526"/>
                      </a:lnTo>
                      <a:lnTo>
                        <a:pt x="1022854" y="312848"/>
                      </a:lnTo>
                      <a:lnTo>
                        <a:pt x="979916" y="340451"/>
                      </a:lnTo>
                      <a:lnTo>
                        <a:pt x="987072" y="400258"/>
                      </a:lnTo>
                      <a:lnTo>
                        <a:pt x="1058636" y="436041"/>
                      </a:lnTo>
                      <a:lnTo>
                        <a:pt x="1116910" y="496870"/>
                      </a:lnTo>
                      <a:lnTo>
                        <a:pt x="1142979" y="504027"/>
                      </a:lnTo>
                      <a:lnTo>
                        <a:pt x="1176205" y="536231"/>
                      </a:lnTo>
                      <a:lnTo>
                        <a:pt x="1181828" y="585303"/>
                      </a:lnTo>
                      <a:lnTo>
                        <a:pt x="1153714" y="657890"/>
                      </a:lnTo>
                      <a:lnTo>
                        <a:pt x="1176717" y="713097"/>
                      </a:lnTo>
                      <a:lnTo>
                        <a:pt x="1219144" y="734055"/>
                      </a:lnTo>
                      <a:lnTo>
                        <a:pt x="1247258" y="822999"/>
                      </a:lnTo>
                      <a:lnTo>
                        <a:pt x="1240613" y="919611"/>
                      </a:lnTo>
                      <a:lnTo>
                        <a:pt x="1216588" y="944659"/>
                      </a:lnTo>
                      <a:lnTo>
                        <a:pt x="1212499" y="970217"/>
                      </a:lnTo>
                      <a:lnTo>
                        <a:pt x="1286107" y="1074497"/>
                      </a:lnTo>
                      <a:lnTo>
                        <a:pt x="1278951" y="1081653"/>
                      </a:lnTo>
                      <a:lnTo>
                        <a:pt x="1168538" y="1105679"/>
                      </a:lnTo>
                      <a:lnTo>
                        <a:pt x="1130200" y="1148106"/>
                      </a:lnTo>
                      <a:lnTo>
                        <a:pt x="1060169" y="1131748"/>
                      </a:lnTo>
                      <a:lnTo>
                        <a:pt x="1031544" y="1181843"/>
                      </a:lnTo>
                      <a:lnTo>
                        <a:pt x="1022854" y="1225804"/>
                      </a:lnTo>
                      <a:lnTo>
                        <a:pt x="880748" y="1240117"/>
                      </a:lnTo>
                      <a:lnTo>
                        <a:pt x="787204" y="1209447"/>
                      </a:lnTo>
                      <a:lnTo>
                        <a:pt x="772891" y="1218137"/>
                      </a:lnTo>
                      <a:lnTo>
                        <a:pt x="757556" y="1246763"/>
                      </a:lnTo>
                      <a:lnTo>
                        <a:pt x="737620" y="1241140"/>
                      </a:lnTo>
                      <a:lnTo>
                        <a:pt x="726374" y="1196156"/>
                      </a:lnTo>
                      <a:lnTo>
                        <a:pt x="735064" y="1183888"/>
                      </a:lnTo>
                      <a:lnTo>
                        <a:pt x="729442" y="1149640"/>
                      </a:lnTo>
                      <a:lnTo>
                        <a:pt x="673724" y="1099033"/>
                      </a:lnTo>
                      <a:lnTo>
                        <a:pt x="714618" y="1057117"/>
                      </a:lnTo>
                      <a:lnTo>
                        <a:pt x="682414" y="984530"/>
                      </a:lnTo>
                      <a:lnTo>
                        <a:pt x="524973" y="900698"/>
                      </a:lnTo>
                      <a:lnTo>
                        <a:pt x="494303" y="920634"/>
                      </a:lnTo>
                      <a:lnTo>
                        <a:pt x="436029" y="904276"/>
                      </a:lnTo>
                      <a:lnTo>
                        <a:pt x="365999" y="819932"/>
                      </a:lnTo>
                      <a:lnTo>
                        <a:pt x="386445" y="648689"/>
                      </a:lnTo>
                      <a:lnTo>
                        <a:pt x="322549" y="632331"/>
                      </a:lnTo>
                      <a:lnTo>
                        <a:pt x="324082" y="577125"/>
                      </a:lnTo>
                      <a:lnTo>
                        <a:pt x="342996" y="561789"/>
                      </a:lnTo>
                      <a:lnTo>
                        <a:pt x="331750" y="483580"/>
                      </a:lnTo>
                      <a:lnTo>
                        <a:pt x="346574" y="448820"/>
                      </a:lnTo>
                      <a:lnTo>
                        <a:pt x="321016" y="419172"/>
                      </a:lnTo>
                      <a:lnTo>
                        <a:pt x="245362" y="441152"/>
                      </a:lnTo>
                      <a:lnTo>
                        <a:pt x="111435" y="361920"/>
                      </a:lnTo>
                      <a:lnTo>
                        <a:pt x="1022" y="339429"/>
                      </a:lnTo>
                      <a:lnTo>
                        <a:pt x="49584" y="299046"/>
                      </a:lnTo>
                      <a:lnTo>
                        <a:pt x="78209" y="315404"/>
                      </a:lnTo>
                      <a:lnTo>
                        <a:pt x="94567" y="296490"/>
                      </a:lnTo>
                      <a:lnTo>
                        <a:pt x="82298" y="249973"/>
                      </a:lnTo>
                      <a:lnTo>
                        <a:pt x="111946" y="229015"/>
                      </a:lnTo>
                      <a:lnTo>
                        <a:pt x="148240" y="243328"/>
                      </a:lnTo>
                      <a:lnTo>
                        <a:pt x="230027" y="203456"/>
                      </a:lnTo>
                      <a:lnTo>
                        <a:pt x="253030" y="148250"/>
                      </a:lnTo>
                      <a:lnTo>
                        <a:pt x="351175" y="171253"/>
                      </a:lnTo>
                      <a:lnTo>
                        <a:pt x="386445" y="207546"/>
                      </a:lnTo>
                      <a:lnTo>
                        <a:pt x="452387" y="198856"/>
                      </a:lnTo>
                      <a:lnTo>
                        <a:pt x="488680" y="215213"/>
                      </a:lnTo>
                      <a:lnTo>
                        <a:pt x="495325" y="231571"/>
                      </a:lnTo>
                      <a:lnTo>
                        <a:pt x="571490" y="240261"/>
                      </a:lnTo>
                      <a:lnTo>
                        <a:pt x="594492" y="202945"/>
                      </a:lnTo>
                      <a:lnTo>
                        <a:pt x="671679" y="163074"/>
                      </a:lnTo>
                      <a:lnTo>
                        <a:pt x="702349" y="181987"/>
                      </a:lnTo>
                      <a:lnTo>
                        <a:pt x="746310" y="132403"/>
                      </a:lnTo>
                      <a:lnTo>
                        <a:pt x="752955" y="82819"/>
                      </a:lnTo>
                      <a:cubicBezTo>
                        <a:pt x="752955" y="82819"/>
                        <a:pt x="830142" y="-1013"/>
                        <a:pt x="833720" y="9"/>
                      </a:cubicBezTo>
                      <a:cubicBezTo>
                        <a:pt x="836788" y="1032"/>
                        <a:pt x="887905" y="60839"/>
                        <a:pt x="887905" y="60839"/>
                      </a:cubicBezTo>
                      <a:lnTo>
                        <a:pt x="943111" y="38858"/>
                      </a:lnTo>
                      <a:lnTo>
                        <a:pt x="979404" y="44481"/>
                      </a:lnTo>
                      <a:lnTo>
                        <a:pt x="986049" y="93043"/>
                      </a:lnTo>
                      <a:lnTo>
                        <a:pt x="952823" y="118602"/>
                      </a:lnTo>
                      <a:lnTo>
                        <a:pt x="957424" y="146205"/>
                      </a:lnTo>
                      <a:lnTo>
                        <a:pt x="1011608" y="138537"/>
                      </a:lnTo>
                      <a:lnTo>
                        <a:pt x="1024899" y="111956"/>
                      </a:lnTo>
                      <a:close/>
                    </a:path>
                  </a:pathLst>
                </a:custGeom>
                <a:noFill/>
                <a:ln w="1281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7" name="Freihandform: Form 136">
                  <a:extLst>
                    <a:ext uri="{FF2B5EF4-FFF2-40B4-BE49-F238E27FC236}">
                      <a16:creationId xmlns:a16="http://schemas.microsoft.com/office/drawing/2014/main" id="{5493BD81-0C5B-4D07-9C8C-81B09F7F306B}"/>
                    </a:ext>
                  </a:extLst>
                </p:cNvPr>
                <p:cNvSpPr/>
                <p:nvPr/>
              </p:nvSpPr>
              <p:spPr>
                <a:xfrm>
                  <a:off x="5086540" y="1360391"/>
                  <a:ext cx="3768866" cy="3512787"/>
                </a:xfrm>
                <a:custGeom>
                  <a:avLst/>
                  <a:gdLst>
                    <a:gd name="connsiteX0" fmla="*/ 156418 w 3768866"/>
                    <a:gd name="connsiteY0" fmla="*/ 1086245 h 3512787"/>
                    <a:gd name="connsiteX1" fmla="*/ 179421 w 3768866"/>
                    <a:gd name="connsiteY1" fmla="*/ 1115382 h 3512787"/>
                    <a:gd name="connsiteX2" fmla="*/ 196290 w 3768866"/>
                    <a:gd name="connsiteY2" fmla="*/ 1116915 h 3512787"/>
                    <a:gd name="connsiteX3" fmla="*/ 208047 w 3768866"/>
                    <a:gd name="connsiteY3" fmla="*/ 1136340 h 3512787"/>
                    <a:gd name="connsiteX4" fmla="*/ 214181 w 3768866"/>
                    <a:gd name="connsiteY4" fmla="*/ 1137362 h 3512787"/>
                    <a:gd name="connsiteX5" fmla="*/ 219804 w 3768866"/>
                    <a:gd name="connsiteY5" fmla="*/ 1146563 h 3512787"/>
                    <a:gd name="connsiteX6" fmla="*/ 224915 w 3768866"/>
                    <a:gd name="connsiteY6" fmla="*/ 1153720 h 3512787"/>
                    <a:gd name="connsiteX7" fmla="*/ 209580 w 3768866"/>
                    <a:gd name="connsiteY7" fmla="*/ 1165477 h 3512787"/>
                    <a:gd name="connsiteX8" fmla="*/ 170731 w 3768866"/>
                    <a:gd name="connsiteY8" fmla="*/ 1157298 h 3512787"/>
                    <a:gd name="connsiteX9" fmla="*/ 173798 w 3768866"/>
                    <a:gd name="connsiteY9" fmla="*/ 1137362 h 3512787"/>
                    <a:gd name="connsiteX10" fmla="*/ 154885 w 3768866"/>
                    <a:gd name="connsiteY10" fmla="*/ 1125094 h 3512787"/>
                    <a:gd name="connsiteX11" fmla="*/ 123192 w 3768866"/>
                    <a:gd name="connsiteY11" fmla="*/ 1112826 h 3512787"/>
                    <a:gd name="connsiteX12" fmla="*/ 110413 w 3768866"/>
                    <a:gd name="connsiteY12" fmla="*/ 1104136 h 3512787"/>
                    <a:gd name="connsiteX13" fmla="*/ 92011 w 3768866"/>
                    <a:gd name="connsiteY13" fmla="*/ 1106692 h 3512787"/>
                    <a:gd name="connsiteX14" fmla="*/ 81276 w 3768866"/>
                    <a:gd name="connsiteY14" fmla="*/ 1101069 h 3512787"/>
                    <a:gd name="connsiteX15" fmla="*/ 68497 w 3768866"/>
                    <a:gd name="connsiteY15" fmla="*/ 1101069 h 3512787"/>
                    <a:gd name="connsiteX16" fmla="*/ 57762 w 3768866"/>
                    <a:gd name="connsiteY16" fmla="*/ 1104647 h 3512787"/>
                    <a:gd name="connsiteX17" fmla="*/ 46005 w 3768866"/>
                    <a:gd name="connsiteY17" fmla="*/ 1114359 h 3512787"/>
                    <a:gd name="connsiteX18" fmla="*/ 39360 w 3768866"/>
                    <a:gd name="connsiteY18" fmla="*/ 1117937 h 3512787"/>
                    <a:gd name="connsiteX19" fmla="*/ 37827 w 3768866"/>
                    <a:gd name="connsiteY19" fmla="*/ 1112315 h 3512787"/>
                    <a:gd name="connsiteX20" fmla="*/ 31181 w 3768866"/>
                    <a:gd name="connsiteY20" fmla="*/ 1099024 h 3512787"/>
                    <a:gd name="connsiteX21" fmla="*/ 0 w 3768866"/>
                    <a:gd name="connsiteY21" fmla="*/ 1072443 h 3512787"/>
                    <a:gd name="connsiteX22" fmla="*/ 6134 w 3768866"/>
                    <a:gd name="connsiteY22" fmla="*/ 1071932 h 3512787"/>
                    <a:gd name="connsiteX23" fmla="*/ 32715 w 3768866"/>
                    <a:gd name="connsiteY23" fmla="*/ 1096979 h 3512787"/>
                    <a:gd name="connsiteX24" fmla="*/ 42427 w 3768866"/>
                    <a:gd name="connsiteY24" fmla="*/ 1111292 h 3512787"/>
                    <a:gd name="connsiteX25" fmla="*/ 60318 w 3768866"/>
                    <a:gd name="connsiteY25" fmla="*/ 1095957 h 3512787"/>
                    <a:gd name="connsiteX26" fmla="*/ 80254 w 3768866"/>
                    <a:gd name="connsiteY26" fmla="*/ 1095957 h 3512787"/>
                    <a:gd name="connsiteX27" fmla="*/ 88944 w 3768866"/>
                    <a:gd name="connsiteY27" fmla="*/ 1100046 h 3512787"/>
                    <a:gd name="connsiteX28" fmla="*/ 103257 w 3768866"/>
                    <a:gd name="connsiteY28" fmla="*/ 1095957 h 3512787"/>
                    <a:gd name="connsiteX29" fmla="*/ 109902 w 3768866"/>
                    <a:gd name="connsiteY29" fmla="*/ 1091356 h 3512787"/>
                    <a:gd name="connsiteX30" fmla="*/ 110413 w 3768866"/>
                    <a:gd name="connsiteY30" fmla="*/ 1087267 h 3512787"/>
                    <a:gd name="connsiteX31" fmla="*/ 102234 w 3768866"/>
                    <a:gd name="connsiteY31" fmla="*/ 1073465 h 3512787"/>
                    <a:gd name="connsiteX32" fmla="*/ 90477 w 3768866"/>
                    <a:gd name="connsiteY32" fmla="*/ 1068354 h 3512787"/>
                    <a:gd name="connsiteX33" fmla="*/ 71053 w 3768866"/>
                    <a:gd name="connsiteY33" fmla="*/ 1068865 h 3512787"/>
                    <a:gd name="connsiteX34" fmla="*/ 54695 w 3768866"/>
                    <a:gd name="connsiteY34" fmla="*/ 1078577 h 3512787"/>
                    <a:gd name="connsiteX35" fmla="*/ 44983 w 3768866"/>
                    <a:gd name="connsiteY35" fmla="*/ 1077555 h 3512787"/>
                    <a:gd name="connsiteX36" fmla="*/ 28114 w 3768866"/>
                    <a:gd name="connsiteY36" fmla="*/ 1063242 h 3512787"/>
                    <a:gd name="connsiteX37" fmla="*/ 24025 w 3768866"/>
                    <a:gd name="connsiteY37" fmla="*/ 1056085 h 3512787"/>
                    <a:gd name="connsiteX38" fmla="*/ 27092 w 3768866"/>
                    <a:gd name="connsiteY38" fmla="*/ 1044840 h 3512787"/>
                    <a:gd name="connsiteX39" fmla="*/ 34248 w 3768866"/>
                    <a:gd name="connsiteY39" fmla="*/ 1033083 h 3512787"/>
                    <a:gd name="connsiteX40" fmla="*/ 47539 w 3768866"/>
                    <a:gd name="connsiteY40" fmla="*/ 1028482 h 3512787"/>
                    <a:gd name="connsiteX41" fmla="*/ 70542 w 3768866"/>
                    <a:gd name="connsiteY41" fmla="*/ 1020814 h 3512787"/>
                    <a:gd name="connsiteX42" fmla="*/ 91500 w 3768866"/>
                    <a:gd name="connsiteY42" fmla="*/ 1025926 h 3512787"/>
                    <a:gd name="connsiteX43" fmla="*/ 102234 w 3768866"/>
                    <a:gd name="connsiteY43" fmla="*/ 1032571 h 3512787"/>
                    <a:gd name="connsiteX44" fmla="*/ 106835 w 3768866"/>
                    <a:gd name="connsiteY44" fmla="*/ 1050974 h 3512787"/>
                    <a:gd name="connsiteX45" fmla="*/ 116036 w 3768866"/>
                    <a:gd name="connsiteY45" fmla="*/ 1053530 h 3512787"/>
                    <a:gd name="connsiteX46" fmla="*/ 128815 w 3768866"/>
                    <a:gd name="connsiteY46" fmla="*/ 1055574 h 3512787"/>
                    <a:gd name="connsiteX47" fmla="*/ 135460 w 3768866"/>
                    <a:gd name="connsiteY47" fmla="*/ 1058641 h 3512787"/>
                    <a:gd name="connsiteX48" fmla="*/ 141594 w 3768866"/>
                    <a:gd name="connsiteY48" fmla="*/ 1065798 h 3512787"/>
                    <a:gd name="connsiteX49" fmla="*/ 156418 w 3768866"/>
                    <a:gd name="connsiteY49" fmla="*/ 1086245 h 3512787"/>
                    <a:gd name="connsiteX50" fmla="*/ 527529 w 3768866"/>
                    <a:gd name="connsiteY50" fmla="*/ 520886 h 3512787"/>
                    <a:gd name="connsiteX51" fmla="*/ 582735 w 3768866"/>
                    <a:gd name="connsiteY51" fmla="*/ 600118 h 3512787"/>
                    <a:gd name="connsiteX52" fmla="*/ 529062 w 3768866"/>
                    <a:gd name="connsiteY52" fmla="*/ 633345 h 3512787"/>
                    <a:gd name="connsiteX53" fmla="*/ 528040 w 3768866"/>
                    <a:gd name="connsiteY53" fmla="*/ 653792 h 3512787"/>
                    <a:gd name="connsiteX54" fmla="*/ 557177 w 3768866"/>
                    <a:gd name="connsiteY54" fmla="*/ 671171 h 3512787"/>
                    <a:gd name="connsiteX55" fmla="*/ 605738 w 3768866"/>
                    <a:gd name="connsiteY55" fmla="*/ 683951 h 3512787"/>
                    <a:gd name="connsiteX56" fmla="*/ 613406 w 3768866"/>
                    <a:gd name="connsiteY56" fmla="*/ 693663 h 3512787"/>
                    <a:gd name="connsiteX57" fmla="*/ 586825 w 3768866"/>
                    <a:gd name="connsiteY57" fmla="*/ 722289 h 3512787"/>
                    <a:gd name="connsiteX58" fmla="*/ 571490 w 3768866"/>
                    <a:gd name="connsiteY58" fmla="*/ 755515 h 3512787"/>
                    <a:gd name="connsiteX59" fmla="*/ 554621 w 3768866"/>
                    <a:gd name="connsiteY59" fmla="*/ 746825 h 3512787"/>
                    <a:gd name="connsiteX60" fmla="*/ 513727 w 3768866"/>
                    <a:gd name="connsiteY60" fmla="*/ 688551 h 3512787"/>
                    <a:gd name="connsiteX61" fmla="*/ 496347 w 3768866"/>
                    <a:gd name="connsiteY61" fmla="*/ 682417 h 3512787"/>
                    <a:gd name="connsiteX62" fmla="*/ 466699 w 3768866"/>
                    <a:gd name="connsiteY62" fmla="*/ 706442 h 3512787"/>
                    <a:gd name="connsiteX63" fmla="*/ 425806 w 3768866"/>
                    <a:gd name="connsiteY63" fmla="*/ 726889 h 3512787"/>
                    <a:gd name="connsiteX64" fmla="*/ 389001 w 3768866"/>
                    <a:gd name="connsiteY64" fmla="*/ 729445 h 3512787"/>
                    <a:gd name="connsiteX65" fmla="*/ 342485 w 3768866"/>
                    <a:gd name="connsiteY65" fmla="*/ 730979 h 3512787"/>
                    <a:gd name="connsiteX66" fmla="*/ 359865 w 3768866"/>
                    <a:gd name="connsiteY66" fmla="*/ 662993 h 3512787"/>
                    <a:gd name="connsiteX67" fmla="*/ 320504 w 3768866"/>
                    <a:gd name="connsiteY67" fmla="*/ 669127 h 3512787"/>
                    <a:gd name="connsiteX68" fmla="*/ 348108 w 3768866"/>
                    <a:gd name="connsiteY68" fmla="*/ 601141 h 3512787"/>
                    <a:gd name="connsiteX69" fmla="*/ 343507 w 3768866"/>
                    <a:gd name="connsiteY69" fmla="*/ 589895 h 3512787"/>
                    <a:gd name="connsiteX70" fmla="*/ 339418 w 3768866"/>
                    <a:gd name="connsiteY70" fmla="*/ 585805 h 3512787"/>
                    <a:gd name="connsiteX71" fmla="*/ 384912 w 3768866"/>
                    <a:gd name="connsiteY71" fmla="*/ 590406 h 3512787"/>
                    <a:gd name="connsiteX72" fmla="*/ 403825 w 3768866"/>
                    <a:gd name="connsiteY72" fmla="*/ 609319 h 3512787"/>
                    <a:gd name="connsiteX73" fmla="*/ 416094 w 3768866"/>
                    <a:gd name="connsiteY73" fmla="*/ 609319 h 3512787"/>
                    <a:gd name="connsiteX74" fmla="*/ 418649 w 3768866"/>
                    <a:gd name="connsiteY74" fmla="*/ 609831 h 3512787"/>
                    <a:gd name="connsiteX75" fmla="*/ 423761 w 3768866"/>
                    <a:gd name="connsiteY75" fmla="*/ 610342 h 3512787"/>
                    <a:gd name="connsiteX76" fmla="*/ 425806 w 3768866"/>
                    <a:gd name="connsiteY76" fmla="*/ 606764 h 3512787"/>
                    <a:gd name="connsiteX77" fmla="*/ 406381 w 3768866"/>
                    <a:gd name="connsiteY77" fmla="*/ 605230 h 3512787"/>
                    <a:gd name="connsiteX78" fmla="*/ 387468 w 3768866"/>
                    <a:gd name="connsiteY78" fmla="*/ 586828 h 3512787"/>
                    <a:gd name="connsiteX79" fmla="*/ 344530 w 3768866"/>
                    <a:gd name="connsiteY79" fmla="*/ 583761 h 3512787"/>
                    <a:gd name="connsiteX80" fmla="*/ 342996 w 3768866"/>
                    <a:gd name="connsiteY80" fmla="*/ 581716 h 3512787"/>
                    <a:gd name="connsiteX81" fmla="*/ 341974 w 3768866"/>
                    <a:gd name="connsiteY81" fmla="*/ 579671 h 3512787"/>
                    <a:gd name="connsiteX82" fmla="*/ 352708 w 3768866"/>
                    <a:gd name="connsiteY82" fmla="*/ 573537 h 3512787"/>
                    <a:gd name="connsiteX83" fmla="*/ 398203 w 3768866"/>
                    <a:gd name="connsiteY83" fmla="*/ 340953 h 3512787"/>
                    <a:gd name="connsiteX84" fmla="*/ 403825 w 3768866"/>
                    <a:gd name="connsiteY84" fmla="*/ 298014 h 3512787"/>
                    <a:gd name="connsiteX85" fmla="*/ 432451 w 3768866"/>
                    <a:gd name="connsiteY85" fmla="*/ 293925 h 3512787"/>
                    <a:gd name="connsiteX86" fmla="*/ 431429 w 3768866"/>
                    <a:gd name="connsiteY86" fmla="*/ 323062 h 3512787"/>
                    <a:gd name="connsiteX87" fmla="*/ 455965 w 3768866"/>
                    <a:gd name="connsiteY87" fmla="*/ 337886 h 3512787"/>
                    <a:gd name="connsiteX88" fmla="*/ 503504 w 3768866"/>
                    <a:gd name="connsiteY88" fmla="*/ 314372 h 3512787"/>
                    <a:gd name="connsiteX89" fmla="*/ 556666 w 3768866"/>
                    <a:gd name="connsiteY89" fmla="*/ 267855 h 3512787"/>
                    <a:gd name="connsiteX90" fmla="*/ 593981 w 3768866"/>
                    <a:gd name="connsiteY90" fmla="*/ 344531 h 3512787"/>
                    <a:gd name="connsiteX91" fmla="*/ 641009 w 3768866"/>
                    <a:gd name="connsiteY91" fmla="*/ 411495 h 3512787"/>
                    <a:gd name="connsiteX92" fmla="*/ 595004 w 3768866"/>
                    <a:gd name="connsiteY92" fmla="*/ 458523 h 3512787"/>
                    <a:gd name="connsiteX93" fmla="*/ 527529 w 3768866"/>
                    <a:gd name="connsiteY93" fmla="*/ 520886 h 3512787"/>
                    <a:gd name="connsiteX94" fmla="*/ 413538 w 3768866"/>
                    <a:gd name="connsiteY94" fmla="*/ 971230 h 3512787"/>
                    <a:gd name="connsiteX95" fmla="*/ 391557 w 3768866"/>
                    <a:gd name="connsiteY95" fmla="*/ 1004457 h 3512787"/>
                    <a:gd name="connsiteX96" fmla="*/ 323571 w 3768866"/>
                    <a:gd name="connsiteY96" fmla="*/ 1023881 h 3512787"/>
                    <a:gd name="connsiteX97" fmla="*/ 293924 w 3768866"/>
                    <a:gd name="connsiteY97" fmla="*/ 1016214 h 3512787"/>
                    <a:gd name="connsiteX98" fmla="*/ 277566 w 3768866"/>
                    <a:gd name="connsiteY98" fmla="*/ 1022348 h 3512787"/>
                    <a:gd name="connsiteX99" fmla="*/ 268365 w 3768866"/>
                    <a:gd name="connsiteY99" fmla="*/ 1041773 h 3512787"/>
                    <a:gd name="connsiteX100" fmla="*/ 224404 w 3768866"/>
                    <a:gd name="connsiteY100" fmla="*/ 1056085 h 3512787"/>
                    <a:gd name="connsiteX101" fmla="*/ 194245 w 3768866"/>
                    <a:gd name="connsiteY101" fmla="*/ 1028482 h 3512787"/>
                    <a:gd name="connsiteX102" fmla="*/ 147729 w 3768866"/>
                    <a:gd name="connsiteY102" fmla="*/ 1007524 h 3512787"/>
                    <a:gd name="connsiteX103" fmla="*/ 103768 w 3768866"/>
                    <a:gd name="connsiteY103" fmla="*/ 981454 h 3512787"/>
                    <a:gd name="connsiteX104" fmla="*/ 82299 w 3768866"/>
                    <a:gd name="connsiteY104" fmla="*/ 976853 h 3512787"/>
                    <a:gd name="connsiteX105" fmla="*/ 92522 w 3768866"/>
                    <a:gd name="connsiteY105" fmla="*/ 968164 h 3512787"/>
                    <a:gd name="connsiteX106" fmla="*/ 88944 w 3768866"/>
                    <a:gd name="connsiteY106" fmla="*/ 958451 h 3512787"/>
                    <a:gd name="connsiteX107" fmla="*/ 109902 w 3768866"/>
                    <a:gd name="connsiteY107" fmla="*/ 936471 h 3512787"/>
                    <a:gd name="connsiteX108" fmla="*/ 140061 w 3768866"/>
                    <a:gd name="connsiteY108" fmla="*/ 926758 h 3512787"/>
                    <a:gd name="connsiteX109" fmla="*/ 149262 w 3768866"/>
                    <a:gd name="connsiteY109" fmla="*/ 939027 h 3512787"/>
                    <a:gd name="connsiteX110" fmla="*/ 167153 w 3768866"/>
                    <a:gd name="connsiteY110" fmla="*/ 930848 h 3512787"/>
                    <a:gd name="connsiteX111" fmla="*/ 151818 w 3768866"/>
                    <a:gd name="connsiteY111" fmla="*/ 912445 h 3512787"/>
                    <a:gd name="connsiteX112" fmla="*/ 139039 w 3768866"/>
                    <a:gd name="connsiteY112" fmla="*/ 895066 h 3512787"/>
                    <a:gd name="connsiteX113" fmla="*/ 145173 w 3768866"/>
                    <a:gd name="connsiteY113" fmla="*/ 871552 h 3512787"/>
                    <a:gd name="connsiteX114" fmla="*/ 159997 w 3768866"/>
                    <a:gd name="connsiteY114" fmla="*/ 876663 h 3512787"/>
                    <a:gd name="connsiteX115" fmla="*/ 178910 w 3768866"/>
                    <a:gd name="connsiteY115" fmla="*/ 886376 h 3512787"/>
                    <a:gd name="connsiteX116" fmla="*/ 175843 w 3768866"/>
                    <a:gd name="connsiteY116" fmla="*/ 874619 h 3512787"/>
                    <a:gd name="connsiteX117" fmla="*/ 186578 w 3768866"/>
                    <a:gd name="connsiteY117" fmla="*/ 845482 h 3512787"/>
                    <a:gd name="connsiteX118" fmla="*/ 268876 w 3768866"/>
                    <a:gd name="connsiteY118" fmla="*/ 757560 h 3512787"/>
                    <a:gd name="connsiteX119" fmla="*/ 320504 w 3768866"/>
                    <a:gd name="connsiteY119" fmla="*/ 667593 h 3512787"/>
                    <a:gd name="connsiteX120" fmla="*/ 359865 w 3768866"/>
                    <a:gd name="connsiteY120" fmla="*/ 661459 h 3512787"/>
                    <a:gd name="connsiteX121" fmla="*/ 342485 w 3768866"/>
                    <a:gd name="connsiteY121" fmla="*/ 729445 h 3512787"/>
                    <a:gd name="connsiteX122" fmla="*/ 389001 w 3768866"/>
                    <a:gd name="connsiteY122" fmla="*/ 727912 h 3512787"/>
                    <a:gd name="connsiteX123" fmla="*/ 425806 w 3768866"/>
                    <a:gd name="connsiteY123" fmla="*/ 725356 h 3512787"/>
                    <a:gd name="connsiteX124" fmla="*/ 432962 w 3768866"/>
                    <a:gd name="connsiteY124" fmla="*/ 771873 h 3512787"/>
                    <a:gd name="connsiteX125" fmla="*/ 432962 w 3768866"/>
                    <a:gd name="connsiteY125" fmla="*/ 790786 h 3512787"/>
                    <a:gd name="connsiteX126" fmla="*/ 472834 w 3768866"/>
                    <a:gd name="connsiteY126" fmla="*/ 788741 h 3512787"/>
                    <a:gd name="connsiteX127" fmla="*/ 478456 w 3768866"/>
                    <a:gd name="connsiteY127" fmla="*/ 795387 h 3512787"/>
                    <a:gd name="connsiteX128" fmla="*/ 436540 w 3768866"/>
                    <a:gd name="connsiteY128" fmla="*/ 836281 h 3512787"/>
                    <a:gd name="connsiteX129" fmla="*/ 444208 w 3768866"/>
                    <a:gd name="connsiteY129" fmla="*/ 883309 h 3512787"/>
                    <a:gd name="connsiteX130" fmla="*/ 504015 w 3768866"/>
                    <a:gd name="connsiteY130" fmla="*/ 865418 h 3512787"/>
                    <a:gd name="connsiteX131" fmla="*/ 531618 w 3768866"/>
                    <a:gd name="connsiteY131" fmla="*/ 844459 h 3512787"/>
                    <a:gd name="connsiteX132" fmla="*/ 552065 w 3768866"/>
                    <a:gd name="connsiteY132" fmla="*/ 867462 h 3512787"/>
                    <a:gd name="connsiteX133" fmla="*/ 563311 w 3768866"/>
                    <a:gd name="connsiteY133" fmla="*/ 868485 h 3512787"/>
                    <a:gd name="connsiteX134" fmla="*/ 495836 w 3768866"/>
                    <a:gd name="connsiteY134" fmla="*/ 955895 h 3512787"/>
                    <a:gd name="connsiteX135" fmla="*/ 463121 w 3768866"/>
                    <a:gd name="connsiteY135" fmla="*/ 949250 h 3512787"/>
                    <a:gd name="connsiteX136" fmla="*/ 413538 w 3768866"/>
                    <a:gd name="connsiteY136" fmla="*/ 971230 h 3512787"/>
                    <a:gd name="connsiteX137" fmla="*/ 1260549 w 3768866"/>
                    <a:gd name="connsiteY137" fmla="*/ 207537 h 3512787"/>
                    <a:gd name="connsiteX138" fmla="*/ 1233968 w 3768866"/>
                    <a:gd name="connsiteY138" fmla="*/ 361911 h 3512787"/>
                    <a:gd name="connsiteX139" fmla="*/ 1232434 w 3768866"/>
                    <a:gd name="connsiteY139" fmla="*/ 376735 h 3512787"/>
                    <a:gd name="connsiteX140" fmla="*/ 1202786 w 3768866"/>
                    <a:gd name="connsiteY140" fmla="*/ 339419 h 3512787"/>
                    <a:gd name="connsiteX141" fmla="*/ 1204831 w 3768866"/>
                    <a:gd name="connsiteY141" fmla="*/ 319995 h 3512787"/>
                    <a:gd name="connsiteX142" fmla="*/ 1198186 w 3768866"/>
                    <a:gd name="connsiteY142" fmla="*/ 301081 h 3512787"/>
                    <a:gd name="connsiteX143" fmla="*/ 1134289 w 3768866"/>
                    <a:gd name="connsiteY143" fmla="*/ 225939 h 3512787"/>
                    <a:gd name="connsiteX144" fmla="*/ 1101063 w 3768866"/>
                    <a:gd name="connsiteY144" fmla="*/ 198336 h 3512787"/>
                    <a:gd name="connsiteX145" fmla="*/ 1075505 w 3768866"/>
                    <a:gd name="connsiteY145" fmla="*/ 205492 h 3512787"/>
                    <a:gd name="connsiteX146" fmla="*/ 1032566 w 3768866"/>
                    <a:gd name="connsiteY146" fmla="*/ 156419 h 3512787"/>
                    <a:gd name="connsiteX147" fmla="*/ 1001385 w 3768866"/>
                    <a:gd name="connsiteY147" fmla="*/ 157953 h 3512787"/>
                    <a:gd name="connsiteX148" fmla="*/ 967136 w 3768866"/>
                    <a:gd name="connsiteY148" fmla="*/ 213671 h 3512787"/>
                    <a:gd name="connsiteX149" fmla="*/ 953846 w 3768866"/>
                    <a:gd name="connsiteY149" fmla="*/ 212648 h 3512787"/>
                    <a:gd name="connsiteX150" fmla="*/ 912441 w 3768866"/>
                    <a:gd name="connsiteY150" fmla="*/ 196291 h 3512787"/>
                    <a:gd name="connsiteX151" fmla="*/ 908352 w 3768866"/>
                    <a:gd name="connsiteY151" fmla="*/ 171243 h 3512787"/>
                    <a:gd name="connsiteX152" fmla="*/ 934421 w 3768866"/>
                    <a:gd name="connsiteY152" fmla="*/ 109902 h 3512787"/>
                    <a:gd name="connsiteX153" fmla="*/ 944645 w 3768866"/>
                    <a:gd name="connsiteY153" fmla="*/ 97123 h 3512787"/>
                    <a:gd name="connsiteX154" fmla="*/ 939533 w 3768866"/>
                    <a:gd name="connsiteY154" fmla="*/ 75143 h 3512787"/>
                    <a:gd name="connsiteX155" fmla="*/ 908352 w 3768866"/>
                    <a:gd name="connsiteY155" fmla="*/ 54184 h 3512787"/>
                    <a:gd name="connsiteX156" fmla="*/ 914997 w 3768866"/>
                    <a:gd name="connsiteY156" fmla="*/ 30159 h 3512787"/>
                    <a:gd name="connsiteX157" fmla="*/ 960491 w 3768866"/>
                    <a:gd name="connsiteY157" fmla="*/ 36293 h 3512787"/>
                    <a:gd name="connsiteX158" fmla="*/ 1077549 w 3768866"/>
                    <a:gd name="connsiteY158" fmla="*/ 6134 h 3512787"/>
                    <a:gd name="connsiteX159" fmla="*/ 1130200 w 3768866"/>
                    <a:gd name="connsiteY159" fmla="*/ 0 h 3512787"/>
                    <a:gd name="connsiteX160" fmla="*/ 1140423 w 3768866"/>
                    <a:gd name="connsiteY160" fmla="*/ 511 h 3512787"/>
                    <a:gd name="connsiteX161" fmla="*/ 1152180 w 3768866"/>
                    <a:gd name="connsiteY161" fmla="*/ 11757 h 3512787"/>
                    <a:gd name="connsiteX162" fmla="*/ 1162404 w 3768866"/>
                    <a:gd name="connsiteY162" fmla="*/ 64919 h 3512787"/>
                    <a:gd name="connsiteX163" fmla="*/ 1201764 w 3768866"/>
                    <a:gd name="connsiteY163" fmla="*/ 82810 h 3512787"/>
                    <a:gd name="connsiteX164" fmla="*/ 1229367 w 3768866"/>
                    <a:gd name="connsiteY164" fmla="*/ 88433 h 3512787"/>
                    <a:gd name="connsiteX165" fmla="*/ 1238057 w 3768866"/>
                    <a:gd name="connsiteY165" fmla="*/ 113992 h 3512787"/>
                    <a:gd name="connsiteX166" fmla="*/ 1245213 w 3768866"/>
                    <a:gd name="connsiteY166" fmla="*/ 123704 h 3512787"/>
                    <a:gd name="connsiteX167" fmla="*/ 1264127 w 3768866"/>
                    <a:gd name="connsiteY167" fmla="*/ 128816 h 3512787"/>
                    <a:gd name="connsiteX168" fmla="*/ 1271283 w 3768866"/>
                    <a:gd name="connsiteY168" fmla="*/ 145173 h 3512787"/>
                    <a:gd name="connsiteX169" fmla="*/ 1260549 w 3768866"/>
                    <a:gd name="connsiteY169" fmla="*/ 207537 h 3512787"/>
                    <a:gd name="connsiteX170" fmla="*/ 835254 w 3768866"/>
                    <a:gd name="connsiteY170" fmla="*/ 1017747 h 3512787"/>
                    <a:gd name="connsiteX171" fmla="*/ 808162 w 3768866"/>
                    <a:gd name="connsiteY171" fmla="*/ 994233 h 3512787"/>
                    <a:gd name="connsiteX172" fmla="*/ 775447 w 3768866"/>
                    <a:gd name="connsiteY172" fmla="*/ 993722 h 3512787"/>
                    <a:gd name="connsiteX173" fmla="*/ 711039 w 3768866"/>
                    <a:gd name="connsiteY173" fmla="*/ 954362 h 3512787"/>
                    <a:gd name="connsiteX174" fmla="*/ 666056 w 3768866"/>
                    <a:gd name="connsiteY174" fmla="*/ 967141 h 3512787"/>
                    <a:gd name="connsiteX175" fmla="*/ 644587 w 3768866"/>
                    <a:gd name="connsiteY175" fmla="*/ 959985 h 3512787"/>
                    <a:gd name="connsiteX176" fmla="*/ 615962 w 3768866"/>
                    <a:gd name="connsiteY176" fmla="*/ 1001901 h 3512787"/>
                    <a:gd name="connsiteX177" fmla="*/ 539797 w 3768866"/>
                    <a:gd name="connsiteY177" fmla="*/ 1004457 h 3512787"/>
                    <a:gd name="connsiteX178" fmla="*/ 518839 w 3768866"/>
                    <a:gd name="connsiteY178" fmla="*/ 978387 h 3512787"/>
                    <a:gd name="connsiteX179" fmla="*/ 495325 w 3768866"/>
                    <a:gd name="connsiteY179" fmla="*/ 956406 h 3512787"/>
                    <a:gd name="connsiteX180" fmla="*/ 462610 w 3768866"/>
                    <a:gd name="connsiteY180" fmla="*/ 949761 h 3512787"/>
                    <a:gd name="connsiteX181" fmla="*/ 413538 w 3768866"/>
                    <a:gd name="connsiteY181" fmla="*/ 971742 h 3512787"/>
                    <a:gd name="connsiteX182" fmla="*/ 391557 w 3768866"/>
                    <a:gd name="connsiteY182" fmla="*/ 1004968 h 3512787"/>
                    <a:gd name="connsiteX183" fmla="*/ 323571 w 3768866"/>
                    <a:gd name="connsiteY183" fmla="*/ 1023881 h 3512787"/>
                    <a:gd name="connsiteX184" fmla="*/ 293924 w 3768866"/>
                    <a:gd name="connsiteY184" fmla="*/ 1016214 h 3512787"/>
                    <a:gd name="connsiteX185" fmla="*/ 277566 w 3768866"/>
                    <a:gd name="connsiteY185" fmla="*/ 1022348 h 3512787"/>
                    <a:gd name="connsiteX186" fmla="*/ 268365 w 3768866"/>
                    <a:gd name="connsiteY186" fmla="*/ 1041773 h 3512787"/>
                    <a:gd name="connsiteX187" fmla="*/ 225427 w 3768866"/>
                    <a:gd name="connsiteY187" fmla="*/ 1056085 h 3512787"/>
                    <a:gd name="connsiteX188" fmla="*/ 214181 w 3768866"/>
                    <a:gd name="connsiteY188" fmla="*/ 1067331 h 3512787"/>
                    <a:gd name="connsiteX189" fmla="*/ 229516 w 3768866"/>
                    <a:gd name="connsiteY189" fmla="*/ 1110270 h 3512787"/>
                    <a:gd name="connsiteX190" fmla="*/ 216737 w 3768866"/>
                    <a:gd name="connsiteY190" fmla="*/ 1141452 h 3512787"/>
                    <a:gd name="connsiteX191" fmla="*/ 235650 w 3768866"/>
                    <a:gd name="connsiteY191" fmla="*/ 1165988 h 3512787"/>
                    <a:gd name="connsiteX192" fmla="*/ 236161 w 3768866"/>
                    <a:gd name="connsiteY192" fmla="*/ 1185413 h 3512787"/>
                    <a:gd name="connsiteX193" fmla="*/ 249452 w 3768866"/>
                    <a:gd name="connsiteY193" fmla="*/ 1196658 h 3512787"/>
                    <a:gd name="connsiteX194" fmla="*/ 287278 w 3768866"/>
                    <a:gd name="connsiteY194" fmla="*/ 1213016 h 3512787"/>
                    <a:gd name="connsiteX195" fmla="*/ 285745 w 3768866"/>
                    <a:gd name="connsiteY195" fmla="*/ 1165988 h 3512787"/>
                    <a:gd name="connsiteX196" fmla="*/ 327661 w 3768866"/>
                    <a:gd name="connsiteY196" fmla="*/ 1142985 h 3512787"/>
                    <a:gd name="connsiteX197" fmla="*/ 330728 w 3768866"/>
                    <a:gd name="connsiteY197" fmla="*/ 1168032 h 3512787"/>
                    <a:gd name="connsiteX198" fmla="*/ 375200 w 3768866"/>
                    <a:gd name="connsiteY198" fmla="*/ 1174167 h 3512787"/>
                    <a:gd name="connsiteX199" fmla="*/ 418649 w 3768866"/>
                    <a:gd name="connsiteY199" fmla="*/ 1133784 h 3512787"/>
                    <a:gd name="connsiteX200" fmla="*/ 442674 w 3768866"/>
                    <a:gd name="connsiteY200" fmla="*/ 1140429 h 3512787"/>
                    <a:gd name="connsiteX201" fmla="*/ 429895 w 3768866"/>
                    <a:gd name="connsiteY201" fmla="*/ 1194102 h 3512787"/>
                    <a:gd name="connsiteX202" fmla="*/ 481523 w 3768866"/>
                    <a:gd name="connsiteY202" fmla="*/ 1198703 h 3512787"/>
                    <a:gd name="connsiteX203" fmla="*/ 512194 w 3768866"/>
                    <a:gd name="connsiteY203" fmla="*/ 1148608 h 3512787"/>
                    <a:gd name="connsiteX204" fmla="*/ 538263 w 3768866"/>
                    <a:gd name="connsiteY204" fmla="*/ 1167010 h 3512787"/>
                    <a:gd name="connsiteX205" fmla="*/ 526507 w 3768866"/>
                    <a:gd name="connsiteY205" fmla="*/ 1196147 h 3512787"/>
                    <a:gd name="connsiteX206" fmla="*/ 576601 w 3768866"/>
                    <a:gd name="connsiteY206" fmla="*/ 1243686 h 3512787"/>
                    <a:gd name="connsiteX207" fmla="*/ 580691 w 3768866"/>
                    <a:gd name="connsiteY207" fmla="*/ 1273334 h 3512787"/>
                    <a:gd name="connsiteX208" fmla="*/ 649188 w 3768866"/>
                    <a:gd name="connsiteY208" fmla="*/ 1268734 h 3512787"/>
                    <a:gd name="connsiteX209" fmla="*/ 673213 w 3768866"/>
                    <a:gd name="connsiteY209" fmla="*/ 1250843 h 3512787"/>
                    <a:gd name="connsiteX210" fmla="*/ 698260 w 3768866"/>
                    <a:gd name="connsiteY210" fmla="*/ 1291225 h 3512787"/>
                    <a:gd name="connsiteX211" fmla="*/ 740176 w 3768866"/>
                    <a:gd name="connsiteY211" fmla="*/ 1238063 h 3512787"/>
                    <a:gd name="connsiteX212" fmla="*/ 822475 w 3768866"/>
                    <a:gd name="connsiteY212" fmla="*/ 1206882 h 3512787"/>
                    <a:gd name="connsiteX213" fmla="*/ 802539 w 3768866"/>
                    <a:gd name="connsiteY213" fmla="*/ 1157809 h 3512787"/>
                    <a:gd name="connsiteX214" fmla="*/ 795894 w 3768866"/>
                    <a:gd name="connsiteY214" fmla="*/ 1092890 h 3512787"/>
                    <a:gd name="connsiteX215" fmla="*/ 875637 w 3768866"/>
                    <a:gd name="connsiteY215" fmla="*/ 1103625 h 3512787"/>
                    <a:gd name="connsiteX216" fmla="*/ 845989 w 3768866"/>
                    <a:gd name="connsiteY216" fmla="*/ 1056085 h 3512787"/>
                    <a:gd name="connsiteX217" fmla="*/ 835254 w 3768866"/>
                    <a:gd name="connsiteY217" fmla="*/ 1017747 h 3512787"/>
                    <a:gd name="connsiteX218" fmla="*/ 1126622 w 3768866"/>
                    <a:gd name="connsiteY218" fmla="*/ 776473 h 3512787"/>
                    <a:gd name="connsiteX219" fmla="*/ 1093396 w 3768866"/>
                    <a:gd name="connsiteY219" fmla="*/ 819923 h 3512787"/>
                    <a:gd name="connsiteX220" fmla="*/ 1149113 w 3768866"/>
                    <a:gd name="connsiteY220" fmla="*/ 854683 h 3512787"/>
                    <a:gd name="connsiteX221" fmla="*/ 1115376 w 3768866"/>
                    <a:gd name="connsiteY221" fmla="*/ 913979 h 3512787"/>
                    <a:gd name="connsiteX222" fmla="*/ 1018253 w 3768866"/>
                    <a:gd name="connsiteY222" fmla="*/ 932381 h 3512787"/>
                    <a:gd name="connsiteX223" fmla="*/ 905285 w 3768866"/>
                    <a:gd name="connsiteY223" fmla="*/ 904778 h 3512787"/>
                    <a:gd name="connsiteX224" fmla="*/ 847011 w 3768866"/>
                    <a:gd name="connsiteY224" fmla="*/ 946694 h 3512787"/>
                    <a:gd name="connsiteX225" fmla="*/ 864391 w 3768866"/>
                    <a:gd name="connsiteY225" fmla="*/ 992189 h 3512787"/>
                    <a:gd name="connsiteX226" fmla="*/ 848033 w 3768866"/>
                    <a:gd name="connsiteY226" fmla="*/ 994233 h 3512787"/>
                    <a:gd name="connsiteX227" fmla="*/ 836276 w 3768866"/>
                    <a:gd name="connsiteY227" fmla="*/ 995767 h 3512787"/>
                    <a:gd name="connsiteX228" fmla="*/ 808673 w 3768866"/>
                    <a:gd name="connsiteY228" fmla="*/ 993722 h 3512787"/>
                    <a:gd name="connsiteX229" fmla="*/ 775958 w 3768866"/>
                    <a:gd name="connsiteY229" fmla="*/ 993211 h 3512787"/>
                    <a:gd name="connsiteX230" fmla="*/ 711551 w 3768866"/>
                    <a:gd name="connsiteY230" fmla="*/ 953851 h 3512787"/>
                    <a:gd name="connsiteX231" fmla="*/ 666568 w 3768866"/>
                    <a:gd name="connsiteY231" fmla="*/ 966630 h 3512787"/>
                    <a:gd name="connsiteX232" fmla="*/ 645098 w 3768866"/>
                    <a:gd name="connsiteY232" fmla="*/ 959474 h 3512787"/>
                    <a:gd name="connsiteX233" fmla="*/ 616473 w 3768866"/>
                    <a:gd name="connsiteY233" fmla="*/ 1001390 h 3512787"/>
                    <a:gd name="connsiteX234" fmla="*/ 540308 w 3768866"/>
                    <a:gd name="connsiteY234" fmla="*/ 1003946 h 3512787"/>
                    <a:gd name="connsiteX235" fmla="*/ 519350 w 3768866"/>
                    <a:gd name="connsiteY235" fmla="*/ 977876 h 3512787"/>
                    <a:gd name="connsiteX236" fmla="*/ 495836 w 3768866"/>
                    <a:gd name="connsiteY236" fmla="*/ 955895 h 3512787"/>
                    <a:gd name="connsiteX237" fmla="*/ 563311 w 3768866"/>
                    <a:gd name="connsiteY237" fmla="*/ 868485 h 3512787"/>
                    <a:gd name="connsiteX238" fmla="*/ 612383 w 3768866"/>
                    <a:gd name="connsiteY238" fmla="*/ 875641 h 3512787"/>
                    <a:gd name="connsiteX239" fmla="*/ 672190 w 3768866"/>
                    <a:gd name="connsiteY239" fmla="*/ 858772 h 3512787"/>
                    <a:gd name="connsiteX240" fmla="*/ 705417 w 3768866"/>
                    <a:gd name="connsiteY240" fmla="*/ 886376 h 3512787"/>
                    <a:gd name="connsiteX241" fmla="*/ 718707 w 3768866"/>
                    <a:gd name="connsiteY241" fmla="*/ 867462 h 3512787"/>
                    <a:gd name="connsiteX242" fmla="*/ 695193 w 3768866"/>
                    <a:gd name="connsiteY242" fmla="*/ 793853 h 3512787"/>
                    <a:gd name="connsiteX243" fmla="*/ 662478 w 3768866"/>
                    <a:gd name="connsiteY243" fmla="*/ 806633 h 3512787"/>
                    <a:gd name="connsiteX244" fmla="*/ 643054 w 3768866"/>
                    <a:gd name="connsiteY244" fmla="*/ 758582 h 3512787"/>
                    <a:gd name="connsiteX245" fmla="*/ 642031 w 3768866"/>
                    <a:gd name="connsiteY245" fmla="*/ 706954 h 3512787"/>
                    <a:gd name="connsiteX246" fmla="*/ 684970 w 3768866"/>
                    <a:gd name="connsiteY246" fmla="*/ 694685 h 3512787"/>
                    <a:gd name="connsiteX247" fmla="*/ 696215 w 3768866"/>
                    <a:gd name="connsiteY247" fmla="*/ 667593 h 3512787"/>
                    <a:gd name="connsiteX248" fmla="*/ 780048 w 3768866"/>
                    <a:gd name="connsiteY248" fmla="*/ 599607 h 3512787"/>
                    <a:gd name="connsiteX249" fmla="*/ 799983 w 3768866"/>
                    <a:gd name="connsiteY249" fmla="*/ 552068 h 3512787"/>
                    <a:gd name="connsiteX250" fmla="*/ 827587 w 3768866"/>
                    <a:gd name="connsiteY250" fmla="*/ 578138 h 3512787"/>
                    <a:gd name="connsiteX251" fmla="*/ 857746 w 3768866"/>
                    <a:gd name="connsiteY251" fmla="*/ 553601 h 3512787"/>
                    <a:gd name="connsiteX252" fmla="*/ 894039 w 3768866"/>
                    <a:gd name="connsiteY252" fmla="*/ 603185 h 3512787"/>
                    <a:gd name="connsiteX253" fmla="*/ 876659 w 3768866"/>
                    <a:gd name="connsiteY253" fmla="*/ 661970 h 3512787"/>
                    <a:gd name="connsiteX254" fmla="*/ 931354 w 3768866"/>
                    <a:gd name="connsiteY254" fmla="*/ 721778 h 3512787"/>
                    <a:gd name="connsiteX255" fmla="*/ 1018253 w 3768866"/>
                    <a:gd name="connsiteY255" fmla="*/ 737113 h 3512787"/>
                    <a:gd name="connsiteX256" fmla="*/ 1066815 w 3768866"/>
                    <a:gd name="connsiteY256" fmla="*/ 737113 h 3512787"/>
                    <a:gd name="connsiteX257" fmla="*/ 1085728 w 3768866"/>
                    <a:gd name="connsiteY257" fmla="*/ 772895 h 3512787"/>
                    <a:gd name="connsiteX258" fmla="*/ 1126622 w 3768866"/>
                    <a:gd name="connsiteY258" fmla="*/ 776473 h 3512787"/>
                    <a:gd name="connsiteX259" fmla="*/ 1122021 w 3768866"/>
                    <a:gd name="connsiteY259" fmla="*/ 477437 h 3512787"/>
                    <a:gd name="connsiteX260" fmla="*/ 1098507 w 3768866"/>
                    <a:gd name="connsiteY260" fmla="*/ 565870 h 3512787"/>
                    <a:gd name="connsiteX261" fmla="*/ 1190007 w 3768866"/>
                    <a:gd name="connsiteY261" fmla="*/ 594495 h 3512787"/>
                    <a:gd name="connsiteX262" fmla="*/ 1205853 w 3768866"/>
                    <a:gd name="connsiteY262" fmla="*/ 578649 h 3512787"/>
                    <a:gd name="connsiteX263" fmla="*/ 1242147 w 3768866"/>
                    <a:gd name="connsiteY263" fmla="*/ 633345 h 3512787"/>
                    <a:gd name="connsiteX264" fmla="*/ 1211476 w 3768866"/>
                    <a:gd name="connsiteY264" fmla="*/ 672194 h 3512787"/>
                    <a:gd name="connsiteX265" fmla="*/ 1234990 w 3768866"/>
                    <a:gd name="connsiteY265" fmla="*/ 704398 h 3512787"/>
                    <a:gd name="connsiteX266" fmla="*/ 1154225 w 3768866"/>
                    <a:gd name="connsiteY266" fmla="*/ 780563 h 3512787"/>
                    <a:gd name="connsiteX267" fmla="*/ 1126622 w 3768866"/>
                    <a:gd name="connsiteY267" fmla="*/ 776473 h 3512787"/>
                    <a:gd name="connsiteX268" fmla="*/ 1086239 w 3768866"/>
                    <a:gd name="connsiteY268" fmla="*/ 773917 h 3512787"/>
                    <a:gd name="connsiteX269" fmla="*/ 1067326 w 3768866"/>
                    <a:gd name="connsiteY269" fmla="*/ 738135 h 3512787"/>
                    <a:gd name="connsiteX270" fmla="*/ 1018765 w 3768866"/>
                    <a:gd name="connsiteY270" fmla="*/ 738135 h 3512787"/>
                    <a:gd name="connsiteX271" fmla="*/ 931865 w 3768866"/>
                    <a:gd name="connsiteY271" fmla="*/ 722800 h 3512787"/>
                    <a:gd name="connsiteX272" fmla="*/ 877170 w 3768866"/>
                    <a:gd name="connsiteY272" fmla="*/ 662993 h 3512787"/>
                    <a:gd name="connsiteX273" fmla="*/ 894550 w 3768866"/>
                    <a:gd name="connsiteY273" fmla="*/ 604208 h 3512787"/>
                    <a:gd name="connsiteX274" fmla="*/ 858257 w 3768866"/>
                    <a:gd name="connsiteY274" fmla="*/ 554624 h 3512787"/>
                    <a:gd name="connsiteX275" fmla="*/ 828098 w 3768866"/>
                    <a:gd name="connsiteY275" fmla="*/ 579160 h 3512787"/>
                    <a:gd name="connsiteX276" fmla="*/ 800494 w 3768866"/>
                    <a:gd name="connsiteY276" fmla="*/ 553090 h 3512787"/>
                    <a:gd name="connsiteX277" fmla="*/ 770846 w 3768866"/>
                    <a:gd name="connsiteY277" fmla="*/ 520375 h 3512787"/>
                    <a:gd name="connsiteX278" fmla="*/ 770335 w 3768866"/>
                    <a:gd name="connsiteY278" fmla="*/ 507085 h 3512787"/>
                    <a:gd name="connsiteX279" fmla="*/ 841388 w 3768866"/>
                    <a:gd name="connsiteY279" fmla="*/ 488682 h 3512787"/>
                    <a:gd name="connsiteX280" fmla="*/ 841388 w 3768866"/>
                    <a:gd name="connsiteY280" fmla="*/ 471302 h 3512787"/>
                    <a:gd name="connsiteX281" fmla="*/ 837810 w 3768866"/>
                    <a:gd name="connsiteY281" fmla="*/ 452900 h 3512787"/>
                    <a:gd name="connsiteX282" fmla="*/ 806117 w 3768866"/>
                    <a:gd name="connsiteY282" fmla="*/ 400760 h 3512787"/>
                    <a:gd name="connsiteX283" fmla="*/ 793338 w 3768866"/>
                    <a:gd name="connsiteY283" fmla="*/ 401272 h 3512787"/>
                    <a:gd name="connsiteX284" fmla="*/ 775447 w 3768866"/>
                    <a:gd name="connsiteY284" fmla="*/ 386959 h 3512787"/>
                    <a:gd name="connsiteX285" fmla="*/ 858768 w 3768866"/>
                    <a:gd name="connsiteY285" fmla="*/ 371623 h 3512787"/>
                    <a:gd name="connsiteX286" fmla="*/ 889438 w 3768866"/>
                    <a:gd name="connsiteY286" fmla="*/ 354755 h 3512787"/>
                    <a:gd name="connsiteX287" fmla="*/ 915508 w 3768866"/>
                    <a:gd name="connsiteY287" fmla="*/ 388492 h 3512787"/>
                    <a:gd name="connsiteX288" fmla="*/ 890972 w 3768866"/>
                    <a:gd name="connsiteY288" fmla="*/ 415073 h 3512787"/>
                    <a:gd name="connsiteX289" fmla="*/ 889949 w 3768866"/>
                    <a:gd name="connsiteY289" fmla="*/ 429386 h 3512787"/>
                    <a:gd name="connsiteX290" fmla="*/ 913974 w 3768866"/>
                    <a:gd name="connsiteY290" fmla="*/ 457501 h 3512787"/>
                    <a:gd name="connsiteX291" fmla="*/ 979916 w 3768866"/>
                    <a:gd name="connsiteY291" fmla="*/ 480503 h 3512787"/>
                    <a:gd name="connsiteX292" fmla="*/ 1030010 w 3768866"/>
                    <a:gd name="connsiteY292" fmla="*/ 484593 h 3512787"/>
                    <a:gd name="connsiteX293" fmla="*/ 1062214 w 3768866"/>
                    <a:gd name="connsiteY293" fmla="*/ 456990 h 3512787"/>
                    <a:gd name="connsiteX294" fmla="*/ 1122021 w 3768866"/>
                    <a:gd name="connsiteY294" fmla="*/ 477437 h 3512787"/>
                    <a:gd name="connsiteX295" fmla="*/ 1232434 w 3768866"/>
                    <a:gd name="connsiteY295" fmla="*/ 376224 h 3512787"/>
                    <a:gd name="connsiteX296" fmla="*/ 1222211 w 3768866"/>
                    <a:gd name="connsiteY296" fmla="*/ 473858 h 3512787"/>
                    <a:gd name="connsiteX297" fmla="*/ 1122021 w 3768866"/>
                    <a:gd name="connsiteY297" fmla="*/ 477948 h 3512787"/>
                    <a:gd name="connsiteX298" fmla="*/ 1062214 w 3768866"/>
                    <a:gd name="connsiteY298" fmla="*/ 457501 h 3512787"/>
                    <a:gd name="connsiteX299" fmla="*/ 1030010 w 3768866"/>
                    <a:gd name="connsiteY299" fmla="*/ 485104 h 3512787"/>
                    <a:gd name="connsiteX300" fmla="*/ 979916 w 3768866"/>
                    <a:gd name="connsiteY300" fmla="*/ 481015 h 3512787"/>
                    <a:gd name="connsiteX301" fmla="*/ 913974 w 3768866"/>
                    <a:gd name="connsiteY301" fmla="*/ 458012 h 3512787"/>
                    <a:gd name="connsiteX302" fmla="*/ 889949 w 3768866"/>
                    <a:gd name="connsiteY302" fmla="*/ 429897 h 3512787"/>
                    <a:gd name="connsiteX303" fmla="*/ 890972 w 3768866"/>
                    <a:gd name="connsiteY303" fmla="*/ 415584 h 3512787"/>
                    <a:gd name="connsiteX304" fmla="*/ 914997 w 3768866"/>
                    <a:gd name="connsiteY304" fmla="*/ 389003 h 3512787"/>
                    <a:gd name="connsiteX305" fmla="*/ 888927 w 3768866"/>
                    <a:gd name="connsiteY305" fmla="*/ 355266 h 3512787"/>
                    <a:gd name="connsiteX306" fmla="*/ 922664 w 3768866"/>
                    <a:gd name="connsiteY306" fmla="*/ 319484 h 3512787"/>
                    <a:gd name="connsiteX307" fmla="*/ 941578 w 3768866"/>
                    <a:gd name="connsiteY307" fmla="*/ 308238 h 3512787"/>
                    <a:gd name="connsiteX308" fmla="*/ 963558 w 3768866"/>
                    <a:gd name="connsiteY308" fmla="*/ 319995 h 3512787"/>
                    <a:gd name="connsiteX309" fmla="*/ 993717 w 3768866"/>
                    <a:gd name="connsiteY309" fmla="*/ 298014 h 3512787"/>
                    <a:gd name="connsiteX310" fmla="*/ 995762 w 3768866"/>
                    <a:gd name="connsiteY310" fmla="*/ 280123 h 3512787"/>
                    <a:gd name="connsiteX311" fmla="*/ 972248 w 3768866"/>
                    <a:gd name="connsiteY311" fmla="*/ 248431 h 3512787"/>
                    <a:gd name="connsiteX312" fmla="*/ 953846 w 3768866"/>
                    <a:gd name="connsiteY312" fmla="*/ 213160 h 3512787"/>
                    <a:gd name="connsiteX313" fmla="*/ 967136 w 3768866"/>
                    <a:gd name="connsiteY313" fmla="*/ 214182 h 3512787"/>
                    <a:gd name="connsiteX314" fmla="*/ 1001385 w 3768866"/>
                    <a:gd name="connsiteY314" fmla="*/ 158464 h 3512787"/>
                    <a:gd name="connsiteX315" fmla="*/ 1032566 w 3768866"/>
                    <a:gd name="connsiteY315" fmla="*/ 156930 h 3512787"/>
                    <a:gd name="connsiteX316" fmla="*/ 1075505 w 3768866"/>
                    <a:gd name="connsiteY316" fmla="*/ 206003 h 3512787"/>
                    <a:gd name="connsiteX317" fmla="*/ 1101063 w 3768866"/>
                    <a:gd name="connsiteY317" fmla="*/ 198847 h 3512787"/>
                    <a:gd name="connsiteX318" fmla="*/ 1134289 w 3768866"/>
                    <a:gd name="connsiteY318" fmla="*/ 226450 h 3512787"/>
                    <a:gd name="connsiteX319" fmla="*/ 1198697 w 3768866"/>
                    <a:gd name="connsiteY319" fmla="*/ 301081 h 3512787"/>
                    <a:gd name="connsiteX320" fmla="*/ 1205342 w 3768866"/>
                    <a:gd name="connsiteY320" fmla="*/ 319995 h 3512787"/>
                    <a:gd name="connsiteX321" fmla="*/ 1203298 w 3768866"/>
                    <a:gd name="connsiteY321" fmla="*/ 339419 h 3512787"/>
                    <a:gd name="connsiteX322" fmla="*/ 1232434 w 3768866"/>
                    <a:gd name="connsiteY322" fmla="*/ 376224 h 3512787"/>
                    <a:gd name="connsiteX323" fmla="*/ 2530299 w 3768866"/>
                    <a:gd name="connsiteY323" fmla="*/ 2725069 h 3512787"/>
                    <a:gd name="connsiteX324" fmla="*/ 2443399 w 3768866"/>
                    <a:gd name="connsiteY324" fmla="*/ 2751649 h 3512787"/>
                    <a:gd name="connsiteX325" fmla="*/ 2464868 w 3768866"/>
                    <a:gd name="connsiteY325" fmla="*/ 2798677 h 3512787"/>
                    <a:gd name="connsiteX326" fmla="*/ 2350877 w 3768866"/>
                    <a:gd name="connsiteY326" fmla="*/ 2928004 h 3512787"/>
                    <a:gd name="connsiteX327" fmla="*/ 2403017 w 3768866"/>
                    <a:gd name="connsiteY327" fmla="*/ 3067555 h 3512787"/>
                    <a:gd name="connsiteX328" fmla="*/ 2384615 w 3768866"/>
                    <a:gd name="connsiteY328" fmla="*/ 3124806 h 3512787"/>
                    <a:gd name="connsiteX329" fmla="*/ 2428575 w 3768866"/>
                    <a:gd name="connsiteY329" fmla="*/ 3307296 h 3512787"/>
                    <a:gd name="connsiteX330" fmla="*/ 2417330 w 3768866"/>
                    <a:gd name="connsiteY330" fmla="*/ 3322631 h 3512787"/>
                    <a:gd name="connsiteX331" fmla="*/ 2241487 w 3768866"/>
                    <a:gd name="connsiteY331" fmla="*/ 3346656 h 3512787"/>
                    <a:gd name="connsiteX332" fmla="*/ 2211839 w 3768866"/>
                    <a:gd name="connsiteY332" fmla="*/ 3380905 h 3512787"/>
                    <a:gd name="connsiteX333" fmla="*/ 2062065 w 3768866"/>
                    <a:gd name="connsiteY333" fmla="*/ 3321097 h 3512787"/>
                    <a:gd name="connsiteX334" fmla="*/ 1981300 w 3768866"/>
                    <a:gd name="connsiteY334" fmla="*/ 3309340 h 3512787"/>
                    <a:gd name="connsiteX335" fmla="*/ 1933250 w 3768866"/>
                    <a:gd name="connsiteY335" fmla="*/ 3333877 h 3512787"/>
                    <a:gd name="connsiteX336" fmla="*/ 1878044 w 3768866"/>
                    <a:gd name="connsiteY336" fmla="*/ 3313941 h 3512787"/>
                    <a:gd name="connsiteX337" fmla="*/ 1858108 w 3768866"/>
                    <a:gd name="connsiteY337" fmla="*/ 3261290 h 3512787"/>
                    <a:gd name="connsiteX338" fmla="*/ 1824882 w 3768866"/>
                    <a:gd name="connsiteY338" fmla="*/ 3252600 h 3512787"/>
                    <a:gd name="connsiteX339" fmla="*/ 1756385 w 3768866"/>
                    <a:gd name="connsiteY339" fmla="*/ 3262312 h 3512787"/>
                    <a:gd name="connsiteX340" fmla="*/ 1734916 w 3768866"/>
                    <a:gd name="connsiteY340" fmla="*/ 3301161 h 3512787"/>
                    <a:gd name="connsiteX341" fmla="*/ 1756385 w 3768866"/>
                    <a:gd name="connsiteY341" fmla="*/ 3333366 h 3512787"/>
                    <a:gd name="connsiteX342" fmla="*/ 1800346 w 3768866"/>
                    <a:gd name="connsiteY342" fmla="*/ 3313941 h 3512787"/>
                    <a:gd name="connsiteX343" fmla="*/ 1824882 w 3768866"/>
                    <a:gd name="connsiteY343" fmla="*/ 3311896 h 3512787"/>
                    <a:gd name="connsiteX344" fmla="*/ 1837150 w 3768866"/>
                    <a:gd name="connsiteY344" fmla="*/ 3356368 h 3512787"/>
                    <a:gd name="connsiteX345" fmla="*/ 1822837 w 3768866"/>
                    <a:gd name="connsiteY345" fmla="*/ 3371704 h 3512787"/>
                    <a:gd name="connsiteX346" fmla="*/ 1728270 w 3768866"/>
                    <a:gd name="connsiteY346" fmla="*/ 3395218 h 3512787"/>
                    <a:gd name="connsiteX347" fmla="*/ 1633704 w 3768866"/>
                    <a:gd name="connsiteY347" fmla="*/ 3378349 h 3512787"/>
                    <a:gd name="connsiteX348" fmla="*/ 1490065 w 3768866"/>
                    <a:gd name="connsiteY348" fmla="*/ 3396240 h 3512787"/>
                    <a:gd name="connsiteX349" fmla="*/ 1450193 w 3768866"/>
                    <a:gd name="connsiteY349" fmla="*/ 3390617 h 3512787"/>
                    <a:gd name="connsiteX350" fmla="*/ 1429235 w 3768866"/>
                    <a:gd name="connsiteY350" fmla="*/ 3358413 h 3512787"/>
                    <a:gd name="connsiteX351" fmla="*/ 1432302 w 3768866"/>
                    <a:gd name="connsiteY351" fmla="*/ 3217329 h 3512787"/>
                    <a:gd name="connsiteX352" fmla="*/ 1448149 w 3768866"/>
                    <a:gd name="connsiteY352" fmla="*/ 3205572 h 3512787"/>
                    <a:gd name="connsiteX353" fmla="*/ 1454794 w 3768866"/>
                    <a:gd name="connsiteY353" fmla="*/ 3168768 h 3512787"/>
                    <a:gd name="connsiteX354" fmla="*/ 1443548 w 3768866"/>
                    <a:gd name="connsiteY354" fmla="*/ 3100270 h 3512787"/>
                    <a:gd name="connsiteX355" fmla="*/ 1578497 w 3768866"/>
                    <a:gd name="connsiteY355" fmla="*/ 2726602 h 3512787"/>
                    <a:gd name="connsiteX356" fmla="*/ 1616324 w 3768866"/>
                    <a:gd name="connsiteY356" fmla="*/ 2698999 h 3512787"/>
                    <a:gd name="connsiteX357" fmla="*/ 1626547 w 3768866"/>
                    <a:gd name="connsiteY357" fmla="*/ 2660149 h 3512787"/>
                    <a:gd name="connsiteX358" fmla="*/ 1681243 w 3768866"/>
                    <a:gd name="connsiteY358" fmla="*/ 2580406 h 3512787"/>
                    <a:gd name="connsiteX359" fmla="*/ 1728270 w 3768866"/>
                    <a:gd name="connsiteY359" fmla="*/ 2434210 h 3512787"/>
                    <a:gd name="connsiteX360" fmla="*/ 1752296 w 3768866"/>
                    <a:gd name="connsiteY360" fmla="*/ 2406096 h 3512787"/>
                    <a:gd name="connsiteX361" fmla="*/ 1745139 w 3768866"/>
                    <a:gd name="connsiteY361" fmla="*/ 2387694 h 3512787"/>
                    <a:gd name="connsiteX362" fmla="*/ 1758430 w 3768866"/>
                    <a:gd name="connsiteY362" fmla="*/ 2334021 h 3512787"/>
                    <a:gd name="connsiteX363" fmla="*/ 1733382 w 3768866"/>
                    <a:gd name="connsiteY363" fmla="*/ 2280858 h 3512787"/>
                    <a:gd name="connsiteX364" fmla="*/ 1726737 w 3768866"/>
                    <a:gd name="connsiteY364" fmla="*/ 2225140 h 3512787"/>
                    <a:gd name="connsiteX365" fmla="*/ 1845840 w 3768866"/>
                    <a:gd name="connsiteY365" fmla="*/ 2202137 h 3512787"/>
                    <a:gd name="connsiteX366" fmla="*/ 1858108 w 3768866"/>
                    <a:gd name="connsiteY366" fmla="*/ 2264501 h 3512787"/>
                    <a:gd name="connsiteX367" fmla="*/ 1963409 w 3768866"/>
                    <a:gd name="connsiteY367" fmla="*/ 2262967 h 3512787"/>
                    <a:gd name="connsiteX368" fmla="*/ 1985901 w 3768866"/>
                    <a:gd name="connsiteY368" fmla="*/ 2228207 h 3512787"/>
                    <a:gd name="connsiteX369" fmla="*/ 2016060 w 3768866"/>
                    <a:gd name="connsiteY369" fmla="*/ 2228719 h 3512787"/>
                    <a:gd name="connsiteX370" fmla="*/ 2096825 w 3768866"/>
                    <a:gd name="connsiteY370" fmla="*/ 2170445 h 3512787"/>
                    <a:gd name="connsiteX371" fmla="*/ 2067177 w 3768866"/>
                    <a:gd name="connsiteY371" fmla="*/ 2117283 h 3512787"/>
                    <a:gd name="connsiteX372" fmla="*/ 2176568 w 3768866"/>
                    <a:gd name="connsiteY372" fmla="*/ 2095813 h 3512787"/>
                    <a:gd name="connsiteX373" fmla="*/ 2282380 w 3768866"/>
                    <a:gd name="connsiteY373" fmla="*/ 2220028 h 3512787"/>
                    <a:gd name="connsiteX374" fmla="*/ 2283914 w 3768866"/>
                    <a:gd name="connsiteY374" fmla="*/ 2258367 h 3512787"/>
                    <a:gd name="connsiteX375" fmla="*/ 2312028 w 3768866"/>
                    <a:gd name="connsiteY375" fmla="*/ 2266546 h 3512787"/>
                    <a:gd name="connsiteX376" fmla="*/ 2343721 w 3768866"/>
                    <a:gd name="connsiteY376" fmla="*/ 2236897 h 3512787"/>
                    <a:gd name="connsiteX377" fmla="*/ 2366724 w 3768866"/>
                    <a:gd name="connsiteY377" fmla="*/ 2272168 h 3512787"/>
                    <a:gd name="connsiteX378" fmla="*/ 2435221 w 3768866"/>
                    <a:gd name="connsiteY378" fmla="*/ 2523155 h 3512787"/>
                    <a:gd name="connsiteX379" fmla="*/ 2497072 w 3768866"/>
                    <a:gd name="connsiteY379" fmla="*/ 2575294 h 3512787"/>
                    <a:gd name="connsiteX380" fmla="*/ 2530299 w 3768866"/>
                    <a:gd name="connsiteY380" fmla="*/ 2725069 h 3512787"/>
                    <a:gd name="connsiteX381" fmla="*/ 2436243 w 3768866"/>
                    <a:gd name="connsiteY381" fmla="*/ 2524688 h 3512787"/>
                    <a:gd name="connsiteX382" fmla="*/ 2367746 w 3768866"/>
                    <a:gd name="connsiteY382" fmla="*/ 2273702 h 3512787"/>
                    <a:gd name="connsiteX383" fmla="*/ 2344743 w 3768866"/>
                    <a:gd name="connsiteY383" fmla="*/ 2238431 h 3512787"/>
                    <a:gd name="connsiteX384" fmla="*/ 2313051 w 3768866"/>
                    <a:gd name="connsiteY384" fmla="*/ 2268079 h 3512787"/>
                    <a:gd name="connsiteX385" fmla="*/ 2284936 w 3768866"/>
                    <a:gd name="connsiteY385" fmla="*/ 2259900 h 3512787"/>
                    <a:gd name="connsiteX386" fmla="*/ 2283403 w 3768866"/>
                    <a:gd name="connsiteY386" fmla="*/ 2221562 h 3512787"/>
                    <a:gd name="connsiteX387" fmla="*/ 2177590 w 3768866"/>
                    <a:gd name="connsiteY387" fmla="*/ 2097347 h 3512787"/>
                    <a:gd name="connsiteX388" fmla="*/ 2068199 w 3768866"/>
                    <a:gd name="connsiteY388" fmla="*/ 2118816 h 3512787"/>
                    <a:gd name="connsiteX389" fmla="*/ 2097847 w 3768866"/>
                    <a:gd name="connsiteY389" fmla="*/ 2171978 h 3512787"/>
                    <a:gd name="connsiteX390" fmla="*/ 2017082 w 3768866"/>
                    <a:gd name="connsiteY390" fmla="*/ 2230252 h 3512787"/>
                    <a:gd name="connsiteX391" fmla="*/ 1986923 w 3768866"/>
                    <a:gd name="connsiteY391" fmla="*/ 2229741 h 3512787"/>
                    <a:gd name="connsiteX392" fmla="*/ 1993057 w 3768866"/>
                    <a:gd name="connsiteY392" fmla="*/ 2145397 h 3512787"/>
                    <a:gd name="connsiteX393" fmla="*/ 1931717 w 3768866"/>
                    <a:gd name="connsiteY393" fmla="*/ 1933260 h 3512787"/>
                    <a:gd name="connsiteX394" fmla="*/ 2075356 w 3768866"/>
                    <a:gd name="connsiteY394" fmla="*/ 1906168 h 3512787"/>
                    <a:gd name="connsiteX395" fmla="*/ 2089157 w 3768866"/>
                    <a:gd name="connsiteY395" fmla="*/ 1926103 h 3512787"/>
                    <a:gd name="connsiteX396" fmla="*/ 2128007 w 3768866"/>
                    <a:gd name="connsiteY396" fmla="*/ 1918947 h 3512787"/>
                    <a:gd name="connsiteX397" fmla="*/ 2123406 w 3768866"/>
                    <a:gd name="connsiteY397" fmla="*/ 1849939 h 3512787"/>
                    <a:gd name="connsiteX398" fmla="*/ 2175545 w 3768866"/>
                    <a:gd name="connsiteY398" fmla="*/ 1848405 h 3512787"/>
                    <a:gd name="connsiteX399" fmla="*/ 2174012 w 3768866"/>
                    <a:gd name="connsiteY399" fmla="*/ 1759461 h 3512787"/>
                    <a:gd name="connsiteX400" fmla="*/ 2211327 w 3768866"/>
                    <a:gd name="connsiteY400" fmla="*/ 1733902 h 3512787"/>
                    <a:gd name="connsiteX401" fmla="*/ 2254777 w 3768866"/>
                    <a:gd name="connsiteY401" fmla="*/ 1749237 h 3512787"/>
                    <a:gd name="connsiteX402" fmla="*/ 2338098 w 3768866"/>
                    <a:gd name="connsiteY402" fmla="*/ 1651092 h 3512787"/>
                    <a:gd name="connsiteX403" fmla="*/ 2500139 w 3768866"/>
                    <a:gd name="connsiteY403" fmla="*/ 1756905 h 3512787"/>
                    <a:gd name="connsiteX404" fmla="*/ 2523653 w 3768866"/>
                    <a:gd name="connsiteY404" fmla="*/ 1815690 h 3512787"/>
                    <a:gd name="connsiteX405" fmla="*/ 2565058 w 3768866"/>
                    <a:gd name="connsiteY405" fmla="*/ 1840738 h 3512787"/>
                    <a:gd name="connsiteX406" fmla="*/ 2609019 w 3768866"/>
                    <a:gd name="connsiteY406" fmla="*/ 1802400 h 3512787"/>
                    <a:gd name="connsiteX407" fmla="*/ 2563525 w 3768866"/>
                    <a:gd name="connsiteY407" fmla="*/ 1772751 h 3512787"/>
                    <a:gd name="connsiteX408" fmla="*/ 2561991 w 3768866"/>
                    <a:gd name="connsiteY408" fmla="*/ 1756394 h 3512787"/>
                    <a:gd name="connsiteX409" fmla="*/ 2694384 w 3768866"/>
                    <a:gd name="connsiteY409" fmla="*/ 1738503 h 3512787"/>
                    <a:gd name="connsiteX410" fmla="*/ 2722499 w 3768866"/>
                    <a:gd name="connsiteY410" fmla="*/ 1794221 h 3512787"/>
                    <a:gd name="connsiteX411" fmla="*/ 2760837 w 3768866"/>
                    <a:gd name="connsiteY411" fmla="*/ 1787064 h 3512787"/>
                    <a:gd name="connsiteX412" fmla="*/ 2762370 w 3768866"/>
                    <a:gd name="connsiteY412" fmla="*/ 1743103 h 3512787"/>
                    <a:gd name="connsiteX413" fmla="*/ 2741923 w 3768866"/>
                    <a:gd name="connsiteY413" fmla="*/ 1694542 h 3512787"/>
                    <a:gd name="connsiteX414" fmla="*/ 2793552 w 3768866"/>
                    <a:gd name="connsiteY414" fmla="*/ 1640357 h 3512787"/>
                    <a:gd name="connsiteX415" fmla="*/ 2840580 w 3768866"/>
                    <a:gd name="connsiteY415" fmla="*/ 1728790 h 3512787"/>
                    <a:gd name="connsiteX416" fmla="*/ 2986263 w 3768866"/>
                    <a:gd name="connsiteY416" fmla="*/ 1684829 h 3512787"/>
                    <a:gd name="connsiteX417" fmla="*/ 3073163 w 3768866"/>
                    <a:gd name="connsiteY417" fmla="*/ 1740547 h 3512787"/>
                    <a:gd name="connsiteX418" fmla="*/ 3105877 w 3768866"/>
                    <a:gd name="connsiteY418" fmla="*/ 1868852 h 3512787"/>
                    <a:gd name="connsiteX419" fmla="*/ 3233159 w 3768866"/>
                    <a:gd name="connsiteY419" fmla="*/ 1970576 h 3512787"/>
                    <a:gd name="connsiteX420" fmla="*/ 3214246 w 3768866"/>
                    <a:gd name="connsiteY420" fmla="*/ 2051341 h 3512787"/>
                    <a:gd name="connsiteX421" fmla="*/ 3190221 w 3768866"/>
                    <a:gd name="connsiteY421" fmla="*/ 2059009 h 3512787"/>
                    <a:gd name="connsiteX422" fmla="*/ 3351240 w 3768866"/>
                    <a:gd name="connsiteY422" fmla="*/ 2287504 h 3512787"/>
                    <a:gd name="connsiteX423" fmla="*/ 3394178 w 3768866"/>
                    <a:gd name="connsiteY423" fmla="*/ 2281881 h 3512787"/>
                    <a:gd name="connsiteX424" fmla="*/ 3585867 w 3768866"/>
                    <a:gd name="connsiteY424" fmla="*/ 2434210 h 3512787"/>
                    <a:gd name="connsiteX425" fmla="*/ 3588934 w 3768866"/>
                    <a:gd name="connsiteY425" fmla="*/ 2475104 h 3512787"/>
                    <a:gd name="connsiteX426" fmla="*/ 3628806 w 3768866"/>
                    <a:gd name="connsiteY426" fmla="*/ 2497085 h 3512787"/>
                    <a:gd name="connsiteX427" fmla="*/ 3655387 w 3768866"/>
                    <a:gd name="connsiteY427" fmla="*/ 2482772 h 3512787"/>
                    <a:gd name="connsiteX428" fmla="*/ 3768867 w 3768866"/>
                    <a:gd name="connsiteY428" fmla="*/ 2587563 h 3512787"/>
                    <a:gd name="connsiteX429" fmla="*/ 3762222 w 3768866"/>
                    <a:gd name="connsiteY429" fmla="*/ 2691842 h 3512787"/>
                    <a:gd name="connsiteX430" fmla="*/ 3720305 w 3768866"/>
                    <a:gd name="connsiteY430" fmla="*/ 2737848 h 3512787"/>
                    <a:gd name="connsiteX431" fmla="*/ 3646697 w 3768866"/>
                    <a:gd name="connsiteY431" fmla="*/ 2708711 h 3512787"/>
                    <a:gd name="connsiteX432" fmla="*/ 3625228 w 3768866"/>
                    <a:gd name="connsiteY432" fmla="*/ 2832415 h 3512787"/>
                    <a:gd name="connsiteX433" fmla="*/ 3413603 w 3768866"/>
                    <a:gd name="connsiteY433" fmla="*/ 2979122 h 3512787"/>
                    <a:gd name="connsiteX434" fmla="*/ 3408491 w 3768866"/>
                    <a:gd name="connsiteY434" fmla="*/ 3006214 h 3512787"/>
                    <a:gd name="connsiteX435" fmla="*/ 3503569 w 3768866"/>
                    <a:gd name="connsiteY435" fmla="*/ 3118673 h 3512787"/>
                    <a:gd name="connsiteX436" fmla="*/ 3465231 w 3768866"/>
                    <a:gd name="connsiteY436" fmla="*/ 3208639 h 3512787"/>
                    <a:gd name="connsiteX437" fmla="*/ 3513792 w 3768866"/>
                    <a:gd name="connsiteY437" fmla="*/ 3205572 h 3512787"/>
                    <a:gd name="connsiteX438" fmla="*/ 3539351 w 3768866"/>
                    <a:gd name="connsiteY438" fmla="*/ 3280714 h 3512787"/>
                    <a:gd name="connsiteX439" fmla="*/ 3506636 w 3768866"/>
                    <a:gd name="connsiteY439" fmla="*/ 3359435 h 3512787"/>
                    <a:gd name="connsiteX440" fmla="*/ 3421270 w 3768866"/>
                    <a:gd name="connsiteY440" fmla="*/ 3281737 h 3512787"/>
                    <a:gd name="connsiteX441" fmla="*/ 3430471 w 3768866"/>
                    <a:gd name="connsiteY441" fmla="*/ 3263846 h 3512787"/>
                    <a:gd name="connsiteX442" fmla="*/ 3393156 w 3768866"/>
                    <a:gd name="connsiteY442" fmla="*/ 3241354 h 3512787"/>
                    <a:gd name="connsiteX443" fmla="*/ 3337438 w 3768866"/>
                    <a:gd name="connsiteY443" fmla="*/ 3272025 h 3512787"/>
                    <a:gd name="connsiteX444" fmla="*/ 3307279 w 3768866"/>
                    <a:gd name="connsiteY444" fmla="*/ 3276625 h 3512787"/>
                    <a:gd name="connsiteX445" fmla="*/ 3286321 w 3768866"/>
                    <a:gd name="connsiteY445" fmla="*/ 3248511 h 3512787"/>
                    <a:gd name="connsiteX446" fmla="*/ 3185109 w 3768866"/>
                    <a:gd name="connsiteY446" fmla="*/ 3244932 h 3512787"/>
                    <a:gd name="connsiteX447" fmla="*/ 3198911 w 3768866"/>
                    <a:gd name="connsiteY447" fmla="*/ 3299117 h 3512787"/>
                    <a:gd name="connsiteX448" fmla="*/ 3160062 w 3768866"/>
                    <a:gd name="connsiteY448" fmla="*/ 3306273 h 3512787"/>
                    <a:gd name="connsiteX449" fmla="*/ 2984730 w 3768866"/>
                    <a:gd name="connsiteY449" fmla="*/ 3325698 h 3512787"/>
                    <a:gd name="connsiteX450" fmla="*/ 2958660 w 3768866"/>
                    <a:gd name="connsiteY450" fmla="*/ 3374771 h 3512787"/>
                    <a:gd name="connsiteX451" fmla="*/ 2743968 w 3768866"/>
                    <a:gd name="connsiteY451" fmla="*/ 3442757 h 3512787"/>
                    <a:gd name="connsiteX452" fmla="*/ 2685694 w 3768866"/>
                    <a:gd name="connsiteY452" fmla="*/ 3381927 h 3512787"/>
                    <a:gd name="connsiteX453" fmla="*/ 2534899 w 3768866"/>
                    <a:gd name="connsiteY453" fmla="*/ 3351768 h 3512787"/>
                    <a:gd name="connsiteX454" fmla="*/ 2548701 w 3768866"/>
                    <a:gd name="connsiteY454" fmla="*/ 3416176 h 3512787"/>
                    <a:gd name="connsiteX455" fmla="*/ 2494517 w 3768866"/>
                    <a:gd name="connsiteY455" fmla="*/ 3512788 h 3512787"/>
                    <a:gd name="connsiteX456" fmla="*/ 2438288 w 3768866"/>
                    <a:gd name="connsiteY456" fmla="*/ 3500008 h 3512787"/>
                    <a:gd name="connsiteX457" fmla="*/ 2314073 w 3768866"/>
                    <a:gd name="connsiteY457" fmla="*/ 3382949 h 3512787"/>
                    <a:gd name="connsiteX458" fmla="*/ 2212350 w 3768866"/>
                    <a:gd name="connsiteY458" fmla="*/ 3382438 h 3512787"/>
                    <a:gd name="connsiteX459" fmla="*/ 2241998 w 3768866"/>
                    <a:gd name="connsiteY459" fmla="*/ 3348189 h 3512787"/>
                    <a:gd name="connsiteX460" fmla="*/ 2417841 w 3768866"/>
                    <a:gd name="connsiteY460" fmla="*/ 3324164 h 3512787"/>
                    <a:gd name="connsiteX461" fmla="*/ 2429086 w 3768866"/>
                    <a:gd name="connsiteY461" fmla="*/ 3308829 h 3512787"/>
                    <a:gd name="connsiteX462" fmla="*/ 2385126 w 3768866"/>
                    <a:gd name="connsiteY462" fmla="*/ 3126340 h 3512787"/>
                    <a:gd name="connsiteX463" fmla="*/ 2403528 w 3768866"/>
                    <a:gd name="connsiteY463" fmla="*/ 3069089 h 3512787"/>
                    <a:gd name="connsiteX464" fmla="*/ 2351389 w 3768866"/>
                    <a:gd name="connsiteY464" fmla="*/ 2929538 h 3512787"/>
                    <a:gd name="connsiteX465" fmla="*/ 2465380 w 3768866"/>
                    <a:gd name="connsiteY465" fmla="*/ 2800211 h 3512787"/>
                    <a:gd name="connsiteX466" fmla="*/ 2443910 w 3768866"/>
                    <a:gd name="connsiteY466" fmla="*/ 2753183 h 3512787"/>
                    <a:gd name="connsiteX467" fmla="*/ 2530810 w 3768866"/>
                    <a:gd name="connsiteY467" fmla="*/ 2726602 h 3512787"/>
                    <a:gd name="connsiteX468" fmla="*/ 2498606 w 3768866"/>
                    <a:gd name="connsiteY468" fmla="*/ 2577850 h 3512787"/>
                    <a:gd name="connsiteX469" fmla="*/ 2436243 w 3768866"/>
                    <a:gd name="connsiteY469" fmla="*/ 2524688 h 3512787"/>
                    <a:gd name="connsiteX470" fmla="*/ 3499991 w 3768866"/>
                    <a:gd name="connsiteY470" fmla="*/ 459545 h 3512787"/>
                    <a:gd name="connsiteX471" fmla="*/ 3504591 w 3768866"/>
                    <a:gd name="connsiteY471" fmla="*/ 436543 h 3512787"/>
                    <a:gd name="connsiteX472" fmla="*/ 3464720 w 3768866"/>
                    <a:gd name="connsiteY472" fmla="*/ 376735 h 3512787"/>
                    <a:gd name="connsiteX473" fmla="*/ 3450407 w 3768866"/>
                    <a:gd name="connsiteY473" fmla="*/ 358844 h 3512787"/>
                    <a:gd name="connsiteX474" fmla="*/ 3431494 w 3768866"/>
                    <a:gd name="connsiteY474" fmla="*/ 361911 h 3512787"/>
                    <a:gd name="connsiteX475" fmla="*/ 3409513 w 3768866"/>
                    <a:gd name="connsiteY475" fmla="*/ 390537 h 3512787"/>
                    <a:gd name="connsiteX476" fmla="*/ 3372198 w 3768866"/>
                    <a:gd name="connsiteY476" fmla="*/ 371623 h 3512787"/>
                    <a:gd name="connsiteX477" fmla="*/ 3322614 w 3768866"/>
                    <a:gd name="connsiteY477" fmla="*/ 416607 h 3512787"/>
                    <a:gd name="connsiteX478" fmla="*/ 3327215 w 3768866"/>
                    <a:gd name="connsiteY478" fmla="*/ 497372 h 3512787"/>
                    <a:gd name="connsiteX479" fmla="*/ 3310857 w 3768866"/>
                    <a:gd name="connsiteY479" fmla="*/ 528043 h 3512787"/>
                    <a:gd name="connsiteX480" fmla="*/ 3322103 w 3768866"/>
                    <a:gd name="connsiteY480" fmla="*/ 537755 h 3512787"/>
                    <a:gd name="connsiteX481" fmla="*/ 3391622 w 3768866"/>
                    <a:gd name="connsiteY481" fmla="*/ 510152 h 3512787"/>
                    <a:gd name="connsiteX482" fmla="*/ 3483122 w 3768866"/>
                    <a:gd name="connsiteY482" fmla="*/ 513219 h 3512787"/>
                    <a:gd name="connsiteX483" fmla="*/ 3510725 w 3768866"/>
                    <a:gd name="connsiteY483" fmla="*/ 545423 h 3512787"/>
                    <a:gd name="connsiteX484" fmla="*/ 3538329 w 3768866"/>
                    <a:gd name="connsiteY484" fmla="*/ 501462 h 3512787"/>
                    <a:gd name="connsiteX485" fmla="*/ 3536284 w 3768866"/>
                    <a:gd name="connsiteY485" fmla="*/ 472836 h 3512787"/>
                    <a:gd name="connsiteX486" fmla="*/ 3499991 w 3768866"/>
                    <a:gd name="connsiteY486" fmla="*/ 459545 h 3512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  <a:cxn ang="0">
                      <a:pos x="connsiteX330" y="connsiteY330"/>
                    </a:cxn>
                    <a:cxn ang="0">
                      <a:pos x="connsiteX331" y="connsiteY331"/>
                    </a:cxn>
                    <a:cxn ang="0">
                      <a:pos x="connsiteX332" y="connsiteY332"/>
                    </a:cxn>
                    <a:cxn ang="0">
                      <a:pos x="connsiteX333" y="connsiteY333"/>
                    </a:cxn>
                    <a:cxn ang="0">
                      <a:pos x="connsiteX334" y="connsiteY334"/>
                    </a:cxn>
                    <a:cxn ang="0">
                      <a:pos x="connsiteX335" y="connsiteY335"/>
                    </a:cxn>
                    <a:cxn ang="0">
                      <a:pos x="connsiteX336" y="connsiteY336"/>
                    </a:cxn>
                    <a:cxn ang="0">
                      <a:pos x="connsiteX337" y="connsiteY337"/>
                    </a:cxn>
                    <a:cxn ang="0">
                      <a:pos x="connsiteX338" y="connsiteY338"/>
                    </a:cxn>
                    <a:cxn ang="0">
                      <a:pos x="connsiteX339" y="connsiteY339"/>
                    </a:cxn>
                    <a:cxn ang="0">
                      <a:pos x="connsiteX340" y="connsiteY340"/>
                    </a:cxn>
                    <a:cxn ang="0">
                      <a:pos x="connsiteX341" y="connsiteY341"/>
                    </a:cxn>
                    <a:cxn ang="0">
                      <a:pos x="connsiteX342" y="connsiteY342"/>
                    </a:cxn>
                    <a:cxn ang="0">
                      <a:pos x="connsiteX343" y="connsiteY343"/>
                    </a:cxn>
                    <a:cxn ang="0">
                      <a:pos x="connsiteX344" y="connsiteY344"/>
                    </a:cxn>
                    <a:cxn ang="0">
                      <a:pos x="connsiteX345" y="connsiteY345"/>
                    </a:cxn>
                    <a:cxn ang="0">
                      <a:pos x="connsiteX346" y="connsiteY346"/>
                    </a:cxn>
                    <a:cxn ang="0">
                      <a:pos x="connsiteX347" y="connsiteY347"/>
                    </a:cxn>
                    <a:cxn ang="0">
                      <a:pos x="connsiteX348" y="connsiteY348"/>
                    </a:cxn>
                    <a:cxn ang="0">
                      <a:pos x="connsiteX349" y="connsiteY349"/>
                    </a:cxn>
                    <a:cxn ang="0">
                      <a:pos x="connsiteX350" y="connsiteY350"/>
                    </a:cxn>
                    <a:cxn ang="0">
                      <a:pos x="connsiteX351" y="connsiteY351"/>
                    </a:cxn>
                    <a:cxn ang="0">
                      <a:pos x="connsiteX352" y="connsiteY352"/>
                    </a:cxn>
                    <a:cxn ang="0">
                      <a:pos x="connsiteX353" y="connsiteY353"/>
                    </a:cxn>
                    <a:cxn ang="0">
                      <a:pos x="connsiteX354" y="connsiteY354"/>
                    </a:cxn>
                    <a:cxn ang="0">
                      <a:pos x="connsiteX355" y="connsiteY355"/>
                    </a:cxn>
                    <a:cxn ang="0">
                      <a:pos x="connsiteX356" y="connsiteY356"/>
                    </a:cxn>
                    <a:cxn ang="0">
                      <a:pos x="connsiteX357" y="connsiteY357"/>
                    </a:cxn>
                    <a:cxn ang="0">
                      <a:pos x="connsiteX358" y="connsiteY358"/>
                    </a:cxn>
                    <a:cxn ang="0">
                      <a:pos x="connsiteX359" y="connsiteY359"/>
                    </a:cxn>
                    <a:cxn ang="0">
                      <a:pos x="connsiteX360" y="connsiteY360"/>
                    </a:cxn>
                    <a:cxn ang="0">
                      <a:pos x="connsiteX361" y="connsiteY361"/>
                    </a:cxn>
                    <a:cxn ang="0">
                      <a:pos x="connsiteX362" y="connsiteY362"/>
                    </a:cxn>
                    <a:cxn ang="0">
                      <a:pos x="connsiteX363" y="connsiteY363"/>
                    </a:cxn>
                    <a:cxn ang="0">
                      <a:pos x="connsiteX364" y="connsiteY364"/>
                    </a:cxn>
                    <a:cxn ang="0">
                      <a:pos x="connsiteX365" y="connsiteY365"/>
                    </a:cxn>
                    <a:cxn ang="0">
                      <a:pos x="connsiteX366" y="connsiteY366"/>
                    </a:cxn>
                    <a:cxn ang="0">
                      <a:pos x="connsiteX367" y="connsiteY367"/>
                    </a:cxn>
                    <a:cxn ang="0">
                      <a:pos x="connsiteX368" y="connsiteY368"/>
                    </a:cxn>
                    <a:cxn ang="0">
                      <a:pos x="connsiteX369" y="connsiteY369"/>
                    </a:cxn>
                    <a:cxn ang="0">
                      <a:pos x="connsiteX370" y="connsiteY370"/>
                    </a:cxn>
                    <a:cxn ang="0">
                      <a:pos x="connsiteX371" y="connsiteY371"/>
                    </a:cxn>
                    <a:cxn ang="0">
                      <a:pos x="connsiteX372" y="connsiteY372"/>
                    </a:cxn>
                    <a:cxn ang="0">
                      <a:pos x="connsiteX373" y="connsiteY373"/>
                    </a:cxn>
                    <a:cxn ang="0">
                      <a:pos x="connsiteX374" y="connsiteY374"/>
                    </a:cxn>
                    <a:cxn ang="0">
                      <a:pos x="connsiteX375" y="connsiteY375"/>
                    </a:cxn>
                    <a:cxn ang="0">
                      <a:pos x="connsiteX376" y="connsiteY376"/>
                    </a:cxn>
                    <a:cxn ang="0">
                      <a:pos x="connsiteX377" y="connsiteY377"/>
                    </a:cxn>
                    <a:cxn ang="0">
                      <a:pos x="connsiteX378" y="connsiteY378"/>
                    </a:cxn>
                    <a:cxn ang="0">
                      <a:pos x="connsiteX379" y="connsiteY379"/>
                    </a:cxn>
                    <a:cxn ang="0">
                      <a:pos x="connsiteX380" y="connsiteY380"/>
                    </a:cxn>
                    <a:cxn ang="0">
                      <a:pos x="connsiteX381" y="connsiteY381"/>
                    </a:cxn>
                    <a:cxn ang="0">
                      <a:pos x="connsiteX382" y="connsiteY382"/>
                    </a:cxn>
                    <a:cxn ang="0">
                      <a:pos x="connsiteX383" y="connsiteY383"/>
                    </a:cxn>
                    <a:cxn ang="0">
                      <a:pos x="connsiteX384" y="connsiteY384"/>
                    </a:cxn>
                    <a:cxn ang="0">
                      <a:pos x="connsiteX385" y="connsiteY385"/>
                    </a:cxn>
                    <a:cxn ang="0">
                      <a:pos x="connsiteX386" y="connsiteY386"/>
                    </a:cxn>
                    <a:cxn ang="0">
                      <a:pos x="connsiteX387" y="connsiteY387"/>
                    </a:cxn>
                    <a:cxn ang="0">
                      <a:pos x="connsiteX388" y="connsiteY388"/>
                    </a:cxn>
                    <a:cxn ang="0">
                      <a:pos x="connsiteX389" y="connsiteY389"/>
                    </a:cxn>
                    <a:cxn ang="0">
                      <a:pos x="connsiteX390" y="connsiteY390"/>
                    </a:cxn>
                    <a:cxn ang="0">
                      <a:pos x="connsiteX391" y="connsiteY391"/>
                    </a:cxn>
                    <a:cxn ang="0">
                      <a:pos x="connsiteX392" y="connsiteY392"/>
                    </a:cxn>
                    <a:cxn ang="0">
                      <a:pos x="connsiteX393" y="connsiteY393"/>
                    </a:cxn>
                    <a:cxn ang="0">
                      <a:pos x="connsiteX394" y="connsiteY394"/>
                    </a:cxn>
                    <a:cxn ang="0">
                      <a:pos x="connsiteX395" y="connsiteY395"/>
                    </a:cxn>
                    <a:cxn ang="0">
                      <a:pos x="connsiteX396" y="connsiteY396"/>
                    </a:cxn>
                    <a:cxn ang="0">
                      <a:pos x="connsiteX397" y="connsiteY397"/>
                    </a:cxn>
                    <a:cxn ang="0">
                      <a:pos x="connsiteX398" y="connsiteY398"/>
                    </a:cxn>
                    <a:cxn ang="0">
                      <a:pos x="connsiteX399" y="connsiteY399"/>
                    </a:cxn>
                    <a:cxn ang="0">
                      <a:pos x="connsiteX400" y="connsiteY400"/>
                    </a:cxn>
                    <a:cxn ang="0">
                      <a:pos x="connsiteX401" y="connsiteY401"/>
                    </a:cxn>
                    <a:cxn ang="0">
                      <a:pos x="connsiteX402" y="connsiteY402"/>
                    </a:cxn>
                    <a:cxn ang="0">
                      <a:pos x="connsiteX403" y="connsiteY403"/>
                    </a:cxn>
                    <a:cxn ang="0">
                      <a:pos x="connsiteX404" y="connsiteY404"/>
                    </a:cxn>
                    <a:cxn ang="0">
                      <a:pos x="connsiteX405" y="connsiteY405"/>
                    </a:cxn>
                    <a:cxn ang="0">
                      <a:pos x="connsiteX406" y="connsiteY406"/>
                    </a:cxn>
                    <a:cxn ang="0">
                      <a:pos x="connsiteX407" y="connsiteY407"/>
                    </a:cxn>
                    <a:cxn ang="0">
                      <a:pos x="connsiteX408" y="connsiteY408"/>
                    </a:cxn>
                    <a:cxn ang="0">
                      <a:pos x="connsiteX409" y="connsiteY409"/>
                    </a:cxn>
                    <a:cxn ang="0">
                      <a:pos x="connsiteX410" y="connsiteY410"/>
                    </a:cxn>
                    <a:cxn ang="0">
                      <a:pos x="connsiteX411" y="connsiteY411"/>
                    </a:cxn>
                    <a:cxn ang="0">
                      <a:pos x="connsiteX412" y="connsiteY412"/>
                    </a:cxn>
                    <a:cxn ang="0">
                      <a:pos x="connsiteX413" y="connsiteY413"/>
                    </a:cxn>
                    <a:cxn ang="0">
                      <a:pos x="connsiteX414" y="connsiteY414"/>
                    </a:cxn>
                    <a:cxn ang="0">
                      <a:pos x="connsiteX415" y="connsiteY415"/>
                    </a:cxn>
                    <a:cxn ang="0">
                      <a:pos x="connsiteX416" y="connsiteY416"/>
                    </a:cxn>
                    <a:cxn ang="0">
                      <a:pos x="connsiteX417" y="connsiteY417"/>
                    </a:cxn>
                    <a:cxn ang="0">
                      <a:pos x="connsiteX418" y="connsiteY418"/>
                    </a:cxn>
                    <a:cxn ang="0">
                      <a:pos x="connsiteX419" y="connsiteY419"/>
                    </a:cxn>
                    <a:cxn ang="0">
                      <a:pos x="connsiteX420" y="connsiteY420"/>
                    </a:cxn>
                    <a:cxn ang="0">
                      <a:pos x="connsiteX421" y="connsiteY421"/>
                    </a:cxn>
                    <a:cxn ang="0">
                      <a:pos x="connsiteX422" y="connsiteY422"/>
                    </a:cxn>
                    <a:cxn ang="0">
                      <a:pos x="connsiteX423" y="connsiteY423"/>
                    </a:cxn>
                    <a:cxn ang="0">
                      <a:pos x="connsiteX424" y="connsiteY424"/>
                    </a:cxn>
                    <a:cxn ang="0">
                      <a:pos x="connsiteX425" y="connsiteY425"/>
                    </a:cxn>
                    <a:cxn ang="0">
                      <a:pos x="connsiteX426" y="connsiteY426"/>
                    </a:cxn>
                    <a:cxn ang="0">
                      <a:pos x="connsiteX427" y="connsiteY427"/>
                    </a:cxn>
                    <a:cxn ang="0">
                      <a:pos x="connsiteX428" y="connsiteY428"/>
                    </a:cxn>
                    <a:cxn ang="0">
                      <a:pos x="connsiteX429" y="connsiteY429"/>
                    </a:cxn>
                    <a:cxn ang="0">
                      <a:pos x="connsiteX430" y="connsiteY430"/>
                    </a:cxn>
                    <a:cxn ang="0">
                      <a:pos x="connsiteX431" y="connsiteY431"/>
                    </a:cxn>
                    <a:cxn ang="0">
                      <a:pos x="connsiteX432" y="connsiteY432"/>
                    </a:cxn>
                    <a:cxn ang="0">
                      <a:pos x="connsiteX433" y="connsiteY433"/>
                    </a:cxn>
                    <a:cxn ang="0">
                      <a:pos x="connsiteX434" y="connsiteY434"/>
                    </a:cxn>
                    <a:cxn ang="0">
                      <a:pos x="connsiteX435" y="connsiteY435"/>
                    </a:cxn>
                    <a:cxn ang="0">
                      <a:pos x="connsiteX436" y="connsiteY436"/>
                    </a:cxn>
                    <a:cxn ang="0">
                      <a:pos x="connsiteX437" y="connsiteY437"/>
                    </a:cxn>
                    <a:cxn ang="0">
                      <a:pos x="connsiteX438" y="connsiteY438"/>
                    </a:cxn>
                    <a:cxn ang="0">
                      <a:pos x="connsiteX439" y="connsiteY439"/>
                    </a:cxn>
                    <a:cxn ang="0">
                      <a:pos x="connsiteX440" y="connsiteY440"/>
                    </a:cxn>
                    <a:cxn ang="0">
                      <a:pos x="connsiteX441" y="connsiteY441"/>
                    </a:cxn>
                    <a:cxn ang="0">
                      <a:pos x="connsiteX442" y="connsiteY442"/>
                    </a:cxn>
                    <a:cxn ang="0">
                      <a:pos x="connsiteX443" y="connsiteY443"/>
                    </a:cxn>
                    <a:cxn ang="0">
                      <a:pos x="connsiteX444" y="connsiteY444"/>
                    </a:cxn>
                    <a:cxn ang="0">
                      <a:pos x="connsiteX445" y="connsiteY445"/>
                    </a:cxn>
                    <a:cxn ang="0">
                      <a:pos x="connsiteX446" y="connsiteY446"/>
                    </a:cxn>
                    <a:cxn ang="0">
                      <a:pos x="connsiteX447" y="connsiteY447"/>
                    </a:cxn>
                    <a:cxn ang="0">
                      <a:pos x="connsiteX448" y="connsiteY448"/>
                    </a:cxn>
                    <a:cxn ang="0">
                      <a:pos x="connsiteX449" y="connsiteY449"/>
                    </a:cxn>
                    <a:cxn ang="0">
                      <a:pos x="connsiteX450" y="connsiteY450"/>
                    </a:cxn>
                    <a:cxn ang="0">
                      <a:pos x="connsiteX451" y="connsiteY451"/>
                    </a:cxn>
                    <a:cxn ang="0">
                      <a:pos x="connsiteX452" y="connsiteY452"/>
                    </a:cxn>
                    <a:cxn ang="0">
                      <a:pos x="connsiteX453" y="connsiteY453"/>
                    </a:cxn>
                    <a:cxn ang="0">
                      <a:pos x="connsiteX454" y="connsiteY454"/>
                    </a:cxn>
                    <a:cxn ang="0">
                      <a:pos x="connsiteX455" y="connsiteY455"/>
                    </a:cxn>
                    <a:cxn ang="0">
                      <a:pos x="connsiteX456" y="connsiteY456"/>
                    </a:cxn>
                    <a:cxn ang="0">
                      <a:pos x="connsiteX457" y="connsiteY457"/>
                    </a:cxn>
                    <a:cxn ang="0">
                      <a:pos x="connsiteX458" y="connsiteY458"/>
                    </a:cxn>
                    <a:cxn ang="0">
                      <a:pos x="connsiteX459" y="connsiteY459"/>
                    </a:cxn>
                    <a:cxn ang="0">
                      <a:pos x="connsiteX460" y="connsiteY460"/>
                    </a:cxn>
                    <a:cxn ang="0">
                      <a:pos x="connsiteX461" y="connsiteY461"/>
                    </a:cxn>
                    <a:cxn ang="0">
                      <a:pos x="connsiteX462" y="connsiteY462"/>
                    </a:cxn>
                    <a:cxn ang="0">
                      <a:pos x="connsiteX463" y="connsiteY463"/>
                    </a:cxn>
                    <a:cxn ang="0">
                      <a:pos x="connsiteX464" y="connsiteY464"/>
                    </a:cxn>
                    <a:cxn ang="0">
                      <a:pos x="connsiteX465" y="connsiteY465"/>
                    </a:cxn>
                    <a:cxn ang="0">
                      <a:pos x="connsiteX466" y="connsiteY466"/>
                    </a:cxn>
                    <a:cxn ang="0">
                      <a:pos x="connsiteX467" y="connsiteY467"/>
                    </a:cxn>
                    <a:cxn ang="0">
                      <a:pos x="connsiteX468" y="connsiteY468"/>
                    </a:cxn>
                    <a:cxn ang="0">
                      <a:pos x="connsiteX469" y="connsiteY469"/>
                    </a:cxn>
                    <a:cxn ang="0">
                      <a:pos x="connsiteX470" y="connsiteY470"/>
                    </a:cxn>
                    <a:cxn ang="0">
                      <a:pos x="connsiteX471" y="connsiteY471"/>
                    </a:cxn>
                    <a:cxn ang="0">
                      <a:pos x="connsiteX472" y="connsiteY472"/>
                    </a:cxn>
                    <a:cxn ang="0">
                      <a:pos x="connsiteX473" y="connsiteY473"/>
                    </a:cxn>
                    <a:cxn ang="0">
                      <a:pos x="connsiteX474" y="connsiteY474"/>
                    </a:cxn>
                    <a:cxn ang="0">
                      <a:pos x="connsiteX475" y="connsiteY475"/>
                    </a:cxn>
                    <a:cxn ang="0">
                      <a:pos x="connsiteX476" y="connsiteY476"/>
                    </a:cxn>
                    <a:cxn ang="0">
                      <a:pos x="connsiteX477" y="connsiteY477"/>
                    </a:cxn>
                    <a:cxn ang="0">
                      <a:pos x="connsiteX478" y="connsiteY478"/>
                    </a:cxn>
                    <a:cxn ang="0">
                      <a:pos x="connsiteX479" y="connsiteY479"/>
                    </a:cxn>
                    <a:cxn ang="0">
                      <a:pos x="connsiteX480" y="connsiteY480"/>
                    </a:cxn>
                    <a:cxn ang="0">
                      <a:pos x="connsiteX481" y="connsiteY481"/>
                    </a:cxn>
                    <a:cxn ang="0">
                      <a:pos x="connsiteX482" y="connsiteY482"/>
                    </a:cxn>
                    <a:cxn ang="0">
                      <a:pos x="connsiteX483" y="connsiteY483"/>
                    </a:cxn>
                    <a:cxn ang="0">
                      <a:pos x="connsiteX484" y="connsiteY484"/>
                    </a:cxn>
                    <a:cxn ang="0">
                      <a:pos x="connsiteX485" y="connsiteY485"/>
                    </a:cxn>
                    <a:cxn ang="0">
                      <a:pos x="connsiteX486" y="connsiteY486"/>
                    </a:cxn>
                  </a:cxnLst>
                  <a:rect l="l" t="t" r="r" b="b"/>
                  <a:pathLst>
                    <a:path w="3768866" h="3512787">
                      <a:moveTo>
                        <a:pt x="156418" y="1086245"/>
                      </a:moveTo>
                      <a:lnTo>
                        <a:pt x="179421" y="1115382"/>
                      </a:lnTo>
                      <a:lnTo>
                        <a:pt x="196290" y="1116915"/>
                      </a:lnTo>
                      <a:lnTo>
                        <a:pt x="208047" y="1136340"/>
                      </a:lnTo>
                      <a:lnTo>
                        <a:pt x="214181" y="1137362"/>
                      </a:lnTo>
                      <a:lnTo>
                        <a:pt x="219804" y="1146563"/>
                      </a:lnTo>
                      <a:lnTo>
                        <a:pt x="224915" y="1153720"/>
                      </a:lnTo>
                      <a:lnTo>
                        <a:pt x="209580" y="1165477"/>
                      </a:lnTo>
                      <a:lnTo>
                        <a:pt x="170731" y="1157298"/>
                      </a:lnTo>
                      <a:lnTo>
                        <a:pt x="173798" y="1137362"/>
                      </a:lnTo>
                      <a:lnTo>
                        <a:pt x="154885" y="1125094"/>
                      </a:lnTo>
                      <a:lnTo>
                        <a:pt x="123192" y="1112826"/>
                      </a:lnTo>
                      <a:lnTo>
                        <a:pt x="110413" y="1104136"/>
                      </a:lnTo>
                      <a:lnTo>
                        <a:pt x="92011" y="1106692"/>
                      </a:lnTo>
                      <a:lnTo>
                        <a:pt x="81276" y="1101069"/>
                      </a:lnTo>
                      <a:lnTo>
                        <a:pt x="68497" y="1101069"/>
                      </a:lnTo>
                      <a:lnTo>
                        <a:pt x="57762" y="1104647"/>
                      </a:lnTo>
                      <a:lnTo>
                        <a:pt x="46005" y="1114359"/>
                      </a:lnTo>
                      <a:lnTo>
                        <a:pt x="39360" y="1117937"/>
                      </a:lnTo>
                      <a:lnTo>
                        <a:pt x="37827" y="1112315"/>
                      </a:lnTo>
                      <a:lnTo>
                        <a:pt x="31181" y="1099024"/>
                      </a:lnTo>
                      <a:lnTo>
                        <a:pt x="0" y="1072443"/>
                      </a:lnTo>
                      <a:lnTo>
                        <a:pt x="6134" y="1071932"/>
                      </a:lnTo>
                      <a:lnTo>
                        <a:pt x="32715" y="1096979"/>
                      </a:lnTo>
                      <a:lnTo>
                        <a:pt x="42427" y="1111292"/>
                      </a:lnTo>
                      <a:lnTo>
                        <a:pt x="60318" y="1095957"/>
                      </a:lnTo>
                      <a:lnTo>
                        <a:pt x="80254" y="1095957"/>
                      </a:lnTo>
                      <a:lnTo>
                        <a:pt x="88944" y="1100046"/>
                      </a:lnTo>
                      <a:lnTo>
                        <a:pt x="103257" y="1095957"/>
                      </a:lnTo>
                      <a:lnTo>
                        <a:pt x="109902" y="1091356"/>
                      </a:lnTo>
                      <a:lnTo>
                        <a:pt x="110413" y="1087267"/>
                      </a:lnTo>
                      <a:lnTo>
                        <a:pt x="102234" y="1073465"/>
                      </a:lnTo>
                      <a:lnTo>
                        <a:pt x="90477" y="1068354"/>
                      </a:lnTo>
                      <a:lnTo>
                        <a:pt x="71053" y="1068865"/>
                      </a:lnTo>
                      <a:lnTo>
                        <a:pt x="54695" y="1078577"/>
                      </a:lnTo>
                      <a:lnTo>
                        <a:pt x="44983" y="1077555"/>
                      </a:lnTo>
                      <a:lnTo>
                        <a:pt x="28114" y="1063242"/>
                      </a:lnTo>
                      <a:lnTo>
                        <a:pt x="24025" y="1056085"/>
                      </a:lnTo>
                      <a:lnTo>
                        <a:pt x="27092" y="1044840"/>
                      </a:lnTo>
                      <a:lnTo>
                        <a:pt x="34248" y="1033083"/>
                      </a:lnTo>
                      <a:lnTo>
                        <a:pt x="47539" y="1028482"/>
                      </a:lnTo>
                      <a:lnTo>
                        <a:pt x="70542" y="1020814"/>
                      </a:lnTo>
                      <a:lnTo>
                        <a:pt x="91500" y="1025926"/>
                      </a:lnTo>
                      <a:lnTo>
                        <a:pt x="102234" y="1032571"/>
                      </a:lnTo>
                      <a:lnTo>
                        <a:pt x="106835" y="1050974"/>
                      </a:lnTo>
                      <a:lnTo>
                        <a:pt x="116036" y="1053530"/>
                      </a:lnTo>
                      <a:lnTo>
                        <a:pt x="128815" y="1055574"/>
                      </a:lnTo>
                      <a:lnTo>
                        <a:pt x="135460" y="1058641"/>
                      </a:lnTo>
                      <a:lnTo>
                        <a:pt x="141594" y="1065798"/>
                      </a:lnTo>
                      <a:lnTo>
                        <a:pt x="156418" y="1086245"/>
                      </a:lnTo>
                      <a:close/>
                      <a:moveTo>
                        <a:pt x="527529" y="520886"/>
                      </a:moveTo>
                      <a:lnTo>
                        <a:pt x="582735" y="600118"/>
                      </a:lnTo>
                      <a:lnTo>
                        <a:pt x="529062" y="633345"/>
                      </a:lnTo>
                      <a:lnTo>
                        <a:pt x="528040" y="653792"/>
                      </a:lnTo>
                      <a:lnTo>
                        <a:pt x="557177" y="671171"/>
                      </a:lnTo>
                      <a:lnTo>
                        <a:pt x="605738" y="683951"/>
                      </a:lnTo>
                      <a:lnTo>
                        <a:pt x="613406" y="693663"/>
                      </a:lnTo>
                      <a:lnTo>
                        <a:pt x="586825" y="722289"/>
                      </a:lnTo>
                      <a:lnTo>
                        <a:pt x="571490" y="755515"/>
                      </a:lnTo>
                      <a:lnTo>
                        <a:pt x="554621" y="746825"/>
                      </a:lnTo>
                      <a:lnTo>
                        <a:pt x="513727" y="688551"/>
                      </a:lnTo>
                      <a:lnTo>
                        <a:pt x="496347" y="682417"/>
                      </a:lnTo>
                      <a:lnTo>
                        <a:pt x="466699" y="706442"/>
                      </a:lnTo>
                      <a:lnTo>
                        <a:pt x="425806" y="726889"/>
                      </a:lnTo>
                      <a:lnTo>
                        <a:pt x="389001" y="729445"/>
                      </a:lnTo>
                      <a:lnTo>
                        <a:pt x="342485" y="730979"/>
                      </a:lnTo>
                      <a:lnTo>
                        <a:pt x="359865" y="662993"/>
                      </a:lnTo>
                      <a:lnTo>
                        <a:pt x="320504" y="669127"/>
                      </a:lnTo>
                      <a:lnTo>
                        <a:pt x="348108" y="601141"/>
                      </a:lnTo>
                      <a:lnTo>
                        <a:pt x="343507" y="589895"/>
                      </a:lnTo>
                      <a:lnTo>
                        <a:pt x="339418" y="585805"/>
                      </a:lnTo>
                      <a:lnTo>
                        <a:pt x="384912" y="590406"/>
                      </a:lnTo>
                      <a:lnTo>
                        <a:pt x="403825" y="609319"/>
                      </a:lnTo>
                      <a:lnTo>
                        <a:pt x="416094" y="609319"/>
                      </a:lnTo>
                      <a:lnTo>
                        <a:pt x="418649" y="609831"/>
                      </a:lnTo>
                      <a:lnTo>
                        <a:pt x="423761" y="610342"/>
                      </a:lnTo>
                      <a:lnTo>
                        <a:pt x="425806" y="606764"/>
                      </a:lnTo>
                      <a:lnTo>
                        <a:pt x="406381" y="605230"/>
                      </a:lnTo>
                      <a:lnTo>
                        <a:pt x="387468" y="586828"/>
                      </a:lnTo>
                      <a:lnTo>
                        <a:pt x="344530" y="583761"/>
                      </a:lnTo>
                      <a:lnTo>
                        <a:pt x="342996" y="581716"/>
                      </a:lnTo>
                      <a:lnTo>
                        <a:pt x="341974" y="579671"/>
                      </a:lnTo>
                      <a:lnTo>
                        <a:pt x="352708" y="573537"/>
                      </a:lnTo>
                      <a:lnTo>
                        <a:pt x="398203" y="340953"/>
                      </a:lnTo>
                      <a:lnTo>
                        <a:pt x="403825" y="298014"/>
                      </a:lnTo>
                      <a:lnTo>
                        <a:pt x="432451" y="293925"/>
                      </a:lnTo>
                      <a:cubicBezTo>
                        <a:pt x="432451" y="293925"/>
                        <a:pt x="430917" y="322040"/>
                        <a:pt x="431429" y="323062"/>
                      </a:cubicBezTo>
                      <a:cubicBezTo>
                        <a:pt x="431429" y="324084"/>
                        <a:pt x="455965" y="337886"/>
                        <a:pt x="455965" y="337886"/>
                      </a:cubicBezTo>
                      <a:lnTo>
                        <a:pt x="503504" y="314372"/>
                      </a:lnTo>
                      <a:lnTo>
                        <a:pt x="556666" y="267855"/>
                      </a:lnTo>
                      <a:lnTo>
                        <a:pt x="593981" y="344531"/>
                      </a:lnTo>
                      <a:lnTo>
                        <a:pt x="641009" y="411495"/>
                      </a:lnTo>
                      <a:lnTo>
                        <a:pt x="595004" y="458523"/>
                      </a:lnTo>
                      <a:lnTo>
                        <a:pt x="527529" y="520886"/>
                      </a:lnTo>
                      <a:close/>
                      <a:moveTo>
                        <a:pt x="413538" y="971230"/>
                      </a:moveTo>
                      <a:lnTo>
                        <a:pt x="391557" y="1004457"/>
                      </a:lnTo>
                      <a:lnTo>
                        <a:pt x="323571" y="1023881"/>
                      </a:lnTo>
                      <a:lnTo>
                        <a:pt x="293924" y="1016214"/>
                      </a:lnTo>
                      <a:lnTo>
                        <a:pt x="277566" y="1022348"/>
                      </a:lnTo>
                      <a:lnTo>
                        <a:pt x="268365" y="1041773"/>
                      </a:lnTo>
                      <a:lnTo>
                        <a:pt x="224404" y="1056085"/>
                      </a:lnTo>
                      <a:lnTo>
                        <a:pt x="194245" y="1028482"/>
                      </a:lnTo>
                      <a:lnTo>
                        <a:pt x="147729" y="1007524"/>
                      </a:lnTo>
                      <a:lnTo>
                        <a:pt x="103768" y="981454"/>
                      </a:lnTo>
                      <a:lnTo>
                        <a:pt x="82299" y="976853"/>
                      </a:lnTo>
                      <a:cubicBezTo>
                        <a:pt x="82299" y="976853"/>
                        <a:pt x="81787" y="970719"/>
                        <a:pt x="92522" y="968164"/>
                      </a:cubicBezTo>
                      <a:cubicBezTo>
                        <a:pt x="93544" y="965608"/>
                        <a:pt x="88433" y="963052"/>
                        <a:pt x="88944" y="958451"/>
                      </a:cubicBezTo>
                      <a:cubicBezTo>
                        <a:pt x="93544" y="950272"/>
                        <a:pt x="109902" y="936471"/>
                        <a:pt x="109902" y="936471"/>
                      </a:cubicBezTo>
                      <a:lnTo>
                        <a:pt x="140061" y="926758"/>
                      </a:lnTo>
                      <a:lnTo>
                        <a:pt x="149262" y="939027"/>
                      </a:lnTo>
                      <a:lnTo>
                        <a:pt x="167153" y="930848"/>
                      </a:lnTo>
                      <a:lnTo>
                        <a:pt x="151818" y="912445"/>
                      </a:lnTo>
                      <a:lnTo>
                        <a:pt x="139039" y="895066"/>
                      </a:lnTo>
                      <a:lnTo>
                        <a:pt x="145173" y="871552"/>
                      </a:lnTo>
                      <a:lnTo>
                        <a:pt x="159997" y="876663"/>
                      </a:lnTo>
                      <a:lnTo>
                        <a:pt x="178910" y="886376"/>
                      </a:lnTo>
                      <a:lnTo>
                        <a:pt x="175843" y="874619"/>
                      </a:lnTo>
                      <a:lnTo>
                        <a:pt x="186578" y="845482"/>
                      </a:lnTo>
                      <a:lnTo>
                        <a:pt x="268876" y="757560"/>
                      </a:lnTo>
                      <a:lnTo>
                        <a:pt x="320504" y="667593"/>
                      </a:lnTo>
                      <a:lnTo>
                        <a:pt x="359865" y="661459"/>
                      </a:lnTo>
                      <a:lnTo>
                        <a:pt x="342485" y="729445"/>
                      </a:lnTo>
                      <a:lnTo>
                        <a:pt x="389001" y="727912"/>
                      </a:lnTo>
                      <a:lnTo>
                        <a:pt x="425806" y="725356"/>
                      </a:lnTo>
                      <a:lnTo>
                        <a:pt x="432962" y="771873"/>
                      </a:lnTo>
                      <a:lnTo>
                        <a:pt x="432962" y="790786"/>
                      </a:lnTo>
                      <a:lnTo>
                        <a:pt x="472834" y="788741"/>
                      </a:lnTo>
                      <a:lnTo>
                        <a:pt x="478456" y="795387"/>
                      </a:lnTo>
                      <a:lnTo>
                        <a:pt x="436540" y="836281"/>
                      </a:lnTo>
                      <a:lnTo>
                        <a:pt x="444208" y="883309"/>
                      </a:lnTo>
                      <a:lnTo>
                        <a:pt x="504015" y="865418"/>
                      </a:lnTo>
                      <a:lnTo>
                        <a:pt x="531618" y="844459"/>
                      </a:lnTo>
                      <a:lnTo>
                        <a:pt x="552065" y="867462"/>
                      </a:lnTo>
                      <a:lnTo>
                        <a:pt x="563311" y="868485"/>
                      </a:lnTo>
                      <a:lnTo>
                        <a:pt x="495836" y="955895"/>
                      </a:lnTo>
                      <a:lnTo>
                        <a:pt x="463121" y="949250"/>
                      </a:lnTo>
                      <a:lnTo>
                        <a:pt x="413538" y="971230"/>
                      </a:lnTo>
                      <a:close/>
                      <a:moveTo>
                        <a:pt x="1260549" y="207537"/>
                      </a:moveTo>
                      <a:lnTo>
                        <a:pt x="1233968" y="361911"/>
                      </a:lnTo>
                      <a:lnTo>
                        <a:pt x="1232434" y="376735"/>
                      </a:lnTo>
                      <a:lnTo>
                        <a:pt x="1202786" y="339419"/>
                      </a:lnTo>
                      <a:lnTo>
                        <a:pt x="1204831" y="319995"/>
                      </a:lnTo>
                      <a:lnTo>
                        <a:pt x="1198186" y="301081"/>
                      </a:lnTo>
                      <a:lnTo>
                        <a:pt x="1134289" y="225939"/>
                      </a:lnTo>
                      <a:lnTo>
                        <a:pt x="1101063" y="198336"/>
                      </a:lnTo>
                      <a:lnTo>
                        <a:pt x="1075505" y="205492"/>
                      </a:lnTo>
                      <a:lnTo>
                        <a:pt x="1032566" y="156419"/>
                      </a:lnTo>
                      <a:lnTo>
                        <a:pt x="1001385" y="157953"/>
                      </a:lnTo>
                      <a:lnTo>
                        <a:pt x="967136" y="213671"/>
                      </a:lnTo>
                      <a:lnTo>
                        <a:pt x="953846" y="212648"/>
                      </a:lnTo>
                      <a:lnTo>
                        <a:pt x="912441" y="196291"/>
                      </a:lnTo>
                      <a:lnTo>
                        <a:pt x="908352" y="171243"/>
                      </a:lnTo>
                      <a:lnTo>
                        <a:pt x="934421" y="109902"/>
                      </a:lnTo>
                      <a:lnTo>
                        <a:pt x="944645" y="97123"/>
                      </a:lnTo>
                      <a:lnTo>
                        <a:pt x="939533" y="75143"/>
                      </a:lnTo>
                      <a:lnTo>
                        <a:pt x="908352" y="54184"/>
                      </a:lnTo>
                      <a:lnTo>
                        <a:pt x="914997" y="30159"/>
                      </a:lnTo>
                      <a:lnTo>
                        <a:pt x="960491" y="36293"/>
                      </a:lnTo>
                      <a:lnTo>
                        <a:pt x="1077549" y="6134"/>
                      </a:lnTo>
                      <a:lnTo>
                        <a:pt x="1130200" y="0"/>
                      </a:lnTo>
                      <a:lnTo>
                        <a:pt x="1140423" y="511"/>
                      </a:lnTo>
                      <a:lnTo>
                        <a:pt x="1152180" y="11757"/>
                      </a:lnTo>
                      <a:lnTo>
                        <a:pt x="1162404" y="64919"/>
                      </a:lnTo>
                      <a:lnTo>
                        <a:pt x="1201764" y="82810"/>
                      </a:lnTo>
                      <a:lnTo>
                        <a:pt x="1229367" y="88433"/>
                      </a:lnTo>
                      <a:lnTo>
                        <a:pt x="1238057" y="113992"/>
                      </a:lnTo>
                      <a:lnTo>
                        <a:pt x="1245213" y="123704"/>
                      </a:lnTo>
                      <a:lnTo>
                        <a:pt x="1264127" y="128816"/>
                      </a:lnTo>
                      <a:lnTo>
                        <a:pt x="1271283" y="145173"/>
                      </a:lnTo>
                      <a:lnTo>
                        <a:pt x="1260549" y="207537"/>
                      </a:lnTo>
                      <a:close/>
                      <a:moveTo>
                        <a:pt x="835254" y="1017747"/>
                      </a:moveTo>
                      <a:lnTo>
                        <a:pt x="808162" y="994233"/>
                      </a:lnTo>
                      <a:lnTo>
                        <a:pt x="775447" y="993722"/>
                      </a:lnTo>
                      <a:lnTo>
                        <a:pt x="711039" y="954362"/>
                      </a:lnTo>
                      <a:lnTo>
                        <a:pt x="666056" y="967141"/>
                      </a:lnTo>
                      <a:lnTo>
                        <a:pt x="644587" y="959985"/>
                      </a:lnTo>
                      <a:lnTo>
                        <a:pt x="615962" y="1001901"/>
                      </a:lnTo>
                      <a:lnTo>
                        <a:pt x="539797" y="1004457"/>
                      </a:lnTo>
                      <a:lnTo>
                        <a:pt x="518839" y="978387"/>
                      </a:lnTo>
                      <a:lnTo>
                        <a:pt x="495325" y="956406"/>
                      </a:lnTo>
                      <a:lnTo>
                        <a:pt x="462610" y="949761"/>
                      </a:lnTo>
                      <a:lnTo>
                        <a:pt x="413538" y="971742"/>
                      </a:lnTo>
                      <a:lnTo>
                        <a:pt x="391557" y="1004968"/>
                      </a:lnTo>
                      <a:lnTo>
                        <a:pt x="323571" y="1023881"/>
                      </a:lnTo>
                      <a:lnTo>
                        <a:pt x="293924" y="1016214"/>
                      </a:lnTo>
                      <a:lnTo>
                        <a:pt x="277566" y="1022348"/>
                      </a:lnTo>
                      <a:lnTo>
                        <a:pt x="268365" y="1041773"/>
                      </a:lnTo>
                      <a:lnTo>
                        <a:pt x="225427" y="1056085"/>
                      </a:lnTo>
                      <a:lnTo>
                        <a:pt x="214181" y="1067331"/>
                      </a:lnTo>
                      <a:lnTo>
                        <a:pt x="229516" y="1110270"/>
                      </a:lnTo>
                      <a:lnTo>
                        <a:pt x="216737" y="1141452"/>
                      </a:lnTo>
                      <a:lnTo>
                        <a:pt x="235650" y="1165988"/>
                      </a:lnTo>
                      <a:lnTo>
                        <a:pt x="236161" y="1185413"/>
                      </a:lnTo>
                      <a:lnTo>
                        <a:pt x="249452" y="1196658"/>
                      </a:lnTo>
                      <a:lnTo>
                        <a:pt x="287278" y="1213016"/>
                      </a:lnTo>
                      <a:lnTo>
                        <a:pt x="285745" y="1165988"/>
                      </a:lnTo>
                      <a:lnTo>
                        <a:pt x="327661" y="1142985"/>
                      </a:lnTo>
                      <a:lnTo>
                        <a:pt x="330728" y="1168032"/>
                      </a:lnTo>
                      <a:lnTo>
                        <a:pt x="375200" y="1174167"/>
                      </a:lnTo>
                      <a:lnTo>
                        <a:pt x="418649" y="1133784"/>
                      </a:lnTo>
                      <a:lnTo>
                        <a:pt x="442674" y="1140429"/>
                      </a:lnTo>
                      <a:lnTo>
                        <a:pt x="429895" y="1194102"/>
                      </a:lnTo>
                      <a:lnTo>
                        <a:pt x="481523" y="1198703"/>
                      </a:lnTo>
                      <a:lnTo>
                        <a:pt x="512194" y="1148608"/>
                      </a:lnTo>
                      <a:lnTo>
                        <a:pt x="538263" y="1167010"/>
                      </a:lnTo>
                      <a:lnTo>
                        <a:pt x="526507" y="1196147"/>
                      </a:lnTo>
                      <a:lnTo>
                        <a:pt x="576601" y="1243686"/>
                      </a:lnTo>
                      <a:lnTo>
                        <a:pt x="580691" y="1273334"/>
                      </a:lnTo>
                      <a:lnTo>
                        <a:pt x="649188" y="1268734"/>
                      </a:lnTo>
                      <a:lnTo>
                        <a:pt x="673213" y="1250843"/>
                      </a:lnTo>
                      <a:lnTo>
                        <a:pt x="698260" y="1291225"/>
                      </a:lnTo>
                      <a:lnTo>
                        <a:pt x="740176" y="1238063"/>
                      </a:lnTo>
                      <a:lnTo>
                        <a:pt x="822475" y="1206882"/>
                      </a:lnTo>
                      <a:lnTo>
                        <a:pt x="802539" y="1157809"/>
                      </a:lnTo>
                      <a:lnTo>
                        <a:pt x="795894" y="1092890"/>
                      </a:lnTo>
                      <a:lnTo>
                        <a:pt x="875637" y="1103625"/>
                      </a:lnTo>
                      <a:lnTo>
                        <a:pt x="845989" y="1056085"/>
                      </a:lnTo>
                      <a:lnTo>
                        <a:pt x="835254" y="1017747"/>
                      </a:lnTo>
                      <a:close/>
                      <a:moveTo>
                        <a:pt x="1126622" y="776473"/>
                      </a:moveTo>
                      <a:lnTo>
                        <a:pt x="1093396" y="819923"/>
                      </a:lnTo>
                      <a:lnTo>
                        <a:pt x="1149113" y="854683"/>
                      </a:lnTo>
                      <a:lnTo>
                        <a:pt x="1115376" y="913979"/>
                      </a:lnTo>
                      <a:lnTo>
                        <a:pt x="1018253" y="932381"/>
                      </a:lnTo>
                      <a:lnTo>
                        <a:pt x="905285" y="904778"/>
                      </a:lnTo>
                      <a:lnTo>
                        <a:pt x="847011" y="946694"/>
                      </a:lnTo>
                      <a:lnTo>
                        <a:pt x="864391" y="992189"/>
                      </a:lnTo>
                      <a:lnTo>
                        <a:pt x="848033" y="994233"/>
                      </a:lnTo>
                      <a:lnTo>
                        <a:pt x="836276" y="995767"/>
                      </a:lnTo>
                      <a:lnTo>
                        <a:pt x="808673" y="993722"/>
                      </a:lnTo>
                      <a:lnTo>
                        <a:pt x="775958" y="993211"/>
                      </a:lnTo>
                      <a:lnTo>
                        <a:pt x="711551" y="953851"/>
                      </a:lnTo>
                      <a:lnTo>
                        <a:pt x="666568" y="966630"/>
                      </a:lnTo>
                      <a:lnTo>
                        <a:pt x="645098" y="959474"/>
                      </a:lnTo>
                      <a:lnTo>
                        <a:pt x="616473" y="1001390"/>
                      </a:lnTo>
                      <a:lnTo>
                        <a:pt x="540308" y="1003946"/>
                      </a:lnTo>
                      <a:lnTo>
                        <a:pt x="519350" y="977876"/>
                      </a:lnTo>
                      <a:lnTo>
                        <a:pt x="495836" y="955895"/>
                      </a:lnTo>
                      <a:lnTo>
                        <a:pt x="563311" y="868485"/>
                      </a:lnTo>
                      <a:lnTo>
                        <a:pt x="612383" y="875641"/>
                      </a:lnTo>
                      <a:lnTo>
                        <a:pt x="672190" y="858772"/>
                      </a:lnTo>
                      <a:lnTo>
                        <a:pt x="705417" y="886376"/>
                      </a:lnTo>
                      <a:lnTo>
                        <a:pt x="718707" y="867462"/>
                      </a:lnTo>
                      <a:lnTo>
                        <a:pt x="695193" y="793853"/>
                      </a:lnTo>
                      <a:lnTo>
                        <a:pt x="662478" y="806633"/>
                      </a:lnTo>
                      <a:lnTo>
                        <a:pt x="643054" y="758582"/>
                      </a:lnTo>
                      <a:lnTo>
                        <a:pt x="642031" y="706954"/>
                      </a:lnTo>
                      <a:lnTo>
                        <a:pt x="684970" y="694685"/>
                      </a:lnTo>
                      <a:lnTo>
                        <a:pt x="696215" y="667593"/>
                      </a:lnTo>
                      <a:lnTo>
                        <a:pt x="780048" y="599607"/>
                      </a:lnTo>
                      <a:lnTo>
                        <a:pt x="799983" y="552068"/>
                      </a:lnTo>
                      <a:lnTo>
                        <a:pt x="827587" y="578138"/>
                      </a:lnTo>
                      <a:lnTo>
                        <a:pt x="857746" y="553601"/>
                      </a:lnTo>
                      <a:lnTo>
                        <a:pt x="894039" y="603185"/>
                      </a:lnTo>
                      <a:lnTo>
                        <a:pt x="876659" y="661970"/>
                      </a:lnTo>
                      <a:lnTo>
                        <a:pt x="931354" y="721778"/>
                      </a:lnTo>
                      <a:lnTo>
                        <a:pt x="1018253" y="737113"/>
                      </a:lnTo>
                      <a:lnTo>
                        <a:pt x="1066815" y="737113"/>
                      </a:lnTo>
                      <a:lnTo>
                        <a:pt x="1085728" y="772895"/>
                      </a:lnTo>
                      <a:lnTo>
                        <a:pt x="1126622" y="776473"/>
                      </a:lnTo>
                      <a:close/>
                      <a:moveTo>
                        <a:pt x="1122021" y="477437"/>
                      </a:moveTo>
                      <a:lnTo>
                        <a:pt x="1098507" y="565870"/>
                      </a:lnTo>
                      <a:lnTo>
                        <a:pt x="1190007" y="594495"/>
                      </a:lnTo>
                      <a:lnTo>
                        <a:pt x="1205853" y="578649"/>
                      </a:lnTo>
                      <a:lnTo>
                        <a:pt x="1242147" y="633345"/>
                      </a:lnTo>
                      <a:lnTo>
                        <a:pt x="1211476" y="672194"/>
                      </a:lnTo>
                      <a:lnTo>
                        <a:pt x="1234990" y="704398"/>
                      </a:lnTo>
                      <a:lnTo>
                        <a:pt x="1154225" y="780563"/>
                      </a:lnTo>
                      <a:lnTo>
                        <a:pt x="1126622" y="776473"/>
                      </a:lnTo>
                      <a:lnTo>
                        <a:pt x="1086239" y="773917"/>
                      </a:lnTo>
                      <a:lnTo>
                        <a:pt x="1067326" y="738135"/>
                      </a:lnTo>
                      <a:lnTo>
                        <a:pt x="1018765" y="738135"/>
                      </a:lnTo>
                      <a:lnTo>
                        <a:pt x="931865" y="722800"/>
                      </a:lnTo>
                      <a:lnTo>
                        <a:pt x="877170" y="662993"/>
                      </a:lnTo>
                      <a:lnTo>
                        <a:pt x="894550" y="604208"/>
                      </a:lnTo>
                      <a:lnTo>
                        <a:pt x="858257" y="554624"/>
                      </a:lnTo>
                      <a:lnTo>
                        <a:pt x="828098" y="579160"/>
                      </a:lnTo>
                      <a:lnTo>
                        <a:pt x="800494" y="553090"/>
                      </a:lnTo>
                      <a:lnTo>
                        <a:pt x="770846" y="520375"/>
                      </a:lnTo>
                      <a:lnTo>
                        <a:pt x="770335" y="507085"/>
                      </a:lnTo>
                      <a:lnTo>
                        <a:pt x="841388" y="488682"/>
                      </a:lnTo>
                      <a:lnTo>
                        <a:pt x="841388" y="471302"/>
                      </a:lnTo>
                      <a:lnTo>
                        <a:pt x="837810" y="452900"/>
                      </a:lnTo>
                      <a:lnTo>
                        <a:pt x="806117" y="400760"/>
                      </a:lnTo>
                      <a:lnTo>
                        <a:pt x="793338" y="401272"/>
                      </a:lnTo>
                      <a:lnTo>
                        <a:pt x="775447" y="386959"/>
                      </a:lnTo>
                      <a:lnTo>
                        <a:pt x="858768" y="371623"/>
                      </a:lnTo>
                      <a:lnTo>
                        <a:pt x="889438" y="354755"/>
                      </a:lnTo>
                      <a:lnTo>
                        <a:pt x="915508" y="388492"/>
                      </a:lnTo>
                      <a:lnTo>
                        <a:pt x="890972" y="415073"/>
                      </a:lnTo>
                      <a:lnTo>
                        <a:pt x="889949" y="429386"/>
                      </a:lnTo>
                      <a:lnTo>
                        <a:pt x="913974" y="457501"/>
                      </a:lnTo>
                      <a:lnTo>
                        <a:pt x="979916" y="480503"/>
                      </a:lnTo>
                      <a:lnTo>
                        <a:pt x="1030010" y="484593"/>
                      </a:lnTo>
                      <a:lnTo>
                        <a:pt x="1062214" y="456990"/>
                      </a:lnTo>
                      <a:lnTo>
                        <a:pt x="1122021" y="477437"/>
                      </a:lnTo>
                      <a:close/>
                      <a:moveTo>
                        <a:pt x="1232434" y="376224"/>
                      </a:moveTo>
                      <a:lnTo>
                        <a:pt x="1222211" y="473858"/>
                      </a:lnTo>
                      <a:lnTo>
                        <a:pt x="1122021" y="477948"/>
                      </a:lnTo>
                      <a:lnTo>
                        <a:pt x="1062214" y="457501"/>
                      </a:lnTo>
                      <a:lnTo>
                        <a:pt x="1030010" y="485104"/>
                      </a:lnTo>
                      <a:lnTo>
                        <a:pt x="979916" y="481015"/>
                      </a:lnTo>
                      <a:lnTo>
                        <a:pt x="913974" y="458012"/>
                      </a:lnTo>
                      <a:lnTo>
                        <a:pt x="889949" y="429897"/>
                      </a:lnTo>
                      <a:lnTo>
                        <a:pt x="890972" y="415584"/>
                      </a:lnTo>
                      <a:lnTo>
                        <a:pt x="914997" y="389003"/>
                      </a:lnTo>
                      <a:lnTo>
                        <a:pt x="888927" y="355266"/>
                      </a:lnTo>
                      <a:lnTo>
                        <a:pt x="922664" y="319484"/>
                      </a:lnTo>
                      <a:lnTo>
                        <a:pt x="941578" y="308238"/>
                      </a:lnTo>
                      <a:lnTo>
                        <a:pt x="963558" y="319995"/>
                      </a:lnTo>
                      <a:lnTo>
                        <a:pt x="993717" y="298014"/>
                      </a:lnTo>
                      <a:lnTo>
                        <a:pt x="995762" y="280123"/>
                      </a:lnTo>
                      <a:lnTo>
                        <a:pt x="972248" y="248431"/>
                      </a:lnTo>
                      <a:lnTo>
                        <a:pt x="953846" y="213160"/>
                      </a:lnTo>
                      <a:lnTo>
                        <a:pt x="967136" y="214182"/>
                      </a:lnTo>
                      <a:lnTo>
                        <a:pt x="1001385" y="158464"/>
                      </a:lnTo>
                      <a:lnTo>
                        <a:pt x="1032566" y="156930"/>
                      </a:lnTo>
                      <a:lnTo>
                        <a:pt x="1075505" y="206003"/>
                      </a:lnTo>
                      <a:lnTo>
                        <a:pt x="1101063" y="198847"/>
                      </a:lnTo>
                      <a:lnTo>
                        <a:pt x="1134289" y="226450"/>
                      </a:lnTo>
                      <a:lnTo>
                        <a:pt x="1198697" y="301081"/>
                      </a:lnTo>
                      <a:lnTo>
                        <a:pt x="1205342" y="319995"/>
                      </a:lnTo>
                      <a:lnTo>
                        <a:pt x="1203298" y="339419"/>
                      </a:lnTo>
                      <a:lnTo>
                        <a:pt x="1232434" y="376224"/>
                      </a:lnTo>
                      <a:close/>
                      <a:moveTo>
                        <a:pt x="2530299" y="2725069"/>
                      </a:moveTo>
                      <a:lnTo>
                        <a:pt x="2443399" y="2751649"/>
                      </a:lnTo>
                      <a:lnTo>
                        <a:pt x="2464868" y="2798677"/>
                      </a:lnTo>
                      <a:lnTo>
                        <a:pt x="2350877" y="2928004"/>
                      </a:lnTo>
                      <a:lnTo>
                        <a:pt x="2403017" y="3067555"/>
                      </a:lnTo>
                      <a:lnTo>
                        <a:pt x="2384615" y="3124806"/>
                      </a:lnTo>
                      <a:lnTo>
                        <a:pt x="2428575" y="3307296"/>
                      </a:lnTo>
                      <a:lnTo>
                        <a:pt x="2417330" y="3322631"/>
                      </a:lnTo>
                      <a:lnTo>
                        <a:pt x="2241487" y="3346656"/>
                      </a:lnTo>
                      <a:lnTo>
                        <a:pt x="2211839" y="3380905"/>
                      </a:lnTo>
                      <a:lnTo>
                        <a:pt x="2062065" y="3321097"/>
                      </a:lnTo>
                      <a:lnTo>
                        <a:pt x="1981300" y="3309340"/>
                      </a:lnTo>
                      <a:lnTo>
                        <a:pt x="1933250" y="3333877"/>
                      </a:lnTo>
                      <a:lnTo>
                        <a:pt x="1878044" y="3313941"/>
                      </a:lnTo>
                      <a:lnTo>
                        <a:pt x="1858108" y="3261290"/>
                      </a:lnTo>
                      <a:lnTo>
                        <a:pt x="1824882" y="3252600"/>
                      </a:lnTo>
                      <a:lnTo>
                        <a:pt x="1756385" y="3262312"/>
                      </a:lnTo>
                      <a:lnTo>
                        <a:pt x="1734916" y="3301161"/>
                      </a:lnTo>
                      <a:lnTo>
                        <a:pt x="1756385" y="3333366"/>
                      </a:lnTo>
                      <a:lnTo>
                        <a:pt x="1800346" y="3313941"/>
                      </a:lnTo>
                      <a:lnTo>
                        <a:pt x="1824882" y="3311896"/>
                      </a:lnTo>
                      <a:lnTo>
                        <a:pt x="1837150" y="3356368"/>
                      </a:lnTo>
                      <a:lnTo>
                        <a:pt x="1822837" y="3371704"/>
                      </a:lnTo>
                      <a:lnTo>
                        <a:pt x="1728270" y="3395218"/>
                      </a:lnTo>
                      <a:lnTo>
                        <a:pt x="1633704" y="3378349"/>
                      </a:lnTo>
                      <a:lnTo>
                        <a:pt x="1490065" y="3396240"/>
                      </a:lnTo>
                      <a:lnTo>
                        <a:pt x="1450193" y="3390617"/>
                      </a:lnTo>
                      <a:lnTo>
                        <a:pt x="1429235" y="3358413"/>
                      </a:lnTo>
                      <a:lnTo>
                        <a:pt x="1432302" y="3217329"/>
                      </a:lnTo>
                      <a:lnTo>
                        <a:pt x="1448149" y="3205572"/>
                      </a:lnTo>
                      <a:lnTo>
                        <a:pt x="1454794" y="3168768"/>
                      </a:lnTo>
                      <a:lnTo>
                        <a:pt x="1443548" y="3100270"/>
                      </a:lnTo>
                      <a:lnTo>
                        <a:pt x="1578497" y="2726602"/>
                      </a:lnTo>
                      <a:lnTo>
                        <a:pt x="1616324" y="2698999"/>
                      </a:lnTo>
                      <a:lnTo>
                        <a:pt x="1626547" y="2660149"/>
                      </a:lnTo>
                      <a:lnTo>
                        <a:pt x="1681243" y="2580406"/>
                      </a:lnTo>
                      <a:lnTo>
                        <a:pt x="1728270" y="2434210"/>
                      </a:lnTo>
                      <a:lnTo>
                        <a:pt x="1752296" y="2406096"/>
                      </a:lnTo>
                      <a:lnTo>
                        <a:pt x="1745139" y="2387694"/>
                      </a:lnTo>
                      <a:lnTo>
                        <a:pt x="1758430" y="2334021"/>
                      </a:lnTo>
                      <a:lnTo>
                        <a:pt x="1733382" y="2280858"/>
                      </a:lnTo>
                      <a:lnTo>
                        <a:pt x="1726737" y="2225140"/>
                      </a:lnTo>
                      <a:lnTo>
                        <a:pt x="1845840" y="2202137"/>
                      </a:lnTo>
                      <a:lnTo>
                        <a:pt x="1858108" y="2264501"/>
                      </a:lnTo>
                      <a:lnTo>
                        <a:pt x="1963409" y="2262967"/>
                      </a:lnTo>
                      <a:lnTo>
                        <a:pt x="1985901" y="2228207"/>
                      </a:lnTo>
                      <a:lnTo>
                        <a:pt x="2016060" y="2228719"/>
                      </a:lnTo>
                      <a:lnTo>
                        <a:pt x="2096825" y="2170445"/>
                      </a:lnTo>
                      <a:lnTo>
                        <a:pt x="2067177" y="2117283"/>
                      </a:lnTo>
                      <a:lnTo>
                        <a:pt x="2176568" y="2095813"/>
                      </a:lnTo>
                      <a:lnTo>
                        <a:pt x="2282380" y="2220028"/>
                      </a:lnTo>
                      <a:lnTo>
                        <a:pt x="2283914" y="2258367"/>
                      </a:lnTo>
                      <a:lnTo>
                        <a:pt x="2312028" y="2266546"/>
                      </a:lnTo>
                      <a:lnTo>
                        <a:pt x="2343721" y="2236897"/>
                      </a:lnTo>
                      <a:lnTo>
                        <a:pt x="2366724" y="2272168"/>
                      </a:lnTo>
                      <a:lnTo>
                        <a:pt x="2435221" y="2523155"/>
                      </a:lnTo>
                      <a:lnTo>
                        <a:pt x="2497072" y="2575294"/>
                      </a:lnTo>
                      <a:lnTo>
                        <a:pt x="2530299" y="2725069"/>
                      </a:lnTo>
                      <a:close/>
                      <a:moveTo>
                        <a:pt x="2436243" y="2524688"/>
                      </a:moveTo>
                      <a:lnTo>
                        <a:pt x="2367746" y="2273702"/>
                      </a:lnTo>
                      <a:lnTo>
                        <a:pt x="2344743" y="2238431"/>
                      </a:lnTo>
                      <a:lnTo>
                        <a:pt x="2313051" y="2268079"/>
                      </a:lnTo>
                      <a:lnTo>
                        <a:pt x="2284936" y="2259900"/>
                      </a:lnTo>
                      <a:lnTo>
                        <a:pt x="2283403" y="2221562"/>
                      </a:lnTo>
                      <a:lnTo>
                        <a:pt x="2177590" y="2097347"/>
                      </a:lnTo>
                      <a:lnTo>
                        <a:pt x="2068199" y="2118816"/>
                      </a:lnTo>
                      <a:lnTo>
                        <a:pt x="2097847" y="2171978"/>
                      </a:lnTo>
                      <a:lnTo>
                        <a:pt x="2017082" y="2230252"/>
                      </a:lnTo>
                      <a:lnTo>
                        <a:pt x="1986923" y="2229741"/>
                      </a:lnTo>
                      <a:lnTo>
                        <a:pt x="1993057" y="2145397"/>
                      </a:lnTo>
                      <a:lnTo>
                        <a:pt x="1931717" y="1933260"/>
                      </a:lnTo>
                      <a:lnTo>
                        <a:pt x="2075356" y="1906168"/>
                      </a:lnTo>
                      <a:lnTo>
                        <a:pt x="2089157" y="1926103"/>
                      </a:lnTo>
                      <a:lnTo>
                        <a:pt x="2128007" y="1918947"/>
                      </a:lnTo>
                      <a:lnTo>
                        <a:pt x="2123406" y="1849939"/>
                      </a:lnTo>
                      <a:lnTo>
                        <a:pt x="2175545" y="1848405"/>
                      </a:lnTo>
                      <a:lnTo>
                        <a:pt x="2174012" y="1759461"/>
                      </a:lnTo>
                      <a:lnTo>
                        <a:pt x="2211327" y="1733902"/>
                      </a:lnTo>
                      <a:lnTo>
                        <a:pt x="2254777" y="1749237"/>
                      </a:lnTo>
                      <a:lnTo>
                        <a:pt x="2338098" y="1651092"/>
                      </a:lnTo>
                      <a:lnTo>
                        <a:pt x="2500139" y="1756905"/>
                      </a:lnTo>
                      <a:lnTo>
                        <a:pt x="2523653" y="1815690"/>
                      </a:lnTo>
                      <a:lnTo>
                        <a:pt x="2565058" y="1840738"/>
                      </a:lnTo>
                      <a:lnTo>
                        <a:pt x="2609019" y="1802400"/>
                      </a:lnTo>
                      <a:lnTo>
                        <a:pt x="2563525" y="1772751"/>
                      </a:lnTo>
                      <a:lnTo>
                        <a:pt x="2561991" y="1756394"/>
                      </a:lnTo>
                      <a:lnTo>
                        <a:pt x="2694384" y="1738503"/>
                      </a:lnTo>
                      <a:lnTo>
                        <a:pt x="2722499" y="1794221"/>
                      </a:lnTo>
                      <a:lnTo>
                        <a:pt x="2760837" y="1787064"/>
                      </a:lnTo>
                      <a:lnTo>
                        <a:pt x="2762370" y="1743103"/>
                      </a:lnTo>
                      <a:lnTo>
                        <a:pt x="2741923" y="1694542"/>
                      </a:lnTo>
                      <a:lnTo>
                        <a:pt x="2793552" y="1640357"/>
                      </a:lnTo>
                      <a:lnTo>
                        <a:pt x="2840580" y="1728790"/>
                      </a:lnTo>
                      <a:lnTo>
                        <a:pt x="2986263" y="1684829"/>
                      </a:lnTo>
                      <a:lnTo>
                        <a:pt x="3073163" y="1740547"/>
                      </a:lnTo>
                      <a:lnTo>
                        <a:pt x="3105877" y="1868852"/>
                      </a:lnTo>
                      <a:lnTo>
                        <a:pt x="3233159" y="1970576"/>
                      </a:lnTo>
                      <a:lnTo>
                        <a:pt x="3214246" y="2051341"/>
                      </a:lnTo>
                      <a:lnTo>
                        <a:pt x="3190221" y="2059009"/>
                      </a:lnTo>
                      <a:lnTo>
                        <a:pt x="3351240" y="2287504"/>
                      </a:lnTo>
                      <a:lnTo>
                        <a:pt x="3394178" y="2281881"/>
                      </a:lnTo>
                      <a:lnTo>
                        <a:pt x="3585867" y="2434210"/>
                      </a:lnTo>
                      <a:lnTo>
                        <a:pt x="3588934" y="2475104"/>
                      </a:lnTo>
                      <a:lnTo>
                        <a:pt x="3628806" y="2497085"/>
                      </a:lnTo>
                      <a:lnTo>
                        <a:pt x="3655387" y="2482772"/>
                      </a:lnTo>
                      <a:lnTo>
                        <a:pt x="3768867" y="2587563"/>
                      </a:lnTo>
                      <a:lnTo>
                        <a:pt x="3762222" y="2691842"/>
                      </a:lnTo>
                      <a:lnTo>
                        <a:pt x="3720305" y="2737848"/>
                      </a:lnTo>
                      <a:lnTo>
                        <a:pt x="3646697" y="2708711"/>
                      </a:lnTo>
                      <a:lnTo>
                        <a:pt x="3625228" y="2832415"/>
                      </a:lnTo>
                      <a:lnTo>
                        <a:pt x="3413603" y="2979122"/>
                      </a:lnTo>
                      <a:lnTo>
                        <a:pt x="3408491" y="3006214"/>
                      </a:lnTo>
                      <a:lnTo>
                        <a:pt x="3503569" y="3118673"/>
                      </a:lnTo>
                      <a:lnTo>
                        <a:pt x="3465231" y="3208639"/>
                      </a:lnTo>
                      <a:lnTo>
                        <a:pt x="3513792" y="3205572"/>
                      </a:lnTo>
                      <a:lnTo>
                        <a:pt x="3539351" y="3280714"/>
                      </a:lnTo>
                      <a:lnTo>
                        <a:pt x="3506636" y="3359435"/>
                      </a:lnTo>
                      <a:lnTo>
                        <a:pt x="3421270" y="3281737"/>
                      </a:lnTo>
                      <a:lnTo>
                        <a:pt x="3430471" y="3263846"/>
                      </a:lnTo>
                      <a:lnTo>
                        <a:pt x="3393156" y="3241354"/>
                      </a:lnTo>
                      <a:lnTo>
                        <a:pt x="3337438" y="3272025"/>
                      </a:lnTo>
                      <a:lnTo>
                        <a:pt x="3307279" y="3276625"/>
                      </a:lnTo>
                      <a:lnTo>
                        <a:pt x="3286321" y="3248511"/>
                      </a:lnTo>
                      <a:lnTo>
                        <a:pt x="3185109" y="3244932"/>
                      </a:lnTo>
                      <a:lnTo>
                        <a:pt x="3198911" y="3299117"/>
                      </a:lnTo>
                      <a:lnTo>
                        <a:pt x="3160062" y="3306273"/>
                      </a:lnTo>
                      <a:lnTo>
                        <a:pt x="2984730" y="3325698"/>
                      </a:lnTo>
                      <a:lnTo>
                        <a:pt x="2958660" y="3374771"/>
                      </a:lnTo>
                      <a:lnTo>
                        <a:pt x="2743968" y="3442757"/>
                      </a:lnTo>
                      <a:lnTo>
                        <a:pt x="2685694" y="3381927"/>
                      </a:lnTo>
                      <a:lnTo>
                        <a:pt x="2534899" y="3351768"/>
                      </a:lnTo>
                      <a:lnTo>
                        <a:pt x="2548701" y="3416176"/>
                      </a:lnTo>
                      <a:lnTo>
                        <a:pt x="2494517" y="3512788"/>
                      </a:lnTo>
                      <a:lnTo>
                        <a:pt x="2438288" y="3500008"/>
                      </a:lnTo>
                      <a:lnTo>
                        <a:pt x="2314073" y="3382949"/>
                      </a:lnTo>
                      <a:lnTo>
                        <a:pt x="2212350" y="3382438"/>
                      </a:lnTo>
                      <a:lnTo>
                        <a:pt x="2241998" y="3348189"/>
                      </a:lnTo>
                      <a:lnTo>
                        <a:pt x="2417841" y="3324164"/>
                      </a:lnTo>
                      <a:lnTo>
                        <a:pt x="2429086" y="3308829"/>
                      </a:lnTo>
                      <a:lnTo>
                        <a:pt x="2385126" y="3126340"/>
                      </a:lnTo>
                      <a:lnTo>
                        <a:pt x="2403528" y="3069089"/>
                      </a:lnTo>
                      <a:lnTo>
                        <a:pt x="2351389" y="2929538"/>
                      </a:lnTo>
                      <a:lnTo>
                        <a:pt x="2465380" y="2800211"/>
                      </a:lnTo>
                      <a:lnTo>
                        <a:pt x="2443910" y="2753183"/>
                      </a:lnTo>
                      <a:lnTo>
                        <a:pt x="2530810" y="2726602"/>
                      </a:lnTo>
                      <a:lnTo>
                        <a:pt x="2498606" y="2577850"/>
                      </a:lnTo>
                      <a:lnTo>
                        <a:pt x="2436243" y="2524688"/>
                      </a:lnTo>
                      <a:close/>
                      <a:moveTo>
                        <a:pt x="3499991" y="459545"/>
                      </a:moveTo>
                      <a:lnTo>
                        <a:pt x="3504591" y="436543"/>
                      </a:lnTo>
                      <a:lnTo>
                        <a:pt x="3464720" y="376735"/>
                      </a:lnTo>
                      <a:lnTo>
                        <a:pt x="3450407" y="358844"/>
                      </a:lnTo>
                      <a:lnTo>
                        <a:pt x="3431494" y="361911"/>
                      </a:lnTo>
                      <a:lnTo>
                        <a:pt x="3409513" y="390537"/>
                      </a:lnTo>
                      <a:lnTo>
                        <a:pt x="3372198" y="371623"/>
                      </a:lnTo>
                      <a:lnTo>
                        <a:pt x="3322614" y="416607"/>
                      </a:lnTo>
                      <a:lnTo>
                        <a:pt x="3327215" y="497372"/>
                      </a:lnTo>
                      <a:lnTo>
                        <a:pt x="3310857" y="528043"/>
                      </a:lnTo>
                      <a:lnTo>
                        <a:pt x="3322103" y="537755"/>
                      </a:lnTo>
                      <a:lnTo>
                        <a:pt x="3391622" y="510152"/>
                      </a:lnTo>
                      <a:lnTo>
                        <a:pt x="3483122" y="513219"/>
                      </a:lnTo>
                      <a:lnTo>
                        <a:pt x="3510725" y="545423"/>
                      </a:lnTo>
                      <a:lnTo>
                        <a:pt x="3538329" y="501462"/>
                      </a:lnTo>
                      <a:lnTo>
                        <a:pt x="3536284" y="472836"/>
                      </a:lnTo>
                      <a:lnTo>
                        <a:pt x="3499991" y="459545"/>
                      </a:lnTo>
                      <a:close/>
                    </a:path>
                  </a:pathLst>
                </a:custGeom>
                <a:noFill/>
                <a:ln w="12812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89" name="Freihandform: Form 88">
                <a:extLst>
                  <a:ext uri="{FF2B5EF4-FFF2-40B4-BE49-F238E27FC236}">
                    <a16:creationId xmlns:a16="http://schemas.microsoft.com/office/drawing/2014/main" id="{654F0DB7-6C27-422A-AC2E-C141ADAC7E3C}"/>
                  </a:ext>
                </a:extLst>
              </p:cNvPr>
              <p:cNvSpPr/>
              <p:nvPr/>
            </p:nvSpPr>
            <p:spPr>
              <a:xfrm>
                <a:off x="5909526" y="1462115"/>
                <a:ext cx="457498" cy="2214916"/>
              </a:xfrm>
              <a:custGeom>
                <a:avLst/>
                <a:gdLst>
                  <a:gd name="connsiteX0" fmla="*/ 457498 w 457498"/>
                  <a:gd name="connsiteY0" fmla="*/ 0 h 2214916"/>
                  <a:gd name="connsiteX1" fmla="*/ 412515 w 457498"/>
                  <a:gd name="connsiteY1" fmla="*/ 259676 h 2214916"/>
                  <a:gd name="connsiteX2" fmla="*/ 400758 w 457498"/>
                  <a:gd name="connsiteY2" fmla="*/ 371623 h 2214916"/>
                  <a:gd name="connsiteX3" fmla="*/ 300058 w 457498"/>
                  <a:gd name="connsiteY3" fmla="*/ 375202 h 2214916"/>
                  <a:gd name="connsiteX4" fmla="*/ 276544 w 457498"/>
                  <a:gd name="connsiteY4" fmla="*/ 464146 h 2214916"/>
                  <a:gd name="connsiteX5" fmla="*/ 368043 w 457498"/>
                  <a:gd name="connsiteY5" fmla="*/ 492772 h 2214916"/>
                  <a:gd name="connsiteX6" fmla="*/ 384401 w 457498"/>
                  <a:gd name="connsiteY6" fmla="*/ 476925 h 2214916"/>
                  <a:gd name="connsiteX7" fmla="*/ 420694 w 457498"/>
                  <a:gd name="connsiteY7" fmla="*/ 531621 h 2214916"/>
                  <a:gd name="connsiteX8" fmla="*/ 390024 w 457498"/>
                  <a:gd name="connsiteY8" fmla="*/ 570470 h 2214916"/>
                  <a:gd name="connsiteX9" fmla="*/ 413027 w 457498"/>
                  <a:gd name="connsiteY9" fmla="*/ 602674 h 2214916"/>
                  <a:gd name="connsiteX10" fmla="*/ 332261 w 457498"/>
                  <a:gd name="connsiteY10" fmla="*/ 678839 h 2214916"/>
                  <a:gd name="connsiteX11" fmla="*/ 304658 w 457498"/>
                  <a:gd name="connsiteY11" fmla="*/ 674750 h 2214916"/>
                  <a:gd name="connsiteX12" fmla="*/ 271432 w 457498"/>
                  <a:gd name="connsiteY12" fmla="*/ 718200 h 2214916"/>
                  <a:gd name="connsiteX13" fmla="*/ 326127 w 457498"/>
                  <a:gd name="connsiteY13" fmla="*/ 752959 h 2214916"/>
                  <a:gd name="connsiteX14" fmla="*/ 293924 w 457498"/>
                  <a:gd name="connsiteY14" fmla="*/ 811233 h 2214916"/>
                  <a:gd name="connsiteX15" fmla="*/ 195267 w 457498"/>
                  <a:gd name="connsiteY15" fmla="*/ 830658 h 2214916"/>
                  <a:gd name="connsiteX16" fmla="*/ 83321 w 457498"/>
                  <a:gd name="connsiteY16" fmla="*/ 803054 h 2214916"/>
                  <a:gd name="connsiteX17" fmla="*/ 25047 w 457498"/>
                  <a:gd name="connsiteY17" fmla="*/ 845482 h 2214916"/>
                  <a:gd name="connsiteX18" fmla="*/ 74120 w 457498"/>
                  <a:gd name="connsiteY18" fmla="*/ 977876 h 2214916"/>
                  <a:gd name="connsiteX19" fmla="*/ 121148 w 457498"/>
                  <a:gd name="connsiteY19" fmla="*/ 1020303 h 2214916"/>
                  <a:gd name="connsiteX20" fmla="*/ 117569 w 457498"/>
                  <a:gd name="connsiteY20" fmla="*/ 1126628 h 2214916"/>
                  <a:gd name="connsiteX21" fmla="*/ 0 w 457498"/>
                  <a:gd name="connsiteY21" fmla="*/ 1289692 h 2214916"/>
                  <a:gd name="connsiteX22" fmla="*/ 7156 w 457498"/>
                  <a:gd name="connsiteY22" fmla="*/ 1320362 h 2214916"/>
                  <a:gd name="connsiteX23" fmla="*/ 44472 w 457498"/>
                  <a:gd name="connsiteY23" fmla="*/ 1330075 h 2214916"/>
                  <a:gd name="connsiteX24" fmla="*/ 72586 w 457498"/>
                  <a:gd name="connsiteY24" fmla="*/ 1417997 h 2214916"/>
                  <a:gd name="connsiteX25" fmla="*/ 25047 w 457498"/>
                  <a:gd name="connsiteY25" fmla="*/ 1433332 h 2214916"/>
                  <a:gd name="connsiteX26" fmla="*/ 42427 w 457498"/>
                  <a:gd name="connsiteY26" fmla="*/ 1470136 h 2214916"/>
                  <a:gd name="connsiteX27" fmla="*/ 83832 w 457498"/>
                  <a:gd name="connsiteY27" fmla="*/ 1799844 h 2214916"/>
                  <a:gd name="connsiteX28" fmla="*/ 79232 w 457498"/>
                  <a:gd name="connsiteY28" fmla="*/ 1884187 h 2214916"/>
                  <a:gd name="connsiteX29" fmla="*/ 115014 w 457498"/>
                  <a:gd name="connsiteY29" fmla="*/ 1941439 h 2214916"/>
                  <a:gd name="connsiteX30" fmla="*/ 223893 w 457498"/>
                  <a:gd name="connsiteY30" fmla="*/ 2001246 h 2214916"/>
                  <a:gd name="connsiteX31" fmla="*/ 205491 w 457498"/>
                  <a:gd name="connsiteY31" fmla="*/ 2074344 h 2214916"/>
                  <a:gd name="connsiteX32" fmla="*/ 155396 w 457498"/>
                  <a:gd name="connsiteY32" fmla="*/ 2149487 h 2214916"/>
                  <a:gd name="connsiteX33" fmla="*/ 161019 w 457498"/>
                  <a:gd name="connsiteY33" fmla="*/ 2214917 h 2214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57498" h="2214916">
                    <a:moveTo>
                      <a:pt x="457498" y="0"/>
                    </a:moveTo>
                    <a:lnTo>
                      <a:pt x="412515" y="259676"/>
                    </a:lnTo>
                    <a:lnTo>
                      <a:pt x="400758" y="371623"/>
                    </a:lnTo>
                    <a:lnTo>
                      <a:pt x="300058" y="375202"/>
                    </a:lnTo>
                    <a:lnTo>
                      <a:pt x="276544" y="464146"/>
                    </a:lnTo>
                    <a:lnTo>
                      <a:pt x="368043" y="492772"/>
                    </a:lnTo>
                    <a:lnTo>
                      <a:pt x="384401" y="476925"/>
                    </a:lnTo>
                    <a:lnTo>
                      <a:pt x="420694" y="531621"/>
                    </a:lnTo>
                    <a:lnTo>
                      <a:pt x="390024" y="570470"/>
                    </a:lnTo>
                    <a:lnTo>
                      <a:pt x="413027" y="602674"/>
                    </a:lnTo>
                    <a:lnTo>
                      <a:pt x="332261" y="678839"/>
                    </a:lnTo>
                    <a:lnTo>
                      <a:pt x="304658" y="674750"/>
                    </a:lnTo>
                    <a:lnTo>
                      <a:pt x="271432" y="718200"/>
                    </a:lnTo>
                    <a:lnTo>
                      <a:pt x="326127" y="752959"/>
                    </a:lnTo>
                    <a:lnTo>
                      <a:pt x="293924" y="811233"/>
                    </a:lnTo>
                    <a:lnTo>
                      <a:pt x="195267" y="830658"/>
                    </a:lnTo>
                    <a:lnTo>
                      <a:pt x="83321" y="803054"/>
                    </a:lnTo>
                    <a:lnTo>
                      <a:pt x="25047" y="845482"/>
                    </a:lnTo>
                    <a:lnTo>
                      <a:pt x="74120" y="977876"/>
                    </a:lnTo>
                    <a:lnTo>
                      <a:pt x="121148" y="1020303"/>
                    </a:lnTo>
                    <a:lnTo>
                      <a:pt x="117569" y="1126628"/>
                    </a:lnTo>
                    <a:lnTo>
                      <a:pt x="0" y="1289692"/>
                    </a:lnTo>
                    <a:lnTo>
                      <a:pt x="7156" y="1320362"/>
                    </a:lnTo>
                    <a:lnTo>
                      <a:pt x="44472" y="1330075"/>
                    </a:lnTo>
                    <a:lnTo>
                      <a:pt x="72586" y="1417997"/>
                    </a:lnTo>
                    <a:lnTo>
                      <a:pt x="25047" y="1433332"/>
                    </a:lnTo>
                    <a:lnTo>
                      <a:pt x="42427" y="1470136"/>
                    </a:lnTo>
                    <a:moveTo>
                      <a:pt x="83832" y="1799844"/>
                    </a:moveTo>
                    <a:lnTo>
                      <a:pt x="79232" y="1884187"/>
                    </a:lnTo>
                    <a:lnTo>
                      <a:pt x="115014" y="1941439"/>
                    </a:lnTo>
                    <a:lnTo>
                      <a:pt x="223893" y="2001246"/>
                    </a:lnTo>
                    <a:lnTo>
                      <a:pt x="205491" y="2074344"/>
                    </a:lnTo>
                    <a:lnTo>
                      <a:pt x="155396" y="2149487"/>
                    </a:lnTo>
                    <a:lnTo>
                      <a:pt x="161019" y="2214917"/>
                    </a:lnTo>
                  </a:path>
                </a:pathLst>
              </a:custGeom>
              <a:noFill/>
              <a:ln w="16649" cap="flat">
                <a:solidFill>
                  <a:srgbClr val="B3B2B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0" name="Freihandform: Form 89">
                <a:extLst>
                  <a:ext uri="{FF2B5EF4-FFF2-40B4-BE49-F238E27FC236}">
                    <a16:creationId xmlns:a16="http://schemas.microsoft.com/office/drawing/2014/main" id="{7076538C-8344-4744-ABD5-A90E116B9B21}"/>
                  </a:ext>
                </a:extLst>
              </p:cNvPr>
              <p:cNvSpPr/>
              <p:nvPr/>
            </p:nvSpPr>
            <p:spPr>
              <a:xfrm>
                <a:off x="5899302" y="2924073"/>
                <a:ext cx="65941" cy="18402"/>
              </a:xfrm>
              <a:custGeom>
                <a:avLst/>
                <a:gdLst>
                  <a:gd name="connsiteX0" fmla="*/ 0 w 65941"/>
                  <a:gd name="connsiteY0" fmla="*/ 0 h 18402"/>
                  <a:gd name="connsiteX1" fmla="*/ 61341 w 65941"/>
                  <a:gd name="connsiteY1" fmla="*/ 3578 h 18402"/>
                  <a:gd name="connsiteX2" fmla="*/ 65941 w 65941"/>
                  <a:gd name="connsiteY2" fmla="*/ 13802 h 18402"/>
                  <a:gd name="connsiteX3" fmla="*/ 25047 w 65941"/>
                  <a:gd name="connsiteY3" fmla="*/ 18402 h 18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5941" h="18402">
                    <a:moveTo>
                      <a:pt x="0" y="0"/>
                    </a:moveTo>
                    <a:lnTo>
                      <a:pt x="61341" y="3578"/>
                    </a:lnTo>
                    <a:lnTo>
                      <a:pt x="65941" y="13802"/>
                    </a:lnTo>
                    <a:lnTo>
                      <a:pt x="25047" y="18402"/>
                    </a:lnTo>
                    <a:close/>
                  </a:path>
                </a:pathLst>
              </a:custGeom>
              <a:solidFill>
                <a:srgbClr val="FFFFFF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: Form 90">
                <a:extLst>
                  <a:ext uri="{FF2B5EF4-FFF2-40B4-BE49-F238E27FC236}">
                    <a16:creationId xmlns:a16="http://schemas.microsoft.com/office/drawing/2014/main" id="{FEA8DE42-D774-45D8-9667-FB1766E8BB5F}"/>
                  </a:ext>
                </a:extLst>
              </p:cNvPr>
              <p:cNvSpPr/>
              <p:nvPr/>
            </p:nvSpPr>
            <p:spPr>
              <a:xfrm>
                <a:off x="5973422" y="3257869"/>
                <a:ext cx="28625" cy="26069"/>
              </a:xfrm>
              <a:custGeom>
                <a:avLst/>
                <a:gdLst>
                  <a:gd name="connsiteX0" fmla="*/ 0 w 28625"/>
                  <a:gd name="connsiteY0" fmla="*/ 3067 h 26069"/>
                  <a:gd name="connsiteX1" fmla="*/ 27092 w 28625"/>
                  <a:gd name="connsiteY1" fmla="*/ 26070 h 26069"/>
                  <a:gd name="connsiteX2" fmla="*/ 28626 w 28625"/>
                  <a:gd name="connsiteY2" fmla="*/ 0 h 26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625" h="26069">
                    <a:moveTo>
                      <a:pt x="0" y="3067"/>
                    </a:moveTo>
                    <a:lnTo>
                      <a:pt x="27092" y="26070"/>
                    </a:lnTo>
                    <a:lnTo>
                      <a:pt x="28626" y="0"/>
                    </a:lnTo>
                    <a:close/>
                  </a:path>
                </a:pathLst>
              </a:custGeom>
              <a:solidFill>
                <a:srgbClr val="FFFFFF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Freihandform: Form 91">
                <a:extLst>
                  <a:ext uri="{FF2B5EF4-FFF2-40B4-BE49-F238E27FC236}">
                    <a16:creationId xmlns:a16="http://schemas.microsoft.com/office/drawing/2014/main" id="{C764BB90-FD4E-4ADD-B5D3-EB16EE990F5D}"/>
                  </a:ext>
                </a:extLst>
              </p:cNvPr>
              <p:cNvSpPr/>
              <p:nvPr/>
            </p:nvSpPr>
            <p:spPr>
              <a:xfrm>
                <a:off x="6049076" y="3657607"/>
                <a:ext cx="36804" cy="31181"/>
              </a:xfrm>
              <a:custGeom>
                <a:avLst/>
                <a:gdLst>
                  <a:gd name="connsiteX0" fmla="*/ 8179 w 36804"/>
                  <a:gd name="connsiteY0" fmla="*/ 0 h 31181"/>
                  <a:gd name="connsiteX1" fmla="*/ 36804 w 36804"/>
                  <a:gd name="connsiteY1" fmla="*/ 17891 h 31181"/>
                  <a:gd name="connsiteX2" fmla="*/ 22492 w 36804"/>
                  <a:gd name="connsiteY2" fmla="*/ 31181 h 31181"/>
                  <a:gd name="connsiteX3" fmla="*/ 0 w 36804"/>
                  <a:gd name="connsiteY3" fmla="*/ 19425 h 3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804" h="31181">
                    <a:moveTo>
                      <a:pt x="8179" y="0"/>
                    </a:moveTo>
                    <a:lnTo>
                      <a:pt x="36804" y="17891"/>
                    </a:lnTo>
                    <a:lnTo>
                      <a:pt x="22492" y="31181"/>
                    </a:lnTo>
                    <a:lnTo>
                      <a:pt x="0" y="19425"/>
                    </a:lnTo>
                    <a:close/>
                  </a:path>
                </a:pathLst>
              </a:custGeom>
              <a:solidFill>
                <a:srgbClr val="FFFFFF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Freihandform: Form 92">
                <a:extLst>
                  <a:ext uri="{FF2B5EF4-FFF2-40B4-BE49-F238E27FC236}">
                    <a16:creationId xmlns:a16="http://schemas.microsoft.com/office/drawing/2014/main" id="{61AC83CE-79AC-44CF-80A3-1758B0DE50F0}"/>
                  </a:ext>
                </a:extLst>
              </p:cNvPr>
              <p:cNvSpPr/>
              <p:nvPr/>
            </p:nvSpPr>
            <p:spPr>
              <a:xfrm>
                <a:off x="6348111" y="1449336"/>
                <a:ext cx="58273" cy="26581"/>
              </a:xfrm>
              <a:custGeom>
                <a:avLst/>
                <a:gdLst>
                  <a:gd name="connsiteX0" fmla="*/ 58274 w 58273"/>
                  <a:gd name="connsiteY0" fmla="*/ 26581 h 26581"/>
                  <a:gd name="connsiteX1" fmla="*/ 0 w 58273"/>
                  <a:gd name="connsiteY1" fmla="*/ 11757 h 26581"/>
                  <a:gd name="connsiteX2" fmla="*/ 6134 w 58273"/>
                  <a:gd name="connsiteY2" fmla="*/ 0 h 26581"/>
                  <a:gd name="connsiteX3" fmla="*/ 37315 w 58273"/>
                  <a:gd name="connsiteY3" fmla="*/ 7156 h 26581"/>
                  <a:gd name="connsiteX4" fmla="*/ 58274 w 58273"/>
                  <a:gd name="connsiteY4" fmla="*/ 19936 h 26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8273" h="26581">
                    <a:moveTo>
                      <a:pt x="58274" y="26581"/>
                    </a:moveTo>
                    <a:lnTo>
                      <a:pt x="0" y="11757"/>
                    </a:lnTo>
                    <a:lnTo>
                      <a:pt x="6134" y="0"/>
                    </a:lnTo>
                    <a:lnTo>
                      <a:pt x="37315" y="7156"/>
                    </a:lnTo>
                    <a:lnTo>
                      <a:pt x="58274" y="19936"/>
                    </a:lnTo>
                    <a:close/>
                  </a:path>
                </a:pathLst>
              </a:custGeom>
              <a:solidFill>
                <a:srgbClr val="FFFFFF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4" name="Freihandform: Form 93">
                <a:extLst>
                  <a:ext uri="{FF2B5EF4-FFF2-40B4-BE49-F238E27FC236}">
                    <a16:creationId xmlns:a16="http://schemas.microsoft.com/office/drawing/2014/main" id="{3E6D2008-52AD-49DB-A536-2EC1DEE57999}"/>
                  </a:ext>
                </a:extLst>
              </p:cNvPr>
              <p:cNvSpPr/>
              <p:nvPr/>
            </p:nvSpPr>
            <p:spPr>
              <a:xfrm>
                <a:off x="7745653" y="1556682"/>
                <a:ext cx="19424" cy="12268"/>
              </a:xfrm>
              <a:custGeom>
                <a:avLst/>
                <a:gdLst>
                  <a:gd name="connsiteX0" fmla="*/ 19424 w 19424"/>
                  <a:gd name="connsiteY0" fmla="*/ 4601 h 12268"/>
                  <a:gd name="connsiteX1" fmla="*/ 0 w 19424"/>
                  <a:gd name="connsiteY1" fmla="*/ 0 h 12268"/>
                  <a:gd name="connsiteX2" fmla="*/ 3067 w 19424"/>
                  <a:gd name="connsiteY2" fmla="*/ 10735 h 12268"/>
                  <a:gd name="connsiteX3" fmla="*/ 11246 w 19424"/>
                  <a:gd name="connsiteY3" fmla="*/ 12268 h 12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424" h="12268">
                    <a:moveTo>
                      <a:pt x="19424" y="4601"/>
                    </a:moveTo>
                    <a:lnTo>
                      <a:pt x="0" y="0"/>
                    </a:lnTo>
                    <a:lnTo>
                      <a:pt x="3067" y="10735"/>
                    </a:lnTo>
                    <a:lnTo>
                      <a:pt x="11246" y="12268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5" name="Freihandform: Form 94">
                <a:extLst>
                  <a:ext uri="{FF2B5EF4-FFF2-40B4-BE49-F238E27FC236}">
                    <a16:creationId xmlns:a16="http://schemas.microsoft.com/office/drawing/2014/main" id="{5267329A-4368-4571-B68C-88E7E2255A52}"/>
                  </a:ext>
                </a:extLst>
              </p:cNvPr>
              <p:cNvSpPr/>
              <p:nvPr/>
            </p:nvSpPr>
            <p:spPr>
              <a:xfrm>
                <a:off x="6761137" y="3933130"/>
                <a:ext cx="21980" cy="31692"/>
              </a:xfrm>
              <a:custGeom>
                <a:avLst/>
                <a:gdLst>
                  <a:gd name="connsiteX0" fmla="*/ 0 w 21980"/>
                  <a:gd name="connsiteY0" fmla="*/ 31693 h 31692"/>
                  <a:gd name="connsiteX1" fmla="*/ 20447 w 21980"/>
                  <a:gd name="connsiteY1" fmla="*/ 0 h 31692"/>
                  <a:gd name="connsiteX2" fmla="*/ 21980 w 21980"/>
                  <a:gd name="connsiteY2" fmla="*/ 10223 h 31692"/>
                  <a:gd name="connsiteX3" fmla="*/ 14313 w 21980"/>
                  <a:gd name="connsiteY3" fmla="*/ 27604 h 31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980" h="31692">
                    <a:moveTo>
                      <a:pt x="0" y="31693"/>
                    </a:moveTo>
                    <a:lnTo>
                      <a:pt x="20447" y="0"/>
                    </a:lnTo>
                    <a:lnTo>
                      <a:pt x="21980" y="10223"/>
                    </a:lnTo>
                    <a:lnTo>
                      <a:pt x="14313" y="27604"/>
                    </a:lnTo>
                    <a:close/>
                  </a:path>
                </a:pathLst>
              </a:custGeom>
              <a:solidFill>
                <a:srgbClr val="DBD9D5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grpSp>
            <p:nvGrpSpPr>
              <p:cNvPr id="96" name="Grafik 381">
                <a:extLst>
                  <a:ext uri="{FF2B5EF4-FFF2-40B4-BE49-F238E27FC236}">
                    <a16:creationId xmlns:a16="http://schemas.microsoft.com/office/drawing/2014/main" id="{A6233F08-5276-4353-947C-47A561CA1152}"/>
                  </a:ext>
                </a:extLst>
              </p:cNvPr>
              <p:cNvGrpSpPr/>
              <p:nvPr/>
            </p:nvGrpSpPr>
            <p:grpSpPr>
              <a:xfrm>
                <a:off x="6048053" y="989790"/>
                <a:ext cx="2908258" cy="3602753"/>
                <a:chOff x="6048053" y="989790"/>
                <a:chExt cx="2908258" cy="3602753"/>
              </a:xfrm>
              <a:solidFill>
                <a:srgbClr val="DBD9D5"/>
              </a:solidFill>
            </p:grpSpPr>
            <p:sp>
              <p:nvSpPr>
                <p:cNvPr id="118" name="Freihandform: Form 117">
                  <a:extLst>
                    <a:ext uri="{FF2B5EF4-FFF2-40B4-BE49-F238E27FC236}">
                      <a16:creationId xmlns:a16="http://schemas.microsoft.com/office/drawing/2014/main" id="{EC3FFAE9-1127-47A9-A1E5-D7EB744099A2}"/>
                    </a:ext>
                  </a:extLst>
                </p:cNvPr>
                <p:cNvSpPr/>
                <p:nvPr/>
              </p:nvSpPr>
              <p:spPr>
                <a:xfrm>
                  <a:off x="7907695" y="2074501"/>
                  <a:ext cx="173798" cy="29136"/>
                </a:xfrm>
                <a:custGeom>
                  <a:avLst/>
                  <a:gdLst>
                    <a:gd name="connsiteX0" fmla="*/ 161530 w 173798"/>
                    <a:gd name="connsiteY0" fmla="*/ 16869 h 29136"/>
                    <a:gd name="connsiteX1" fmla="*/ 165620 w 173798"/>
                    <a:gd name="connsiteY1" fmla="*/ 10735 h 29136"/>
                    <a:gd name="connsiteX2" fmla="*/ 169709 w 173798"/>
                    <a:gd name="connsiteY2" fmla="*/ 16358 h 29136"/>
                    <a:gd name="connsiteX3" fmla="*/ 169198 w 173798"/>
                    <a:gd name="connsiteY3" fmla="*/ 16869 h 29136"/>
                    <a:gd name="connsiteX4" fmla="*/ 161530 w 173798"/>
                    <a:gd name="connsiteY4" fmla="*/ 16869 h 29136"/>
                    <a:gd name="connsiteX5" fmla="*/ 173798 w 173798"/>
                    <a:gd name="connsiteY5" fmla="*/ 15846 h 29136"/>
                    <a:gd name="connsiteX6" fmla="*/ 166131 w 173798"/>
                    <a:gd name="connsiteY6" fmla="*/ 7156 h 29136"/>
                    <a:gd name="connsiteX7" fmla="*/ 157952 w 173798"/>
                    <a:gd name="connsiteY7" fmla="*/ 17380 h 29136"/>
                    <a:gd name="connsiteX8" fmla="*/ 157952 w 173798"/>
                    <a:gd name="connsiteY8" fmla="*/ 18913 h 29136"/>
                    <a:gd name="connsiteX9" fmla="*/ 166642 w 173798"/>
                    <a:gd name="connsiteY9" fmla="*/ 29137 h 29136"/>
                    <a:gd name="connsiteX10" fmla="*/ 172776 w 173798"/>
                    <a:gd name="connsiteY10" fmla="*/ 28115 h 29136"/>
                    <a:gd name="connsiteX11" fmla="*/ 173287 w 173798"/>
                    <a:gd name="connsiteY11" fmla="*/ 27603 h 29136"/>
                    <a:gd name="connsiteX12" fmla="*/ 173287 w 173798"/>
                    <a:gd name="connsiteY12" fmla="*/ 26581 h 29136"/>
                    <a:gd name="connsiteX13" fmla="*/ 172776 w 173798"/>
                    <a:gd name="connsiteY13" fmla="*/ 25559 h 29136"/>
                    <a:gd name="connsiteX14" fmla="*/ 172265 w 173798"/>
                    <a:gd name="connsiteY14" fmla="*/ 25047 h 29136"/>
                    <a:gd name="connsiteX15" fmla="*/ 171754 w 173798"/>
                    <a:gd name="connsiteY15" fmla="*/ 25047 h 29136"/>
                    <a:gd name="connsiteX16" fmla="*/ 167153 w 173798"/>
                    <a:gd name="connsiteY16" fmla="*/ 26070 h 29136"/>
                    <a:gd name="connsiteX17" fmla="*/ 162041 w 173798"/>
                    <a:gd name="connsiteY17" fmla="*/ 20447 h 29136"/>
                    <a:gd name="connsiteX18" fmla="*/ 172776 w 173798"/>
                    <a:gd name="connsiteY18" fmla="*/ 20447 h 29136"/>
                    <a:gd name="connsiteX19" fmla="*/ 173798 w 173798"/>
                    <a:gd name="connsiteY19" fmla="*/ 19425 h 29136"/>
                    <a:gd name="connsiteX20" fmla="*/ 173798 w 173798"/>
                    <a:gd name="connsiteY20" fmla="*/ 15846 h 29136"/>
                    <a:gd name="connsiteX21" fmla="*/ 142106 w 173798"/>
                    <a:gd name="connsiteY21" fmla="*/ 16869 h 29136"/>
                    <a:gd name="connsiteX22" fmla="*/ 146195 w 173798"/>
                    <a:gd name="connsiteY22" fmla="*/ 10735 h 29136"/>
                    <a:gd name="connsiteX23" fmla="*/ 150285 w 173798"/>
                    <a:gd name="connsiteY23" fmla="*/ 16358 h 29136"/>
                    <a:gd name="connsiteX24" fmla="*/ 149773 w 173798"/>
                    <a:gd name="connsiteY24" fmla="*/ 16869 h 29136"/>
                    <a:gd name="connsiteX25" fmla="*/ 142106 w 173798"/>
                    <a:gd name="connsiteY25" fmla="*/ 16869 h 29136"/>
                    <a:gd name="connsiteX26" fmla="*/ 153863 w 173798"/>
                    <a:gd name="connsiteY26" fmla="*/ 15846 h 29136"/>
                    <a:gd name="connsiteX27" fmla="*/ 146195 w 173798"/>
                    <a:gd name="connsiteY27" fmla="*/ 7156 h 29136"/>
                    <a:gd name="connsiteX28" fmla="*/ 138016 w 173798"/>
                    <a:gd name="connsiteY28" fmla="*/ 17380 h 29136"/>
                    <a:gd name="connsiteX29" fmla="*/ 138016 w 173798"/>
                    <a:gd name="connsiteY29" fmla="*/ 18913 h 29136"/>
                    <a:gd name="connsiteX30" fmla="*/ 146706 w 173798"/>
                    <a:gd name="connsiteY30" fmla="*/ 29137 h 29136"/>
                    <a:gd name="connsiteX31" fmla="*/ 152840 w 173798"/>
                    <a:gd name="connsiteY31" fmla="*/ 28115 h 29136"/>
                    <a:gd name="connsiteX32" fmla="*/ 153351 w 173798"/>
                    <a:gd name="connsiteY32" fmla="*/ 27603 h 29136"/>
                    <a:gd name="connsiteX33" fmla="*/ 153351 w 173798"/>
                    <a:gd name="connsiteY33" fmla="*/ 26581 h 29136"/>
                    <a:gd name="connsiteX34" fmla="*/ 152840 w 173798"/>
                    <a:gd name="connsiteY34" fmla="*/ 25559 h 29136"/>
                    <a:gd name="connsiteX35" fmla="*/ 152329 w 173798"/>
                    <a:gd name="connsiteY35" fmla="*/ 25047 h 29136"/>
                    <a:gd name="connsiteX36" fmla="*/ 151818 w 173798"/>
                    <a:gd name="connsiteY36" fmla="*/ 25047 h 29136"/>
                    <a:gd name="connsiteX37" fmla="*/ 147218 w 173798"/>
                    <a:gd name="connsiteY37" fmla="*/ 26070 h 29136"/>
                    <a:gd name="connsiteX38" fmla="*/ 142106 w 173798"/>
                    <a:gd name="connsiteY38" fmla="*/ 20447 h 29136"/>
                    <a:gd name="connsiteX39" fmla="*/ 152840 w 173798"/>
                    <a:gd name="connsiteY39" fmla="*/ 20447 h 29136"/>
                    <a:gd name="connsiteX40" fmla="*/ 153863 w 173798"/>
                    <a:gd name="connsiteY40" fmla="*/ 19425 h 29136"/>
                    <a:gd name="connsiteX41" fmla="*/ 153863 w 173798"/>
                    <a:gd name="connsiteY41" fmla="*/ 15846 h 29136"/>
                    <a:gd name="connsiteX42" fmla="*/ 127282 w 173798"/>
                    <a:gd name="connsiteY42" fmla="*/ 29137 h 29136"/>
                    <a:gd name="connsiteX43" fmla="*/ 134949 w 173798"/>
                    <a:gd name="connsiteY43" fmla="*/ 23003 h 29136"/>
                    <a:gd name="connsiteX44" fmla="*/ 134949 w 173798"/>
                    <a:gd name="connsiteY44" fmla="*/ 22492 h 29136"/>
                    <a:gd name="connsiteX45" fmla="*/ 129838 w 173798"/>
                    <a:gd name="connsiteY45" fmla="*/ 16358 h 29136"/>
                    <a:gd name="connsiteX46" fmla="*/ 127793 w 173798"/>
                    <a:gd name="connsiteY46" fmla="*/ 15846 h 29136"/>
                    <a:gd name="connsiteX47" fmla="*/ 124726 w 173798"/>
                    <a:gd name="connsiteY47" fmla="*/ 13291 h 29136"/>
                    <a:gd name="connsiteX48" fmla="*/ 124726 w 173798"/>
                    <a:gd name="connsiteY48" fmla="*/ 13291 h 29136"/>
                    <a:gd name="connsiteX49" fmla="*/ 128304 w 173798"/>
                    <a:gd name="connsiteY49" fmla="*/ 10735 h 29136"/>
                    <a:gd name="connsiteX50" fmla="*/ 131882 w 173798"/>
                    <a:gd name="connsiteY50" fmla="*/ 11246 h 29136"/>
                    <a:gd name="connsiteX51" fmla="*/ 132905 w 173798"/>
                    <a:gd name="connsiteY51" fmla="*/ 11246 h 29136"/>
                    <a:gd name="connsiteX52" fmla="*/ 133416 w 173798"/>
                    <a:gd name="connsiteY52" fmla="*/ 10735 h 29136"/>
                    <a:gd name="connsiteX53" fmla="*/ 133416 w 173798"/>
                    <a:gd name="connsiteY53" fmla="*/ 9712 h 29136"/>
                    <a:gd name="connsiteX54" fmla="*/ 133927 w 173798"/>
                    <a:gd name="connsiteY54" fmla="*/ 8690 h 29136"/>
                    <a:gd name="connsiteX55" fmla="*/ 133416 w 173798"/>
                    <a:gd name="connsiteY55" fmla="*/ 8179 h 29136"/>
                    <a:gd name="connsiteX56" fmla="*/ 128304 w 173798"/>
                    <a:gd name="connsiteY56" fmla="*/ 7668 h 29136"/>
                    <a:gd name="connsiteX57" fmla="*/ 121148 w 173798"/>
                    <a:gd name="connsiteY57" fmla="*/ 13291 h 29136"/>
                    <a:gd name="connsiteX58" fmla="*/ 121148 w 173798"/>
                    <a:gd name="connsiteY58" fmla="*/ 13802 h 29136"/>
                    <a:gd name="connsiteX59" fmla="*/ 126259 w 173798"/>
                    <a:gd name="connsiteY59" fmla="*/ 19425 h 29136"/>
                    <a:gd name="connsiteX60" fmla="*/ 128304 w 173798"/>
                    <a:gd name="connsiteY60" fmla="*/ 19936 h 29136"/>
                    <a:gd name="connsiteX61" fmla="*/ 131371 w 173798"/>
                    <a:gd name="connsiteY61" fmla="*/ 23003 h 29136"/>
                    <a:gd name="connsiteX62" fmla="*/ 131371 w 173798"/>
                    <a:gd name="connsiteY62" fmla="*/ 23003 h 29136"/>
                    <a:gd name="connsiteX63" fmla="*/ 127282 w 173798"/>
                    <a:gd name="connsiteY63" fmla="*/ 26070 h 29136"/>
                    <a:gd name="connsiteX64" fmla="*/ 123192 w 173798"/>
                    <a:gd name="connsiteY64" fmla="*/ 25559 h 29136"/>
                    <a:gd name="connsiteX65" fmla="*/ 121659 w 173798"/>
                    <a:gd name="connsiteY65" fmla="*/ 25047 h 29136"/>
                    <a:gd name="connsiteX66" fmla="*/ 121148 w 173798"/>
                    <a:gd name="connsiteY66" fmla="*/ 25559 h 29136"/>
                    <a:gd name="connsiteX67" fmla="*/ 121148 w 173798"/>
                    <a:gd name="connsiteY67" fmla="*/ 26070 h 29136"/>
                    <a:gd name="connsiteX68" fmla="*/ 120637 w 173798"/>
                    <a:gd name="connsiteY68" fmla="*/ 27092 h 29136"/>
                    <a:gd name="connsiteX69" fmla="*/ 121148 w 173798"/>
                    <a:gd name="connsiteY69" fmla="*/ 27603 h 29136"/>
                    <a:gd name="connsiteX70" fmla="*/ 127282 w 173798"/>
                    <a:gd name="connsiteY70" fmla="*/ 29137 h 29136"/>
                    <a:gd name="connsiteX71" fmla="*/ 99678 w 173798"/>
                    <a:gd name="connsiteY71" fmla="*/ 27603 h 29136"/>
                    <a:gd name="connsiteX72" fmla="*/ 100701 w 173798"/>
                    <a:gd name="connsiteY72" fmla="*/ 28115 h 29136"/>
                    <a:gd name="connsiteX73" fmla="*/ 102746 w 173798"/>
                    <a:gd name="connsiteY73" fmla="*/ 28115 h 29136"/>
                    <a:gd name="connsiteX74" fmla="*/ 103768 w 173798"/>
                    <a:gd name="connsiteY74" fmla="*/ 27603 h 29136"/>
                    <a:gd name="connsiteX75" fmla="*/ 103768 w 173798"/>
                    <a:gd name="connsiteY75" fmla="*/ 14824 h 29136"/>
                    <a:gd name="connsiteX76" fmla="*/ 108368 w 173798"/>
                    <a:gd name="connsiteY76" fmla="*/ 10223 h 29136"/>
                    <a:gd name="connsiteX77" fmla="*/ 112969 w 173798"/>
                    <a:gd name="connsiteY77" fmla="*/ 15335 h 29136"/>
                    <a:gd name="connsiteX78" fmla="*/ 112969 w 173798"/>
                    <a:gd name="connsiteY78" fmla="*/ 27603 h 29136"/>
                    <a:gd name="connsiteX79" fmla="*/ 113991 w 173798"/>
                    <a:gd name="connsiteY79" fmla="*/ 28115 h 29136"/>
                    <a:gd name="connsiteX80" fmla="*/ 116036 w 173798"/>
                    <a:gd name="connsiteY80" fmla="*/ 28115 h 29136"/>
                    <a:gd name="connsiteX81" fmla="*/ 117058 w 173798"/>
                    <a:gd name="connsiteY81" fmla="*/ 27603 h 29136"/>
                    <a:gd name="connsiteX82" fmla="*/ 117058 w 173798"/>
                    <a:gd name="connsiteY82" fmla="*/ 15846 h 29136"/>
                    <a:gd name="connsiteX83" fmla="*/ 109902 w 173798"/>
                    <a:gd name="connsiteY83" fmla="*/ 7668 h 29136"/>
                    <a:gd name="connsiteX84" fmla="*/ 103768 w 173798"/>
                    <a:gd name="connsiteY84" fmla="*/ 10223 h 29136"/>
                    <a:gd name="connsiteX85" fmla="*/ 103768 w 173798"/>
                    <a:gd name="connsiteY85" fmla="*/ 10223 h 29136"/>
                    <a:gd name="connsiteX86" fmla="*/ 103768 w 173798"/>
                    <a:gd name="connsiteY86" fmla="*/ 8690 h 29136"/>
                    <a:gd name="connsiteX87" fmla="*/ 102746 w 173798"/>
                    <a:gd name="connsiteY87" fmla="*/ 8179 h 29136"/>
                    <a:gd name="connsiteX88" fmla="*/ 101212 w 173798"/>
                    <a:gd name="connsiteY88" fmla="*/ 8179 h 29136"/>
                    <a:gd name="connsiteX89" fmla="*/ 100701 w 173798"/>
                    <a:gd name="connsiteY89" fmla="*/ 8690 h 29136"/>
                    <a:gd name="connsiteX90" fmla="*/ 100701 w 173798"/>
                    <a:gd name="connsiteY90" fmla="*/ 27603 h 29136"/>
                    <a:gd name="connsiteX91" fmla="*/ 82810 w 173798"/>
                    <a:gd name="connsiteY91" fmla="*/ 16869 h 29136"/>
                    <a:gd name="connsiteX92" fmla="*/ 86899 w 173798"/>
                    <a:gd name="connsiteY92" fmla="*/ 10735 h 29136"/>
                    <a:gd name="connsiteX93" fmla="*/ 90989 w 173798"/>
                    <a:gd name="connsiteY93" fmla="*/ 16358 h 29136"/>
                    <a:gd name="connsiteX94" fmla="*/ 90477 w 173798"/>
                    <a:gd name="connsiteY94" fmla="*/ 16869 h 29136"/>
                    <a:gd name="connsiteX95" fmla="*/ 82810 w 173798"/>
                    <a:gd name="connsiteY95" fmla="*/ 16869 h 29136"/>
                    <a:gd name="connsiteX96" fmla="*/ 95078 w 173798"/>
                    <a:gd name="connsiteY96" fmla="*/ 15846 h 29136"/>
                    <a:gd name="connsiteX97" fmla="*/ 87410 w 173798"/>
                    <a:gd name="connsiteY97" fmla="*/ 7156 h 29136"/>
                    <a:gd name="connsiteX98" fmla="*/ 79232 w 173798"/>
                    <a:gd name="connsiteY98" fmla="*/ 17380 h 29136"/>
                    <a:gd name="connsiteX99" fmla="*/ 79232 w 173798"/>
                    <a:gd name="connsiteY99" fmla="*/ 18913 h 29136"/>
                    <a:gd name="connsiteX100" fmla="*/ 87922 w 173798"/>
                    <a:gd name="connsiteY100" fmla="*/ 29137 h 29136"/>
                    <a:gd name="connsiteX101" fmla="*/ 94056 w 173798"/>
                    <a:gd name="connsiteY101" fmla="*/ 28115 h 29136"/>
                    <a:gd name="connsiteX102" fmla="*/ 94567 w 173798"/>
                    <a:gd name="connsiteY102" fmla="*/ 27603 h 29136"/>
                    <a:gd name="connsiteX103" fmla="*/ 94567 w 173798"/>
                    <a:gd name="connsiteY103" fmla="*/ 26581 h 29136"/>
                    <a:gd name="connsiteX104" fmla="*/ 94056 w 173798"/>
                    <a:gd name="connsiteY104" fmla="*/ 25559 h 29136"/>
                    <a:gd name="connsiteX105" fmla="*/ 93545 w 173798"/>
                    <a:gd name="connsiteY105" fmla="*/ 25047 h 29136"/>
                    <a:gd name="connsiteX106" fmla="*/ 93033 w 173798"/>
                    <a:gd name="connsiteY106" fmla="*/ 25047 h 29136"/>
                    <a:gd name="connsiteX107" fmla="*/ 88433 w 173798"/>
                    <a:gd name="connsiteY107" fmla="*/ 26070 h 29136"/>
                    <a:gd name="connsiteX108" fmla="*/ 83321 w 173798"/>
                    <a:gd name="connsiteY108" fmla="*/ 20447 h 29136"/>
                    <a:gd name="connsiteX109" fmla="*/ 94056 w 173798"/>
                    <a:gd name="connsiteY109" fmla="*/ 20447 h 29136"/>
                    <a:gd name="connsiteX110" fmla="*/ 95078 w 173798"/>
                    <a:gd name="connsiteY110" fmla="*/ 19425 h 29136"/>
                    <a:gd name="connsiteX111" fmla="*/ 95078 w 173798"/>
                    <a:gd name="connsiteY111" fmla="*/ 15846 h 29136"/>
                    <a:gd name="connsiteX112" fmla="*/ 74631 w 173798"/>
                    <a:gd name="connsiteY112" fmla="*/ 15846 h 29136"/>
                    <a:gd name="connsiteX113" fmla="*/ 67475 w 173798"/>
                    <a:gd name="connsiteY113" fmla="*/ 7668 h 29136"/>
                    <a:gd name="connsiteX114" fmla="*/ 61852 w 173798"/>
                    <a:gd name="connsiteY114" fmla="*/ 9201 h 29136"/>
                    <a:gd name="connsiteX115" fmla="*/ 61852 w 173798"/>
                    <a:gd name="connsiteY115" fmla="*/ 511 h 29136"/>
                    <a:gd name="connsiteX116" fmla="*/ 60830 w 173798"/>
                    <a:gd name="connsiteY116" fmla="*/ 0 h 29136"/>
                    <a:gd name="connsiteX117" fmla="*/ 58785 w 173798"/>
                    <a:gd name="connsiteY117" fmla="*/ 0 h 29136"/>
                    <a:gd name="connsiteX118" fmla="*/ 57763 w 173798"/>
                    <a:gd name="connsiteY118" fmla="*/ 511 h 29136"/>
                    <a:gd name="connsiteX119" fmla="*/ 57763 w 173798"/>
                    <a:gd name="connsiteY119" fmla="*/ 27603 h 29136"/>
                    <a:gd name="connsiteX120" fmla="*/ 58785 w 173798"/>
                    <a:gd name="connsiteY120" fmla="*/ 28115 h 29136"/>
                    <a:gd name="connsiteX121" fmla="*/ 60830 w 173798"/>
                    <a:gd name="connsiteY121" fmla="*/ 28115 h 29136"/>
                    <a:gd name="connsiteX122" fmla="*/ 61852 w 173798"/>
                    <a:gd name="connsiteY122" fmla="*/ 27603 h 29136"/>
                    <a:gd name="connsiteX123" fmla="*/ 61852 w 173798"/>
                    <a:gd name="connsiteY123" fmla="*/ 15335 h 29136"/>
                    <a:gd name="connsiteX124" fmla="*/ 65941 w 173798"/>
                    <a:gd name="connsiteY124" fmla="*/ 10735 h 29136"/>
                    <a:gd name="connsiteX125" fmla="*/ 70542 w 173798"/>
                    <a:gd name="connsiteY125" fmla="*/ 15846 h 29136"/>
                    <a:gd name="connsiteX126" fmla="*/ 70542 w 173798"/>
                    <a:gd name="connsiteY126" fmla="*/ 28115 h 29136"/>
                    <a:gd name="connsiteX127" fmla="*/ 71564 w 173798"/>
                    <a:gd name="connsiteY127" fmla="*/ 28626 h 29136"/>
                    <a:gd name="connsiteX128" fmla="*/ 73609 w 173798"/>
                    <a:gd name="connsiteY128" fmla="*/ 28626 h 29136"/>
                    <a:gd name="connsiteX129" fmla="*/ 74631 w 173798"/>
                    <a:gd name="connsiteY129" fmla="*/ 28115 h 29136"/>
                    <a:gd name="connsiteX130" fmla="*/ 74631 w 173798"/>
                    <a:gd name="connsiteY130" fmla="*/ 15846 h 29136"/>
                    <a:gd name="connsiteX131" fmla="*/ 53673 w 173798"/>
                    <a:gd name="connsiteY131" fmla="*/ 28626 h 29136"/>
                    <a:gd name="connsiteX132" fmla="*/ 54184 w 173798"/>
                    <a:gd name="connsiteY132" fmla="*/ 28115 h 29136"/>
                    <a:gd name="connsiteX133" fmla="*/ 54184 w 173798"/>
                    <a:gd name="connsiteY133" fmla="*/ 26581 h 29136"/>
                    <a:gd name="connsiteX134" fmla="*/ 53673 w 173798"/>
                    <a:gd name="connsiteY134" fmla="*/ 25559 h 29136"/>
                    <a:gd name="connsiteX135" fmla="*/ 51628 w 173798"/>
                    <a:gd name="connsiteY135" fmla="*/ 25559 h 29136"/>
                    <a:gd name="connsiteX136" fmla="*/ 49073 w 173798"/>
                    <a:gd name="connsiteY136" fmla="*/ 24536 h 29136"/>
                    <a:gd name="connsiteX137" fmla="*/ 48561 w 173798"/>
                    <a:gd name="connsiteY137" fmla="*/ 21469 h 29136"/>
                    <a:gd name="connsiteX138" fmla="*/ 48561 w 173798"/>
                    <a:gd name="connsiteY138" fmla="*/ 11246 h 29136"/>
                    <a:gd name="connsiteX139" fmla="*/ 53162 w 173798"/>
                    <a:gd name="connsiteY139" fmla="*/ 11246 h 29136"/>
                    <a:gd name="connsiteX140" fmla="*/ 53673 w 173798"/>
                    <a:gd name="connsiteY140" fmla="*/ 10735 h 29136"/>
                    <a:gd name="connsiteX141" fmla="*/ 53673 w 173798"/>
                    <a:gd name="connsiteY141" fmla="*/ 8690 h 29136"/>
                    <a:gd name="connsiteX142" fmla="*/ 53162 w 173798"/>
                    <a:gd name="connsiteY142" fmla="*/ 8179 h 29136"/>
                    <a:gd name="connsiteX143" fmla="*/ 48561 w 173798"/>
                    <a:gd name="connsiteY143" fmla="*/ 8179 h 29136"/>
                    <a:gd name="connsiteX144" fmla="*/ 48561 w 173798"/>
                    <a:gd name="connsiteY144" fmla="*/ 3578 h 29136"/>
                    <a:gd name="connsiteX145" fmla="*/ 47539 w 173798"/>
                    <a:gd name="connsiteY145" fmla="*/ 2556 h 29136"/>
                    <a:gd name="connsiteX146" fmla="*/ 45494 w 173798"/>
                    <a:gd name="connsiteY146" fmla="*/ 2556 h 29136"/>
                    <a:gd name="connsiteX147" fmla="*/ 44472 w 173798"/>
                    <a:gd name="connsiteY147" fmla="*/ 3578 h 29136"/>
                    <a:gd name="connsiteX148" fmla="*/ 44472 w 173798"/>
                    <a:gd name="connsiteY148" fmla="*/ 8179 h 29136"/>
                    <a:gd name="connsiteX149" fmla="*/ 41916 w 173798"/>
                    <a:gd name="connsiteY149" fmla="*/ 8690 h 29136"/>
                    <a:gd name="connsiteX150" fmla="*/ 41405 w 173798"/>
                    <a:gd name="connsiteY150" fmla="*/ 9201 h 29136"/>
                    <a:gd name="connsiteX151" fmla="*/ 41405 w 173798"/>
                    <a:gd name="connsiteY151" fmla="*/ 10735 h 29136"/>
                    <a:gd name="connsiteX152" fmla="*/ 41916 w 173798"/>
                    <a:gd name="connsiteY152" fmla="*/ 11246 h 29136"/>
                    <a:gd name="connsiteX153" fmla="*/ 44472 w 173798"/>
                    <a:gd name="connsiteY153" fmla="*/ 11246 h 29136"/>
                    <a:gd name="connsiteX154" fmla="*/ 44472 w 173798"/>
                    <a:gd name="connsiteY154" fmla="*/ 21980 h 29136"/>
                    <a:gd name="connsiteX155" fmla="*/ 45494 w 173798"/>
                    <a:gd name="connsiteY155" fmla="*/ 27092 h 29136"/>
                    <a:gd name="connsiteX156" fmla="*/ 50606 w 173798"/>
                    <a:gd name="connsiteY156" fmla="*/ 28626 h 29136"/>
                    <a:gd name="connsiteX157" fmla="*/ 53673 w 173798"/>
                    <a:gd name="connsiteY157" fmla="*/ 28626 h 29136"/>
                    <a:gd name="connsiteX158" fmla="*/ 39360 w 173798"/>
                    <a:gd name="connsiteY158" fmla="*/ 17380 h 29136"/>
                    <a:gd name="connsiteX159" fmla="*/ 37316 w 173798"/>
                    <a:gd name="connsiteY159" fmla="*/ 9712 h 29136"/>
                    <a:gd name="connsiteX160" fmla="*/ 30670 w 173798"/>
                    <a:gd name="connsiteY160" fmla="*/ 7668 h 29136"/>
                    <a:gd name="connsiteX161" fmla="*/ 24025 w 173798"/>
                    <a:gd name="connsiteY161" fmla="*/ 9712 h 29136"/>
                    <a:gd name="connsiteX162" fmla="*/ 21981 w 173798"/>
                    <a:gd name="connsiteY162" fmla="*/ 17380 h 29136"/>
                    <a:gd name="connsiteX163" fmla="*/ 21981 w 173798"/>
                    <a:gd name="connsiteY163" fmla="*/ 18913 h 29136"/>
                    <a:gd name="connsiteX164" fmla="*/ 24025 w 173798"/>
                    <a:gd name="connsiteY164" fmla="*/ 26581 h 29136"/>
                    <a:gd name="connsiteX165" fmla="*/ 30670 w 173798"/>
                    <a:gd name="connsiteY165" fmla="*/ 28626 h 29136"/>
                    <a:gd name="connsiteX166" fmla="*/ 37316 w 173798"/>
                    <a:gd name="connsiteY166" fmla="*/ 26581 h 29136"/>
                    <a:gd name="connsiteX167" fmla="*/ 39360 w 173798"/>
                    <a:gd name="connsiteY167" fmla="*/ 18913 h 29136"/>
                    <a:gd name="connsiteX168" fmla="*/ 39360 w 173798"/>
                    <a:gd name="connsiteY168" fmla="*/ 17380 h 29136"/>
                    <a:gd name="connsiteX169" fmla="*/ 35782 w 173798"/>
                    <a:gd name="connsiteY169" fmla="*/ 17891 h 29136"/>
                    <a:gd name="connsiteX170" fmla="*/ 35782 w 173798"/>
                    <a:gd name="connsiteY170" fmla="*/ 18913 h 29136"/>
                    <a:gd name="connsiteX171" fmla="*/ 35271 w 173798"/>
                    <a:gd name="connsiteY171" fmla="*/ 24025 h 29136"/>
                    <a:gd name="connsiteX172" fmla="*/ 31182 w 173798"/>
                    <a:gd name="connsiteY172" fmla="*/ 26070 h 29136"/>
                    <a:gd name="connsiteX173" fmla="*/ 27092 w 173798"/>
                    <a:gd name="connsiteY173" fmla="*/ 24025 h 29136"/>
                    <a:gd name="connsiteX174" fmla="*/ 26581 w 173798"/>
                    <a:gd name="connsiteY174" fmla="*/ 18913 h 29136"/>
                    <a:gd name="connsiteX175" fmla="*/ 26581 w 173798"/>
                    <a:gd name="connsiteY175" fmla="*/ 17891 h 29136"/>
                    <a:gd name="connsiteX176" fmla="*/ 27092 w 173798"/>
                    <a:gd name="connsiteY176" fmla="*/ 12779 h 29136"/>
                    <a:gd name="connsiteX177" fmla="*/ 31182 w 173798"/>
                    <a:gd name="connsiteY177" fmla="*/ 10735 h 29136"/>
                    <a:gd name="connsiteX178" fmla="*/ 35271 w 173798"/>
                    <a:gd name="connsiteY178" fmla="*/ 12779 h 29136"/>
                    <a:gd name="connsiteX179" fmla="*/ 35782 w 173798"/>
                    <a:gd name="connsiteY179" fmla="*/ 17891 h 29136"/>
                    <a:gd name="connsiteX180" fmla="*/ 5112 w 173798"/>
                    <a:gd name="connsiteY180" fmla="*/ 5112 h 29136"/>
                    <a:gd name="connsiteX181" fmla="*/ 5623 w 173798"/>
                    <a:gd name="connsiteY181" fmla="*/ 4601 h 29136"/>
                    <a:gd name="connsiteX182" fmla="*/ 8179 w 173798"/>
                    <a:gd name="connsiteY182" fmla="*/ 4601 h 29136"/>
                    <a:gd name="connsiteX183" fmla="*/ 13802 w 173798"/>
                    <a:gd name="connsiteY183" fmla="*/ 9201 h 29136"/>
                    <a:gd name="connsiteX184" fmla="*/ 13802 w 173798"/>
                    <a:gd name="connsiteY184" fmla="*/ 9712 h 29136"/>
                    <a:gd name="connsiteX185" fmla="*/ 7668 w 173798"/>
                    <a:gd name="connsiteY185" fmla="*/ 14313 h 29136"/>
                    <a:gd name="connsiteX186" fmla="*/ 4601 w 173798"/>
                    <a:gd name="connsiteY186" fmla="*/ 14313 h 29136"/>
                    <a:gd name="connsiteX187" fmla="*/ 4601 w 173798"/>
                    <a:gd name="connsiteY187" fmla="*/ 5112 h 29136"/>
                    <a:gd name="connsiteX188" fmla="*/ 1022 w 173798"/>
                    <a:gd name="connsiteY188" fmla="*/ 27603 h 29136"/>
                    <a:gd name="connsiteX189" fmla="*/ 2045 w 173798"/>
                    <a:gd name="connsiteY189" fmla="*/ 28626 h 29136"/>
                    <a:gd name="connsiteX190" fmla="*/ 4090 w 173798"/>
                    <a:gd name="connsiteY190" fmla="*/ 28626 h 29136"/>
                    <a:gd name="connsiteX191" fmla="*/ 5112 w 173798"/>
                    <a:gd name="connsiteY191" fmla="*/ 27603 h 29136"/>
                    <a:gd name="connsiteX192" fmla="*/ 5112 w 173798"/>
                    <a:gd name="connsiteY192" fmla="*/ 17380 h 29136"/>
                    <a:gd name="connsiteX193" fmla="*/ 7157 w 173798"/>
                    <a:gd name="connsiteY193" fmla="*/ 17380 h 29136"/>
                    <a:gd name="connsiteX194" fmla="*/ 9201 w 173798"/>
                    <a:gd name="connsiteY194" fmla="*/ 17380 h 29136"/>
                    <a:gd name="connsiteX195" fmla="*/ 15335 w 173798"/>
                    <a:gd name="connsiteY195" fmla="*/ 28115 h 29136"/>
                    <a:gd name="connsiteX196" fmla="*/ 16358 w 173798"/>
                    <a:gd name="connsiteY196" fmla="*/ 28626 h 29136"/>
                    <a:gd name="connsiteX197" fmla="*/ 18913 w 173798"/>
                    <a:gd name="connsiteY197" fmla="*/ 28626 h 29136"/>
                    <a:gd name="connsiteX198" fmla="*/ 19425 w 173798"/>
                    <a:gd name="connsiteY198" fmla="*/ 28115 h 29136"/>
                    <a:gd name="connsiteX199" fmla="*/ 18913 w 173798"/>
                    <a:gd name="connsiteY199" fmla="*/ 26581 h 29136"/>
                    <a:gd name="connsiteX200" fmla="*/ 12779 w 173798"/>
                    <a:gd name="connsiteY200" fmla="*/ 16358 h 29136"/>
                    <a:gd name="connsiteX201" fmla="*/ 17891 w 173798"/>
                    <a:gd name="connsiteY201" fmla="*/ 8690 h 29136"/>
                    <a:gd name="connsiteX202" fmla="*/ 17891 w 173798"/>
                    <a:gd name="connsiteY202" fmla="*/ 7668 h 29136"/>
                    <a:gd name="connsiteX203" fmla="*/ 7668 w 173798"/>
                    <a:gd name="connsiteY203" fmla="*/ 0 h 29136"/>
                    <a:gd name="connsiteX204" fmla="*/ 1022 w 173798"/>
                    <a:gd name="connsiteY204" fmla="*/ 511 h 29136"/>
                    <a:gd name="connsiteX205" fmla="*/ 0 w 173798"/>
                    <a:gd name="connsiteY205" fmla="*/ 1533 h 29136"/>
                    <a:gd name="connsiteX206" fmla="*/ 0 w 173798"/>
                    <a:gd name="connsiteY206" fmla="*/ 27603 h 29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</a:cxnLst>
                  <a:rect l="l" t="t" r="r" b="b"/>
                  <a:pathLst>
                    <a:path w="173798" h="29136">
                      <a:moveTo>
                        <a:pt x="161530" y="16869"/>
                      </a:moveTo>
                      <a:cubicBezTo>
                        <a:pt x="161530" y="12779"/>
                        <a:pt x="162041" y="10735"/>
                        <a:pt x="165620" y="10735"/>
                      </a:cubicBezTo>
                      <a:cubicBezTo>
                        <a:pt x="168687" y="10735"/>
                        <a:pt x="169709" y="12268"/>
                        <a:pt x="169709" y="16358"/>
                      </a:cubicBezTo>
                      <a:cubicBezTo>
                        <a:pt x="169709" y="16869"/>
                        <a:pt x="169709" y="16869"/>
                        <a:pt x="169198" y="16869"/>
                      </a:cubicBezTo>
                      <a:lnTo>
                        <a:pt x="161530" y="16869"/>
                      </a:lnTo>
                      <a:close/>
                      <a:moveTo>
                        <a:pt x="173798" y="15846"/>
                      </a:moveTo>
                      <a:cubicBezTo>
                        <a:pt x="173798" y="9712"/>
                        <a:pt x="171242" y="7156"/>
                        <a:pt x="166131" y="7156"/>
                      </a:cubicBezTo>
                      <a:cubicBezTo>
                        <a:pt x="159997" y="7156"/>
                        <a:pt x="157952" y="10735"/>
                        <a:pt x="157952" y="17380"/>
                      </a:cubicBezTo>
                      <a:lnTo>
                        <a:pt x="157952" y="18913"/>
                      </a:lnTo>
                      <a:cubicBezTo>
                        <a:pt x="157952" y="26070"/>
                        <a:pt x="159997" y="29137"/>
                        <a:pt x="166642" y="29137"/>
                      </a:cubicBezTo>
                      <a:cubicBezTo>
                        <a:pt x="168687" y="29137"/>
                        <a:pt x="171242" y="28626"/>
                        <a:pt x="172776" y="28115"/>
                      </a:cubicBezTo>
                      <a:cubicBezTo>
                        <a:pt x="173287" y="28115"/>
                        <a:pt x="173287" y="27603"/>
                        <a:pt x="173287" y="27603"/>
                      </a:cubicBezTo>
                      <a:cubicBezTo>
                        <a:pt x="173287" y="27603"/>
                        <a:pt x="173287" y="27092"/>
                        <a:pt x="173287" y="26581"/>
                      </a:cubicBezTo>
                      <a:lnTo>
                        <a:pt x="172776" y="25559"/>
                      </a:lnTo>
                      <a:cubicBezTo>
                        <a:pt x="172776" y="25047"/>
                        <a:pt x="172265" y="25047"/>
                        <a:pt x="172265" y="25047"/>
                      </a:cubicBezTo>
                      <a:cubicBezTo>
                        <a:pt x="172265" y="25047"/>
                        <a:pt x="171754" y="25047"/>
                        <a:pt x="171754" y="25047"/>
                      </a:cubicBezTo>
                      <a:cubicBezTo>
                        <a:pt x="170731" y="25559"/>
                        <a:pt x="168687" y="26070"/>
                        <a:pt x="167153" y="26070"/>
                      </a:cubicBezTo>
                      <a:cubicBezTo>
                        <a:pt x="163064" y="26070"/>
                        <a:pt x="162041" y="24536"/>
                        <a:pt x="162041" y="20447"/>
                      </a:cubicBezTo>
                      <a:lnTo>
                        <a:pt x="172776" y="20447"/>
                      </a:lnTo>
                      <a:cubicBezTo>
                        <a:pt x="173798" y="20447"/>
                        <a:pt x="173798" y="19936"/>
                        <a:pt x="173798" y="19425"/>
                      </a:cubicBezTo>
                      <a:lnTo>
                        <a:pt x="173798" y="15846"/>
                      </a:lnTo>
                      <a:close/>
                      <a:moveTo>
                        <a:pt x="142106" y="16869"/>
                      </a:moveTo>
                      <a:cubicBezTo>
                        <a:pt x="142106" y="12779"/>
                        <a:pt x="142617" y="10735"/>
                        <a:pt x="146195" y="10735"/>
                      </a:cubicBezTo>
                      <a:cubicBezTo>
                        <a:pt x="149262" y="10735"/>
                        <a:pt x="150285" y="12268"/>
                        <a:pt x="150285" y="16358"/>
                      </a:cubicBezTo>
                      <a:cubicBezTo>
                        <a:pt x="150285" y="16869"/>
                        <a:pt x="150285" y="16869"/>
                        <a:pt x="149773" y="16869"/>
                      </a:cubicBezTo>
                      <a:lnTo>
                        <a:pt x="142106" y="16869"/>
                      </a:lnTo>
                      <a:close/>
                      <a:moveTo>
                        <a:pt x="153863" y="15846"/>
                      </a:moveTo>
                      <a:cubicBezTo>
                        <a:pt x="153863" y="9712"/>
                        <a:pt x="151307" y="7156"/>
                        <a:pt x="146195" y="7156"/>
                      </a:cubicBezTo>
                      <a:cubicBezTo>
                        <a:pt x="140061" y="7156"/>
                        <a:pt x="138016" y="10735"/>
                        <a:pt x="138016" y="17380"/>
                      </a:cubicBezTo>
                      <a:lnTo>
                        <a:pt x="138016" y="18913"/>
                      </a:lnTo>
                      <a:cubicBezTo>
                        <a:pt x="138016" y="26070"/>
                        <a:pt x="140061" y="29137"/>
                        <a:pt x="146706" y="29137"/>
                      </a:cubicBezTo>
                      <a:cubicBezTo>
                        <a:pt x="148751" y="29137"/>
                        <a:pt x="151307" y="28626"/>
                        <a:pt x="152840" y="28115"/>
                      </a:cubicBezTo>
                      <a:cubicBezTo>
                        <a:pt x="153351" y="28115"/>
                        <a:pt x="153351" y="27603"/>
                        <a:pt x="153351" y="27603"/>
                      </a:cubicBezTo>
                      <a:cubicBezTo>
                        <a:pt x="153351" y="27603"/>
                        <a:pt x="153351" y="27092"/>
                        <a:pt x="153351" y="26581"/>
                      </a:cubicBezTo>
                      <a:lnTo>
                        <a:pt x="152840" y="25559"/>
                      </a:lnTo>
                      <a:cubicBezTo>
                        <a:pt x="152840" y="25047"/>
                        <a:pt x="152329" y="25047"/>
                        <a:pt x="152329" y="25047"/>
                      </a:cubicBezTo>
                      <a:cubicBezTo>
                        <a:pt x="152329" y="25047"/>
                        <a:pt x="151818" y="25047"/>
                        <a:pt x="151818" y="25047"/>
                      </a:cubicBezTo>
                      <a:cubicBezTo>
                        <a:pt x="150796" y="25559"/>
                        <a:pt x="148751" y="26070"/>
                        <a:pt x="147218" y="26070"/>
                      </a:cubicBezTo>
                      <a:cubicBezTo>
                        <a:pt x="143128" y="26070"/>
                        <a:pt x="142106" y="24536"/>
                        <a:pt x="142106" y="20447"/>
                      </a:cubicBezTo>
                      <a:lnTo>
                        <a:pt x="152840" y="20447"/>
                      </a:lnTo>
                      <a:cubicBezTo>
                        <a:pt x="153863" y="20447"/>
                        <a:pt x="153863" y="19936"/>
                        <a:pt x="153863" y="19425"/>
                      </a:cubicBezTo>
                      <a:lnTo>
                        <a:pt x="153863" y="15846"/>
                      </a:lnTo>
                      <a:close/>
                      <a:moveTo>
                        <a:pt x="127282" y="29137"/>
                      </a:moveTo>
                      <a:cubicBezTo>
                        <a:pt x="132394" y="29137"/>
                        <a:pt x="134949" y="27092"/>
                        <a:pt x="134949" y="23003"/>
                      </a:cubicBezTo>
                      <a:lnTo>
                        <a:pt x="134949" y="22492"/>
                      </a:lnTo>
                      <a:cubicBezTo>
                        <a:pt x="134949" y="18913"/>
                        <a:pt x="133416" y="17380"/>
                        <a:pt x="129838" y="16358"/>
                      </a:cubicBezTo>
                      <a:lnTo>
                        <a:pt x="127793" y="15846"/>
                      </a:lnTo>
                      <a:cubicBezTo>
                        <a:pt x="125237" y="15335"/>
                        <a:pt x="124726" y="14824"/>
                        <a:pt x="124726" y="13291"/>
                      </a:cubicBezTo>
                      <a:lnTo>
                        <a:pt x="124726" y="13291"/>
                      </a:lnTo>
                      <a:cubicBezTo>
                        <a:pt x="124726" y="11757"/>
                        <a:pt x="125748" y="10735"/>
                        <a:pt x="128304" y="10735"/>
                      </a:cubicBezTo>
                      <a:cubicBezTo>
                        <a:pt x="129327" y="10735"/>
                        <a:pt x="131371" y="10735"/>
                        <a:pt x="131882" y="11246"/>
                      </a:cubicBezTo>
                      <a:cubicBezTo>
                        <a:pt x="132394" y="11246"/>
                        <a:pt x="132394" y="11246"/>
                        <a:pt x="132905" y="11246"/>
                      </a:cubicBezTo>
                      <a:cubicBezTo>
                        <a:pt x="133416" y="11246"/>
                        <a:pt x="133416" y="11246"/>
                        <a:pt x="133416" y="10735"/>
                      </a:cubicBezTo>
                      <a:lnTo>
                        <a:pt x="133416" y="9712"/>
                      </a:lnTo>
                      <a:cubicBezTo>
                        <a:pt x="133416" y="9201"/>
                        <a:pt x="133927" y="8690"/>
                        <a:pt x="133927" y="8690"/>
                      </a:cubicBezTo>
                      <a:cubicBezTo>
                        <a:pt x="133927" y="8690"/>
                        <a:pt x="133927" y="8179"/>
                        <a:pt x="133416" y="8179"/>
                      </a:cubicBezTo>
                      <a:cubicBezTo>
                        <a:pt x="131882" y="7668"/>
                        <a:pt x="130349" y="7668"/>
                        <a:pt x="128304" y="7668"/>
                      </a:cubicBezTo>
                      <a:cubicBezTo>
                        <a:pt x="123704" y="7668"/>
                        <a:pt x="121148" y="9712"/>
                        <a:pt x="121148" y="13291"/>
                      </a:cubicBezTo>
                      <a:lnTo>
                        <a:pt x="121148" y="13802"/>
                      </a:lnTo>
                      <a:cubicBezTo>
                        <a:pt x="121148" y="17380"/>
                        <a:pt x="122170" y="18402"/>
                        <a:pt x="126259" y="19425"/>
                      </a:cubicBezTo>
                      <a:lnTo>
                        <a:pt x="128304" y="19936"/>
                      </a:lnTo>
                      <a:cubicBezTo>
                        <a:pt x="130349" y="20447"/>
                        <a:pt x="131371" y="20958"/>
                        <a:pt x="131371" y="23003"/>
                      </a:cubicBezTo>
                      <a:lnTo>
                        <a:pt x="131371" y="23003"/>
                      </a:lnTo>
                      <a:cubicBezTo>
                        <a:pt x="131371" y="25047"/>
                        <a:pt x="130349" y="26070"/>
                        <a:pt x="127282" y="26070"/>
                      </a:cubicBezTo>
                      <a:cubicBezTo>
                        <a:pt x="125748" y="26070"/>
                        <a:pt x="124215" y="26070"/>
                        <a:pt x="123192" y="25559"/>
                      </a:cubicBezTo>
                      <a:cubicBezTo>
                        <a:pt x="122170" y="25559"/>
                        <a:pt x="122170" y="25047"/>
                        <a:pt x="121659" y="25047"/>
                      </a:cubicBezTo>
                      <a:cubicBezTo>
                        <a:pt x="121148" y="25047"/>
                        <a:pt x="121148" y="25047"/>
                        <a:pt x="121148" y="25559"/>
                      </a:cubicBezTo>
                      <a:lnTo>
                        <a:pt x="121148" y="26070"/>
                      </a:lnTo>
                      <a:cubicBezTo>
                        <a:pt x="121148" y="26581"/>
                        <a:pt x="120637" y="27092"/>
                        <a:pt x="120637" y="27092"/>
                      </a:cubicBezTo>
                      <a:cubicBezTo>
                        <a:pt x="120637" y="27603"/>
                        <a:pt x="120637" y="27603"/>
                        <a:pt x="121148" y="27603"/>
                      </a:cubicBezTo>
                      <a:cubicBezTo>
                        <a:pt x="122681" y="28626"/>
                        <a:pt x="125237" y="29137"/>
                        <a:pt x="127282" y="29137"/>
                      </a:cubicBezTo>
                      <a:moveTo>
                        <a:pt x="99678" y="27603"/>
                      </a:moveTo>
                      <a:cubicBezTo>
                        <a:pt x="99678" y="28115"/>
                        <a:pt x="99678" y="28115"/>
                        <a:pt x="100701" y="28115"/>
                      </a:cubicBezTo>
                      <a:lnTo>
                        <a:pt x="102746" y="28115"/>
                      </a:lnTo>
                      <a:cubicBezTo>
                        <a:pt x="103257" y="28115"/>
                        <a:pt x="103768" y="28115"/>
                        <a:pt x="103768" y="27603"/>
                      </a:cubicBezTo>
                      <a:lnTo>
                        <a:pt x="103768" y="14824"/>
                      </a:lnTo>
                      <a:cubicBezTo>
                        <a:pt x="103768" y="11246"/>
                        <a:pt x="105301" y="10223"/>
                        <a:pt x="108368" y="10223"/>
                      </a:cubicBezTo>
                      <a:cubicBezTo>
                        <a:pt x="111436" y="10223"/>
                        <a:pt x="112969" y="11757"/>
                        <a:pt x="112969" y="15335"/>
                      </a:cubicBezTo>
                      <a:lnTo>
                        <a:pt x="112969" y="27603"/>
                      </a:lnTo>
                      <a:cubicBezTo>
                        <a:pt x="112969" y="28115"/>
                        <a:pt x="112969" y="28115"/>
                        <a:pt x="113991" y="28115"/>
                      </a:cubicBezTo>
                      <a:lnTo>
                        <a:pt x="116036" y="28115"/>
                      </a:lnTo>
                      <a:cubicBezTo>
                        <a:pt x="116547" y="28115"/>
                        <a:pt x="117058" y="28115"/>
                        <a:pt x="117058" y="27603"/>
                      </a:cubicBezTo>
                      <a:lnTo>
                        <a:pt x="117058" y="15846"/>
                      </a:lnTo>
                      <a:cubicBezTo>
                        <a:pt x="117058" y="9712"/>
                        <a:pt x="114503" y="7668"/>
                        <a:pt x="109902" y="7668"/>
                      </a:cubicBezTo>
                      <a:cubicBezTo>
                        <a:pt x="106835" y="7668"/>
                        <a:pt x="105301" y="8690"/>
                        <a:pt x="103768" y="10223"/>
                      </a:cubicBezTo>
                      <a:lnTo>
                        <a:pt x="103768" y="10223"/>
                      </a:lnTo>
                      <a:lnTo>
                        <a:pt x="103768" y="8690"/>
                      </a:lnTo>
                      <a:cubicBezTo>
                        <a:pt x="103768" y="8179"/>
                        <a:pt x="103257" y="8179"/>
                        <a:pt x="102746" y="8179"/>
                      </a:cubicBezTo>
                      <a:lnTo>
                        <a:pt x="101212" y="8179"/>
                      </a:lnTo>
                      <a:cubicBezTo>
                        <a:pt x="100701" y="8179"/>
                        <a:pt x="100701" y="8179"/>
                        <a:pt x="100701" y="8690"/>
                      </a:cubicBezTo>
                      <a:lnTo>
                        <a:pt x="100701" y="27603"/>
                      </a:lnTo>
                      <a:close/>
                      <a:moveTo>
                        <a:pt x="82810" y="16869"/>
                      </a:moveTo>
                      <a:cubicBezTo>
                        <a:pt x="82810" y="12779"/>
                        <a:pt x="83321" y="10735"/>
                        <a:pt x="86899" y="10735"/>
                      </a:cubicBezTo>
                      <a:cubicBezTo>
                        <a:pt x="89966" y="10735"/>
                        <a:pt x="90989" y="12268"/>
                        <a:pt x="90989" y="16358"/>
                      </a:cubicBezTo>
                      <a:cubicBezTo>
                        <a:pt x="90989" y="16869"/>
                        <a:pt x="90989" y="16869"/>
                        <a:pt x="90477" y="16869"/>
                      </a:cubicBezTo>
                      <a:lnTo>
                        <a:pt x="82810" y="16869"/>
                      </a:lnTo>
                      <a:close/>
                      <a:moveTo>
                        <a:pt x="95078" y="15846"/>
                      </a:moveTo>
                      <a:cubicBezTo>
                        <a:pt x="95078" y="9712"/>
                        <a:pt x="92522" y="7156"/>
                        <a:pt x="87410" y="7156"/>
                      </a:cubicBezTo>
                      <a:cubicBezTo>
                        <a:pt x="81276" y="7156"/>
                        <a:pt x="79232" y="10735"/>
                        <a:pt x="79232" y="17380"/>
                      </a:cubicBezTo>
                      <a:lnTo>
                        <a:pt x="79232" y="18913"/>
                      </a:lnTo>
                      <a:cubicBezTo>
                        <a:pt x="79232" y="26070"/>
                        <a:pt x="81276" y="29137"/>
                        <a:pt x="87922" y="29137"/>
                      </a:cubicBezTo>
                      <a:cubicBezTo>
                        <a:pt x="89966" y="29137"/>
                        <a:pt x="92522" y="28626"/>
                        <a:pt x="94056" y="28115"/>
                      </a:cubicBezTo>
                      <a:cubicBezTo>
                        <a:pt x="94567" y="28115"/>
                        <a:pt x="94567" y="27603"/>
                        <a:pt x="94567" y="27603"/>
                      </a:cubicBezTo>
                      <a:cubicBezTo>
                        <a:pt x="94567" y="27603"/>
                        <a:pt x="94567" y="27092"/>
                        <a:pt x="94567" y="26581"/>
                      </a:cubicBezTo>
                      <a:lnTo>
                        <a:pt x="94056" y="25559"/>
                      </a:lnTo>
                      <a:cubicBezTo>
                        <a:pt x="94056" y="25047"/>
                        <a:pt x="93545" y="25047"/>
                        <a:pt x="93545" y="25047"/>
                      </a:cubicBezTo>
                      <a:cubicBezTo>
                        <a:pt x="93545" y="25047"/>
                        <a:pt x="93033" y="25047"/>
                        <a:pt x="93033" y="25047"/>
                      </a:cubicBezTo>
                      <a:cubicBezTo>
                        <a:pt x="92011" y="25559"/>
                        <a:pt x="89966" y="26070"/>
                        <a:pt x="88433" y="26070"/>
                      </a:cubicBezTo>
                      <a:cubicBezTo>
                        <a:pt x="84343" y="26070"/>
                        <a:pt x="83321" y="24536"/>
                        <a:pt x="83321" y="20447"/>
                      </a:cubicBezTo>
                      <a:lnTo>
                        <a:pt x="94056" y="20447"/>
                      </a:lnTo>
                      <a:cubicBezTo>
                        <a:pt x="95078" y="20447"/>
                        <a:pt x="95078" y="19936"/>
                        <a:pt x="95078" y="19425"/>
                      </a:cubicBezTo>
                      <a:lnTo>
                        <a:pt x="95078" y="15846"/>
                      </a:lnTo>
                      <a:close/>
                      <a:moveTo>
                        <a:pt x="74631" y="15846"/>
                      </a:moveTo>
                      <a:cubicBezTo>
                        <a:pt x="74631" y="9712"/>
                        <a:pt x="72075" y="7668"/>
                        <a:pt x="67475" y="7668"/>
                      </a:cubicBezTo>
                      <a:cubicBezTo>
                        <a:pt x="64919" y="7668"/>
                        <a:pt x="62874" y="8179"/>
                        <a:pt x="61852" y="9201"/>
                      </a:cubicBezTo>
                      <a:lnTo>
                        <a:pt x="61852" y="511"/>
                      </a:lnTo>
                      <a:cubicBezTo>
                        <a:pt x="61852" y="0"/>
                        <a:pt x="61852" y="0"/>
                        <a:pt x="60830" y="0"/>
                      </a:cubicBezTo>
                      <a:lnTo>
                        <a:pt x="58785" y="0"/>
                      </a:lnTo>
                      <a:cubicBezTo>
                        <a:pt x="58274" y="0"/>
                        <a:pt x="57763" y="0"/>
                        <a:pt x="57763" y="511"/>
                      </a:cubicBezTo>
                      <a:lnTo>
                        <a:pt x="57763" y="27603"/>
                      </a:lnTo>
                      <a:cubicBezTo>
                        <a:pt x="57763" y="28115"/>
                        <a:pt x="57763" y="28115"/>
                        <a:pt x="58785" y="28115"/>
                      </a:cubicBezTo>
                      <a:lnTo>
                        <a:pt x="60830" y="28115"/>
                      </a:lnTo>
                      <a:cubicBezTo>
                        <a:pt x="61341" y="28115"/>
                        <a:pt x="61852" y="28115"/>
                        <a:pt x="61852" y="27603"/>
                      </a:cubicBezTo>
                      <a:lnTo>
                        <a:pt x="61852" y="15335"/>
                      </a:lnTo>
                      <a:cubicBezTo>
                        <a:pt x="61852" y="12268"/>
                        <a:pt x="63385" y="10735"/>
                        <a:pt x="65941" y="10735"/>
                      </a:cubicBezTo>
                      <a:cubicBezTo>
                        <a:pt x="69008" y="10735"/>
                        <a:pt x="70542" y="11757"/>
                        <a:pt x="70542" y="15846"/>
                      </a:cubicBezTo>
                      <a:lnTo>
                        <a:pt x="70542" y="28115"/>
                      </a:lnTo>
                      <a:cubicBezTo>
                        <a:pt x="70542" y="28626"/>
                        <a:pt x="70542" y="28626"/>
                        <a:pt x="71564" y="28626"/>
                      </a:cubicBezTo>
                      <a:lnTo>
                        <a:pt x="73609" y="28626"/>
                      </a:lnTo>
                      <a:cubicBezTo>
                        <a:pt x="74120" y="28626"/>
                        <a:pt x="74631" y="28626"/>
                        <a:pt x="74631" y="28115"/>
                      </a:cubicBezTo>
                      <a:lnTo>
                        <a:pt x="74631" y="15846"/>
                      </a:lnTo>
                      <a:close/>
                      <a:moveTo>
                        <a:pt x="53673" y="28626"/>
                      </a:moveTo>
                      <a:cubicBezTo>
                        <a:pt x="54184" y="28626"/>
                        <a:pt x="54184" y="28626"/>
                        <a:pt x="54184" y="28115"/>
                      </a:cubicBezTo>
                      <a:lnTo>
                        <a:pt x="54184" y="26581"/>
                      </a:lnTo>
                      <a:cubicBezTo>
                        <a:pt x="54184" y="26070"/>
                        <a:pt x="54184" y="25559"/>
                        <a:pt x="53673" y="25559"/>
                      </a:cubicBezTo>
                      <a:lnTo>
                        <a:pt x="51628" y="25559"/>
                      </a:lnTo>
                      <a:cubicBezTo>
                        <a:pt x="50095" y="25559"/>
                        <a:pt x="49584" y="25559"/>
                        <a:pt x="49073" y="24536"/>
                      </a:cubicBezTo>
                      <a:cubicBezTo>
                        <a:pt x="48561" y="24025"/>
                        <a:pt x="48561" y="23514"/>
                        <a:pt x="48561" y="21469"/>
                      </a:cubicBezTo>
                      <a:lnTo>
                        <a:pt x="48561" y="11246"/>
                      </a:lnTo>
                      <a:lnTo>
                        <a:pt x="53162" y="11246"/>
                      </a:lnTo>
                      <a:cubicBezTo>
                        <a:pt x="53673" y="11246"/>
                        <a:pt x="53673" y="10735"/>
                        <a:pt x="53673" y="10735"/>
                      </a:cubicBezTo>
                      <a:lnTo>
                        <a:pt x="53673" y="8690"/>
                      </a:lnTo>
                      <a:cubicBezTo>
                        <a:pt x="53673" y="8179"/>
                        <a:pt x="53673" y="8179"/>
                        <a:pt x="53162" y="8179"/>
                      </a:cubicBezTo>
                      <a:lnTo>
                        <a:pt x="48561" y="8179"/>
                      </a:lnTo>
                      <a:lnTo>
                        <a:pt x="48561" y="3578"/>
                      </a:lnTo>
                      <a:cubicBezTo>
                        <a:pt x="48561" y="3067"/>
                        <a:pt x="48561" y="2556"/>
                        <a:pt x="47539" y="2556"/>
                      </a:cubicBezTo>
                      <a:lnTo>
                        <a:pt x="45494" y="2556"/>
                      </a:lnTo>
                      <a:cubicBezTo>
                        <a:pt x="44983" y="2556"/>
                        <a:pt x="44472" y="2556"/>
                        <a:pt x="44472" y="3578"/>
                      </a:cubicBezTo>
                      <a:lnTo>
                        <a:pt x="44472" y="8179"/>
                      </a:lnTo>
                      <a:lnTo>
                        <a:pt x="41916" y="8690"/>
                      </a:lnTo>
                      <a:cubicBezTo>
                        <a:pt x="41405" y="8690"/>
                        <a:pt x="41405" y="8690"/>
                        <a:pt x="41405" y="9201"/>
                      </a:cubicBezTo>
                      <a:lnTo>
                        <a:pt x="41405" y="10735"/>
                      </a:lnTo>
                      <a:cubicBezTo>
                        <a:pt x="41405" y="11246"/>
                        <a:pt x="41405" y="11246"/>
                        <a:pt x="41916" y="11246"/>
                      </a:cubicBezTo>
                      <a:lnTo>
                        <a:pt x="44472" y="11246"/>
                      </a:lnTo>
                      <a:lnTo>
                        <a:pt x="44472" y="21980"/>
                      </a:lnTo>
                      <a:cubicBezTo>
                        <a:pt x="44472" y="24536"/>
                        <a:pt x="44983" y="26070"/>
                        <a:pt x="45494" y="27092"/>
                      </a:cubicBezTo>
                      <a:cubicBezTo>
                        <a:pt x="46517" y="28115"/>
                        <a:pt x="48050" y="28626"/>
                        <a:pt x="50606" y="28626"/>
                      </a:cubicBezTo>
                      <a:lnTo>
                        <a:pt x="53673" y="28626"/>
                      </a:lnTo>
                      <a:close/>
                      <a:moveTo>
                        <a:pt x="39360" y="17380"/>
                      </a:moveTo>
                      <a:cubicBezTo>
                        <a:pt x="39360" y="13802"/>
                        <a:pt x="38849" y="11246"/>
                        <a:pt x="37316" y="9712"/>
                      </a:cubicBezTo>
                      <a:cubicBezTo>
                        <a:pt x="35782" y="8179"/>
                        <a:pt x="33738" y="7668"/>
                        <a:pt x="30670" y="7668"/>
                      </a:cubicBezTo>
                      <a:cubicBezTo>
                        <a:pt x="28114" y="7668"/>
                        <a:pt x="25559" y="8179"/>
                        <a:pt x="24025" y="9712"/>
                      </a:cubicBezTo>
                      <a:cubicBezTo>
                        <a:pt x="22492" y="11246"/>
                        <a:pt x="21981" y="13802"/>
                        <a:pt x="21981" y="17380"/>
                      </a:cubicBezTo>
                      <a:lnTo>
                        <a:pt x="21981" y="18913"/>
                      </a:lnTo>
                      <a:cubicBezTo>
                        <a:pt x="21981" y="22492"/>
                        <a:pt x="22492" y="25047"/>
                        <a:pt x="24025" y="26581"/>
                      </a:cubicBezTo>
                      <a:cubicBezTo>
                        <a:pt x="25559" y="28115"/>
                        <a:pt x="27603" y="28626"/>
                        <a:pt x="30670" y="28626"/>
                      </a:cubicBezTo>
                      <a:cubicBezTo>
                        <a:pt x="33226" y="28626"/>
                        <a:pt x="35782" y="28115"/>
                        <a:pt x="37316" y="26581"/>
                      </a:cubicBezTo>
                      <a:cubicBezTo>
                        <a:pt x="38849" y="25047"/>
                        <a:pt x="39360" y="22492"/>
                        <a:pt x="39360" y="18913"/>
                      </a:cubicBezTo>
                      <a:lnTo>
                        <a:pt x="39360" y="17380"/>
                      </a:lnTo>
                      <a:close/>
                      <a:moveTo>
                        <a:pt x="35782" y="17891"/>
                      </a:moveTo>
                      <a:lnTo>
                        <a:pt x="35782" y="18913"/>
                      </a:lnTo>
                      <a:cubicBezTo>
                        <a:pt x="35782" y="21469"/>
                        <a:pt x="35782" y="23003"/>
                        <a:pt x="35271" y="24025"/>
                      </a:cubicBezTo>
                      <a:cubicBezTo>
                        <a:pt x="34760" y="25559"/>
                        <a:pt x="33226" y="26070"/>
                        <a:pt x="31182" y="26070"/>
                      </a:cubicBezTo>
                      <a:cubicBezTo>
                        <a:pt x="29137" y="26070"/>
                        <a:pt x="28114" y="25559"/>
                        <a:pt x="27092" y="24025"/>
                      </a:cubicBezTo>
                      <a:cubicBezTo>
                        <a:pt x="26581" y="23003"/>
                        <a:pt x="26581" y="21469"/>
                        <a:pt x="26581" y="18913"/>
                      </a:cubicBezTo>
                      <a:lnTo>
                        <a:pt x="26581" y="17891"/>
                      </a:lnTo>
                      <a:cubicBezTo>
                        <a:pt x="26581" y="15335"/>
                        <a:pt x="26581" y="13802"/>
                        <a:pt x="27092" y="12779"/>
                      </a:cubicBezTo>
                      <a:cubicBezTo>
                        <a:pt x="27603" y="11246"/>
                        <a:pt x="29137" y="10735"/>
                        <a:pt x="31182" y="10735"/>
                      </a:cubicBezTo>
                      <a:cubicBezTo>
                        <a:pt x="33226" y="10735"/>
                        <a:pt x="34249" y="11246"/>
                        <a:pt x="35271" y="12779"/>
                      </a:cubicBezTo>
                      <a:cubicBezTo>
                        <a:pt x="35271" y="13802"/>
                        <a:pt x="35782" y="14824"/>
                        <a:pt x="35782" y="17891"/>
                      </a:cubicBezTo>
                      <a:moveTo>
                        <a:pt x="5112" y="5112"/>
                      </a:moveTo>
                      <a:cubicBezTo>
                        <a:pt x="5112" y="4601"/>
                        <a:pt x="5112" y="4601"/>
                        <a:pt x="5623" y="4601"/>
                      </a:cubicBezTo>
                      <a:cubicBezTo>
                        <a:pt x="6134" y="4601"/>
                        <a:pt x="7157" y="4601"/>
                        <a:pt x="8179" y="4601"/>
                      </a:cubicBezTo>
                      <a:cubicBezTo>
                        <a:pt x="12268" y="4601"/>
                        <a:pt x="13802" y="5623"/>
                        <a:pt x="13802" y="9201"/>
                      </a:cubicBezTo>
                      <a:lnTo>
                        <a:pt x="13802" y="9712"/>
                      </a:lnTo>
                      <a:cubicBezTo>
                        <a:pt x="13802" y="13291"/>
                        <a:pt x="12268" y="14313"/>
                        <a:pt x="7668" y="14313"/>
                      </a:cubicBezTo>
                      <a:cubicBezTo>
                        <a:pt x="6645" y="14313"/>
                        <a:pt x="5623" y="14313"/>
                        <a:pt x="4601" y="14313"/>
                      </a:cubicBezTo>
                      <a:lnTo>
                        <a:pt x="4601" y="5112"/>
                      </a:lnTo>
                      <a:close/>
                      <a:moveTo>
                        <a:pt x="1022" y="27603"/>
                      </a:moveTo>
                      <a:cubicBezTo>
                        <a:pt x="1022" y="28115"/>
                        <a:pt x="1022" y="28626"/>
                        <a:pt x="2045" y="28626"/>
                      </a:cubicBezTo>
                      <a:lnTo>
                        <a:pt x="4090" y="28626"/>
                      </a:lnTo>
                      <a:cubicBezTo>
                        <a:pt x="4601" y="28626"/>
                        <a:pt x="5112" y="28626"/>
                        <a:pt x="5112" y="27603"/>
                      </a:cubicBezTo>
                      <a:lnTo>
                        <a:pt x="5112" y="17380"/>
                      </a:lnTo>
                      <a:cubicBezTo>
                        <a:pt x="5623" y="17380"/>
                        <a:pt x="6645" y="17380"/>
                        <a:pt x="7157" y="17380"/>
                      </a:cubicBezTo>
                      <a:cubicBezTo>
                        <a:pt x="7668" y="17380"/>
                        <a:pt x="8690" y="17380"/>
                        <a:pt x="9201" y="17380"/>
                      </a:cubicBezTo>
                      <a:cubicBezTo>
                        <a:pt x="11246" y="20447"/>
                        <a:pt x="13291" y="24536"/>
                        <a:pt x="15335" y="28115"/>
                      </a:cubicBezTo>
                      <a:cubicBezTo>
                        <a:pt x="15847" y="28626"/>
                        <a:pt x="15847" y="28626"/>
                        <a:pt x="16358" y="28626"/>
                      </a:cubicBezTo>
                      <a:lnTo>
                        <a:pt x="18913" y="28626"/>
                      </a:lnTo>
                      <a:cubicBezTo>
                        <a:pt x="19425" y="28626"/>
                        <a:pt x="19425" y="28626"/>
                        <a:pt x="19425" y="28115"/>
                      </a:cubicBezTo>
                      <a:cubicBezTo>
                        <a:pt x="19425" y="28115"/>
                        <a:pt x="19425" y="27603"/>
                        <a:pt x="18913" y="26581"/>
                      </a:cubicBezTo>
                      <a:lnTo>
                        <a:pt x="12779" y="16358"/>
                      </a:lnTo>
                      <a:cubicBezTo>
                        <a:pt x="15847" y="15846"/>
                        <a:pt x="17891" y="12779"/>
                        <a:pt x="17891" y="8690"/>
                      </a:cubicBezTo>
                      <a:lnTo>
                        <a:pt x="17891" y="7668"/>
                      </a:lnTo>
                      <a:cubicBezTo>
                        <a:pt x="17891" y="2045"/>
                        <a:pt x="14313" y="0"/>
                        <a:pt x="7668" y="0"/>
                      </a:cubicBezTo>
                      <a:cubicBezTo>
                        <a:pt x="5623" y="0"/>
                        <a:pt x="3067" y="0"/>
                        <a:pt x="1022" y="511"/>
                      </a:cubicBezTo>
                      <a:cubicBezTo>
                        <a:pt x="511" y="511"/>
                        <a:pt x="0" y="1022"/>
                        <a:pt x="0" y="1533"/>
                      </a:cubicBezTo>
                      <a:lnTo>
                        <a:pt x="0" y="27603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19" name="Freihandform: Form 118">
                  <a:extLst>
                    <a:ext uri="{FF2B5EF4-FFF2-40B4-BE49-F238E27FC236}">
                      <a16:creationId xmlns:a16="http://schemas.microsoft.com/office/drawing/2014/main" id="{71B6D70C-B6BB-4FAA-AB09-95608897F3A0}"/>
                    </a:ext>
                  </a:extLst>
                </p:cNvPr>
                <p:cNvSpPr/>
                <p:nvPr/>
              </p:nvSpPr>
              <p:spPr>
                <a:xfrm>
                  <a:off x="7909228" y="2023895"/>
                  <a:ext cx="201401" cy="35782"/>
                </a:xfrm>
                <a:custGeom>
                  <a:avLst/>
                  <a:gdLst>
                    <a:gd name="connsiteX0" fmla="*/ 200379 w 201401"/>
                    <a:gd name="connsiteY0" fmla="*/ 19425 h 35782"/>
                    <a:gd name="connsiteX1" fmla="*/ 201401 w 201401"/>
                    <a:gd name="connsiteY1" fmla="*/ 18402 h 35782"/>
                    <a:gd name="connsiteX2" fmla="*/ 201401 w 201401"/>
                    <a:gd name="connsiteY2" fmla="*/ 16357 h 35782"/>
                    <a:gd name="connsiteX3" fmla="*/ 200379 w 201401"/>
                    <a:gd name="connsiteY3" fmla="*/ 15335 h 35782"/>
                    <a:gd name="connsiteX4" fmla="*/ 192200 w 201401"/>
                    <a:gd name="connsiteY4" fmla="*/ 15335 h 35782"/>
                    <a:gd name="connsiteX5" fmla="*/ 191178 w 201401"/>
                    <a:gd name="connsiteY5" fmla="*/ 16357 h 35782"/>
                    <a:gd name="connsiteX6" fmla="*/ 191178 w 201401"/>
                    <a:gd name="connsiteY6" fmla="*/ 18402 h 35782"/>
                    <a:gd name="connsiteX7" fmla="*/ 192200 w 201401"/>
                    <a:gd name="connsiteY7" fmla="*/ 19425 h 35782"/>
                    <a:gd name="connsiteX8" fmla="*/ 200379 w 201401"/>
                    <a:gd name="connsiteY8" fmla="*/ 19425 h 35782"/>
                    <a:gd name="connsiteX9" fmla="*/ 186578 w 201401"/>
                    <a:gd name="connsiteY9" fmla="*/ 8690 h 35782"/>
                    <a:gd name="connsiteX10" fmla="*/ 185555 w 201401"/>
                    <a:gd name="connsiteY10" fmla="*/ 8179 h 35782"/>
                    <a:gd name="connsiteX11" fmla="*/ 184533 w 201401"/>
                    <a:gd name="connsiteY11" fmla="*/ 8179 h 35782"/>
                    <a:gd name="connsiteX12" fmla="*/ 183510 w 201401"/>
                    <a:gd name="connsiteY12" fmla="*/ 8690 h 35782"/>
                    <a:gd name="connsiteX13" fmla="*/ 183510 w 201401"/>
                    <a:gd name="connsiteY13" fmla="*/ 10223 h 35782"/>
                    <a:gd name="connsiteX14" fmla="*/ 183510 w 201401"/>
                    <a:gd name="connsiteY14" fmla="*/ 10223 h 35782"/>
                    <a:gd name="connsiteX15" fmla="*/ 177888 w 201401"/>
                    <a:gd name="connsiteY15" fmla="*/ 7668 h 35782"/>
                    <a:gd name="connsiteX16" fmla="*/ 169709 w 201401"/>
                    <a:gd name="connsiteY16" fmla="*/ 17380 h 35782"/>
                    <a:gd name="connsiteX17" fmla="*/ 169709 w 201401"/>
                    <a:gd name="connsiteY17" fmla="*/ 18913 h 35782"/>
                    <a:gd name="connsiteX18" fmla="*/ 177888 w 201401"/>
                    <a:gd name="connsiteY18" fmla="*/ 28626 h 35782"/>
                    <a:gd name="connsiteX19" fmla="*/ 182999 w 201401"/>
                    <a:gd name="connsiteY19" fmla="*/ 26581 h 35782"/>
                    <a:gd name="connsiteX20" fmla="*/ 182999 w 201401"/>
                    <a:gd name="connsiteY20" fmla="*/ 26581 h 35782"/>
                    <a:gd name="connsiteX21" fmla="*/ 182999 w 201401"/>
                    <a:gd name="connsiteY21" fmla="*/ 28115 h 35782"/>
                    <a:gd name="connsiteX22" fmla="*/ 181977 w 201401"/>
                    <a:gd name="connsiteY22" fmla="*/ 31693 h 35782"/>
                    <a:gd name="connsiteX23" fmla="*/ 178399 w 201401"/>
                    <a:gd name="connsiteY23" fmla="*/ 32715 h 35782"/>
                    <a:gd name="connsiteX24" fmla="*/ 173287 w 201401"/>
                    <a:gd name="connsiteY24" fmla="*/ 32204 h 35782"/>
                    <a:gd name="connsiteX25" fmla="*/ 172265 w 201401"/>
                    <a:gd name="connsiteY25" fmla="*/ 32715 h 35782"/>
                    <a:gd name="connsiteX26" fmla="*/ 171753 w 201401"/>
                    <a:gd name="connsiteY26" fmla="*/ 33738 h 35782"/>
                    <a:gd name="connsiteX27" fmla="*/ 172265 w 201401"/>
                    <a:gd name="connsiteY27" fmla="*/ 34760 h 35782"/>
                    <a:gd name="connsiteX28" fmla="*/ 178399 w 201401"/>
                    <a:gd name="connsiteY28" fmla="*/ 35782 h 35782"/>
                    <a:gd name="connsiteX29" fmla="*/ 185044 w 201401"/>
                    <a:gd name="connsiteY29" fmla="*/ 33738 h 35782"/>
                    <a:gd name="connsiteX30" fmla="*/ 187089 w 201401"/>
                    <a:gd name="connsiteY30" fmla="*/ 26581 h 35782"/>
                    <a:gd name="connsiteX31" fmla="*/ 187089 w 201401"/>
                    <a:gd name="connsiteY31" fmla="*/ 8690 h 35782"/>
                    <a:gd name="connsiteX32" fmla="*/ 178399 w 201401"/>
                    <a:gd name="connsiteY32" fmla="*/ 10735 h 35782"/>
                    <a:gd name="connsiteX33" fmla="*/ 182999 w 201401"/>
                    <a:gd name="connsiteY33" fmla="*/ 15335 h 35782"/>
                    <a:gd name="connsiteX34" fmla="*/ 182999 w 201401"/>
                    <a:gd name="connsiteY34" fmla="*/ 20958 h 35782"/>
                    <a:gd name="connsiteX35" fmla="*/ 178399 w 201401"/>
                    <a:gd name="connsiteY35" fmla="*/ 25559 h 35782"/>
                    <a:gd name="connsiteX36" fmla="*/ 173798 w 201401"/>
                    <a:gd name="connsiteY36" fmla="*/ 18913 h 35782"/>
                    <a:gd name="connsiteX37" fmla="*/ 173798 w 201401"/>
                    <a:gd name="connsiteY37" fmla="*/ 17891 h 35782"/>
                    <a:gd name="connsiteX38" fmla="*/ 178399 w 201401"/>
                    <a:gd name="connsiteY38" fmla="*/ 10735 h 35782"/>
                    <a:gd name="connsiteX39" fmla="*/ 159997 w 201401"/>
                    <a:gd name="connsiteY39" fmla="*/ 8690 h 35782"/>
                    <a:gd name="connsiteX40" fmla="*/ 158974 w 201401"/>
                    <a:gd name="connsiteY40" fmla="*/ 8179 h 35782"/>
                    <a:gd name="connsiteX41" fmla="*/ 157441 w 201401"/>
                    <a:gd name="connsiteY41" fmla="*/ 8179 h 35782"/>
                    <a:gd name="connsiteX42" fmla="*/ 156929 w 201401"/>
                    <a:gd name="connsiteY42" fmla="*/ 8690 h 35782"/>
                    <a:gd name="connsiteX43" fmla="*/ 156929 w 201401"/>
                    <a:gd name="connsiteY43" fmla="*/ 28115 h 35782"/>
                    <a:gd name="connsiteX44" fmla="*/ 157952 w 201401"/>
                    <a:gd name="connsiteY44" fmla="*/ 28626 h 35782"/>
                    <a:gd name="connsiteX45" fmla="*/ 159997 w 201401"/>
                    <a:gd name="connsiteY45" fmla="*/ 28626 h 35782"/>
                    <a:gd name="connsiteX46" fmla="*/ 161019 w 201401"/>
                    <a:gd name="connsiteY46" fmla="*/ 28115 h 35782"/>
                    <a:gd name="connsiteX47" fmla="*/ 161019 w 201401"/>
                    <a:gd name="connsiteY47" fmla="*/ 16357 h 35782"/>
                    <a:gd name="connsiteX48" fmla="*/ 162041 w 201401"/>
                    <a:gd name="connsiteY48" fmla="*/ 12779 h 35782"/>
                    <a:gd name="connsiteX49" fmla="*/ 165619 w 201401"/>
                    <a:gd name="connsiteY49" fmla="*/ 11757 h 35782"/>
                    <a:gd name="connsiteX50" fmla="*/ 166642 w 201401"/>
                    <a:gd name="connsiteY50" fmla="*/ 11757 h 35782"/>
                    <a:gd name="connsiteX51" fmla="*/ 167664 w 201401"/>
                    <a:gd name="connsiteY51" fmla="*/ 11246 h 35782"/>
                    <a:gd name="connsiteX52" fmla="*/ 167664 w 201401"/>
                    <a:gd name="connsiteY52" fmla="*/ 9201 h 35782"/>
                    <a:gd name="connsiteX53" fmla="*/ 166642 w 201401"/>
                    <a:gd name="connsiteY53" fmla="*/ 8690 h 35782"/>
                    <a:gd name="connsiteX54" fmla="*/ 165619 w 201401"/>
                    <a:gd name="connsiteY54" fmla="*/ 8690 h 35782"/>
                    <a:gd name="connsiteX55" fmla="*/ 160508 w 201401"/>
                    <a:gd name="connsiteY55" fmla="*/ 11246 h 35782"/>
                    <a:gd name="connsiteX56" fmla="*/ 160508 w 201401"/>
                    <a:gd name="connsiteY56" fmla="*/ 11246 h 35782"/>
                    <a:gd name="connsiteX57" fmla="*/ 159997 w 201401"/>
                    <a:gd name="connsiteY57" fmla="*/ 8690 h 35782"/>
                    <a:gd name="connsiteX58" fmla="*/ 147728 w 201401"/>
                    <a:gd name="connsiteY58" fmla="*/ 21469 h 35782"/>
                    <a:gd name="connsiteX59" fmla="*/ 146706 w 201401"/>
                    <a:gd name="connsiteY59" fmla="*/ 24536 h 35782"/>
                    <a:gd name="connsiteX60" fmla="*/ 143639 w 201401"/>
                    <a:gd name="connsiteY60" fmla="*/ 25559 h 35782"/>
                    <a:gd name="connsiteX61" fmla="*/ 140572 w 201401"/>
                    <a:gd name="connsiteY61" fmla="*/ 24536 h 35782"/>
                    <a:gd name="connsiteX62" fmla="*/ 139550 w 201401"/>
                    <a:gd name="connsiteY62" fmla="*/ 21469 h 35782"/>
                    <a:gd name="connsiteX63" fmla="*/ 139550 w 201401"/>
                    <a:gd name="connsiteY63" fmla="*/ 8179 h 35782"/>
                    <a:gd name="connsiteX64" fmla="*/ 138527 w 201401"/>
                    <a:gd name="connsiteY64" fmla="*/ 7668 h 35782"/>
                    <a:gd name="connsiteX65" fmla="*/ 136483 w 201401"/>
                    <a:gd name="connsiteY65" fmla="*/ 7668 h 35782"/>
                    <a:gd name="connsiteX66" fmla="*/ 135460 w 201401"/>
                    <a:gd name="connsiteY66" fmla="*/ 8179 h 35782"/>
                    <a:gd name="connsiteX67" fmla="*/ 135460 w 201401"/>
                    <a:gd name="connsiteY67" fmla="*/ 21980 h 35782"/>
                    <a:gd name="connsiteX68" fmla="*/ 137505 w 201401"/>
                    <a:gd name="connsiteY68" fmla="*/ 27092 h 35782"/>
                    <a:gd name="connsiteX69" fmla="*/ 143639 w 201401"/>
                    <a:gd name="connsiteY69" fmla="*/ 28626 h 35782"/>
                    <a:gd name="connsiteX70" fmla="*/ 149262 w 201401"/>
                    <a:gd name="connsiteY70" fmla="*/ 27092 h 35782"/>
                    <a:gd name="connsiteX71" fmla="*/ 151307 w 201401"/>
                    <a:gd name="connsiteY71" fmla="*/ 21980 h 35782"/>
                    <a:gd name="connsiteX72" fmla="*/ 151307 w 201401"/>
                    <a:gd name="connsiteY72" fmla="*/ 8179 h 35782"/>
                    <a:gd name="connsiteX73" fmla="*/ 150284 w 201401"/>
                    <a:gd name="connsiteY73" fmla="*/ 7156 h 35782"/>
                    <a:gd name="connsiteX74" fmla="*/ 148751 w 201401"/>
                    <a:gd name="connsiteY74" fmla="*/ 7156 h 35782"/>
                    <a:gd name="connsiteX75" fmla="*/ 147728 w 201401"/>
                    <a:gd name="connsiteY75" fmla="*/ 7668 h 35782"/>
                    <a:gd name="connsiteX76" fmla="*/ 147728 w 201401"/>
                    <a:gd name="connsiteY76" fmla="*/ 21469 h 35782"/>
                    <a:gd name="connsiteX77" fmla="*/ 118080 w 201401"/>
                    <a:gd name="connsiteY77" fmla="*/ 511 h 35782"/>
                    <a:gd name="connsiteX78" fmla="*/ 117058 w 201401"/>
                    <a:gd name="connsiteY78" fmla="*/ 0 h 35782"/>
                    <a:gd name="connsiteX79" fmla="*/ 115014 w 201401"/>
                    <a:gd name="connsiteY79" fmla="*/ 0 h 35782"/>
                    <a:gd name="connsiteX80" fmla="*/ 113991 w 201401"/>
                    <a:gd name="connsiteY80" fmla="*/ 511 h 35782"/>
                    <a:gd name="connsiteX81" fmla="*/ 113991 w 201401"/>
                    <a:gd name="connsiteY81" fmla="*/ 21469 h 35782"/>
                    <a:gd name="connsiteX82" fmla="*/ 122170 w 201401"/>
                    <a:gd name="connsiteY82" fmla="*/ 28626 h 35782"/>
                    <a:gd name="connsiteX83" fmla="*/ 130860 w 201401"/>
                    <a:gd name="connsiteY83" fmla="*/ 18913 h 35782"/>
                    <a:gd name="connsiteX84" fmla="*/ 130860 w 201401"/>
                    <a:gd name="connsiteY84" fmla="*/ 17380 h 35782"/>
                    <a:gd name="connsiteX85" fmla="*/ 123192 w 201401"/>
                    <a:gd name="connsiteY85" fmla="*/ 7668 h 35782"/>
                    <a:gd name="connsiteX86" fmla="*/ 118080 w 201401"/>
                    <a:gd name="connsiteY86" fmla="*/ 9712 h 35782"/>
                    <a:gd name="connsiteX87" fmla="*/ 118080 w 201401"/>
                    <a:gd name="connsiteY87" fmla="*/ 9712 h 35782"/>
                    <a:gd name="connsiteX88" fmla="*/ 118080 w 201401"/>
                    <a:gd name="connsiteY88" fmla="*/ 511 h 35782"/>
                    <a:gd name="connsiteX89" fmla="*/ 122681 w 201401"/>
                    <a:gd name="connsiteY89" fmla="*/ 25559 h 35782"/>
                    <a:gd name="connsiteX90" fmla="*/ 118080 w 201401"/>
                    <a:gd name="connsiteY90" fmla="*/ 20958 h 35782"/>
                    <a:gd name="connsiteX91" fmla="*/ 118080 w 201401"/>
                    <a:gd name="connsiteY91" fmla="*/ 15335 h 35782"/>
                    <a:gd name="connsiteX92" fmla="*/ 122681 w 201401"/>
                    <a:gd name="connsiteY92" fmla="*/ 10223 h 35782"/>
                    <a:gd name="connsiteX93" fmla="*/ 127281 w 201401"/>
                    <a:gd name="connsiteY93" fmla="*/ 16869 h 35782"/>
                    <a:gd name="connsiteX94" fmla="*/ 127281 w 201401"/>
                    <a:gd name="connsiteY94" fmla="*/ 18402 h 35782"/>
                    <a:gd name="connsiteX95" fmla="*/ 122681 w 201401"/>
                    <a:gd name="connsiteY95" fmla="*/ 25559 h 35782"/>
                    <a:gd name="connsiteX96" fmla="*/ 97634 w 201401"/>
                    <a:gd name="connsiteY96" fmla="*/ 16869 h 35782"/>
                    <a:gd name="connsiteX97" fmla="*/ 101723 w 201401"/>
                    <a:gd name="connsiteY97" fmla="*/ 10735 h 35782"/>
                    <a:gd name="connsiteX98" fmla="*/ 105812 w 201401"/>
                    <a:gd name="connsiteY98" fmla="*/ 16357 h 35782"/>
                    <a:gd name="connsiteX99" fmla="*/ 105301 w 201401"/>
                    <a:gd name="connsiteY99" fmla="*/ 16869 h 35782"/>
                    <a:gd name="connsiteX100" fmla="*/ 97634 w 201401"/>
                    <a:gd name="connsiteY100" fmla="*/ 16869 h 35782"/>
                    <a:gd name="connsiteX101" fmla="*/ 109902 w 201401"/>
                    <a:gd name="connsiteY101" fmla="*/ 15846 h 35782"/>
                    <a:gd name="connsiteX102" fmla="*/ 102234 w 201401"/>
                    <a:gd name="connsiteY102" fmla="*/ 7668 h 35782"/>
                    <a:gd name="connsiteX103" fmla="*/ 94055 w 201401"/>
                    <a:gd name="connsiteY103" fmla="*/ 17891 h 35782"/>
                    <a:gd name="connsiteX104" fmla="*/ 94055 w 201401"/>
                    <a:gd name="connsiteY104" fmla="*/ 19425 h 35782"/>
                    <a:gd name="connsiteX105" fmla="*/ 102745 w 201401"/>
                    <a:gd name="connsiteY105" fmla="*/ 29648 h 35782"/>
                    <a:gd name="connsiteX106" fmla="*/ 108879 w 201401"/>
                    <a:gd name="connsiteY106" fmla="*/ 28626 h 35782"/>
                    <a:gd name="connsiteX107" fmla="*/ 109390 w 201401"/>
                    <a:gd name="connsiteY107" fmla="*/ 28115 h 35782"/>
                    <a:gd name="connsiteX108" fmla="*/ 109390 w 201401"/>
                    <a:gd name="connsiteY108" fmla="*/ 27092 h 35782"/>
                    <a:gd name="connsiteX109" fmla="*/ 108879 w 201401"/>
                    <a:gd name="connsiteY109" fmla="*/ 26070 h 35782"/>
                    <a:gd name="connsiteX110" fmla="*/ 108368 w 201401"/>
                    <a:gd name="connsiteY110" fmla="*/ 25559 h 35782"/>
                    <a:gd name="connsiteX111" fmla="*/ 107857 w 201401"/>
                    <a:gd name="connsiteY111" fmla="*/ 25559 h 35782"/>
                    <a:gd name="connsiteX112" fmla="*/ 103256 w 201401"/>
                    <a:gd name="connsiteY112" fmla="*/ 26581 h 35782"/>
                    <a:gd name="connsiteX113" fmla="*/ 98145 w 201401"/>
                    <a:gd name="connsiteY113" fmla="*/ 20958 h 35782"/>
                    <a:gd name="connsiteX114" fmla="*/ 108879 w 201401"/>
                    <a:gd name="connsiteY114" fmla="*/ 20958 h 35782"/>
                    <a:gd name="connsiteX115" fmla="*/ 109902 w 201401"/>
                    <a:gd name="connsiteY115" fmla="*/ 19936 h 35782"/>
                    <a:gd name="connsiteX116" fmla="*/ 109902 w 201401"/>
                    <a:gd name="connsiteY116" fmla="*/ 15846 h 35782"/>
                    <a:gd name="connsiteX117" fmla="*/ 89455 w 201401"/>
                    <a:gd name="connsiteY117" fmla="*/ 511 h 35782"/>
                    <a:gd name="connsiteX118" fmla="*/ 88433 w 201401"/>
                    <a:gd name="connsiteY118" fmla="*/ 0 h 35782"/>
                    <a:gd name="connsiteX119" fmla="*/ 86388 w 201401"/>
                    <a:gd name="connsiteY119" fmla="*/ 0 h 35782"/>
                    <a:gd name="connsiteX120" fmla="*/ 85365 w 201401"/>
                    <a:gd name="connsiteY120" fmla="*/ 511 h 35782"/>
                    <a:gd name="connsiteX121" fmla="*/ 85365 w 201401"/>
                    <a:gd name="connsiteY121" fmla="*/ 8690 h 35782"/>
                    <a:gd name="connsiteX122" fmla="*/ 85365 w 201401"/>
                    <a:gd name="connsiteY122" fmla="*/ 8690 h 35782"/>
                    <a:gd name="connsiteX123" fmla="*/ 80765 w 201401"/>
                    <a:gd name="connsiteY123" fmla="*/ 7156 h 35782"/>
                    <a:gd name="connsiteX124" fmla="*/ 72075 w 201401"/>
                    <a:gd name="connsiteY124" fmla="*/ 16869 h 35782"/>
                    <a:gd name="connsiteX125" fmla="*/ 72075 w 201401"/>
                    <a:gd name="connsiteY125" fmla="*/ 18402 h 35782"/>
                    <a:gd name="connsiteX126" fmla="*/ 80765 w 201401"/>
                    <a:gd name="connsiteY126" fmla="*/ 28626 h 35782"/>
                    <a:gd name="connsiteX127" fmla="*/ 89455 w 201401"/>
                    <a:gd name="connsiteY127" fmla="*/ 20958 h 35782"/>
                    <a:gd name="connsiteX128" fmla="*/ 89455 w 201401"/>
                    <a:gd name="connsiteY128" fmla="*/ 511 h 35782"/>
                    <a:gd name="connsiteX129" fmla="*/ 85365 w 201401"/>
                    <a:gd name="connsiteY129" fmla="*/ 20958 h 35782"/>
                    <a:gd name="connsiteX130" fmla="*/ 80765 w 201401"/>
                    <a:gd name="connsiteY130" fmla="*/ 25559 h 35782"/>
                    <a:gd name="connsiteX131" fmla="*/ 76164 w 201401"/>
                    <a:gd name="connsiteY131" fmla="*/ 18402 h 35782"/>
                    <a:gd name="connsiteX132" fmla="*/ 76164 w 201401"/>
                    <a:gd name="connsiteY132" fmla="*/ 17380 h 35782"/>
                    <a:gd name="connsiteX133" fmla="*/ 80765 w 201401"/>
                    <a:gd name="connsiteY133" fmla="*/ 10735 h 35782"/>
                    <a:gd name="connsiteX134" fmla="*/ 85365 w 201401"/>
                    <a:gd name="connsiteY134" fmla="*/ 15846 h 35782"/>
                    <a:gd name="connsiteX135" fmla="*/ 85365 w 201401"/>
                    <a:gd name="connsiteY135" fmla="*/ 20958 h 35782"/>
                    <a:gd name="connsiteX136" fmla="*/ 67986 w 201401"/>
                    <a:gd name="connsiteY136" fmla="*/ 8690 h 35782"/>
                    <a:gd name="connsiteX137" fmla="*/ 66963 w 201401"/>
                    <a:gd name="connsiteY137" fmla="*/ 8179 h 35782"/>
                    <a:gd name="connsiteX138" fmla="*/ 65430 w 201401"/>
                    <a:gd name="connsiteY138" fmla="*/ 8179 h 35782"/>
                    <a:gd name="connsiteX139" fmla="*/ 64407 w 201401"/>
                    <a:gd name="connsiteY139" fmla="*/ 8690 h 35782"/>
                    <a:gd name="connsiteX140" fmla="*/ 64407 w 201401"/>
                    <a:gd name="connsiteY140" fmla="*/ 10223 h 35782"/>
                    <a:gd name="connsiteX141" fmla="*/ 64407 w 201401"/>
                    <a:gd name="connsiteY141" fmla="*/ 10223 h 35782"/>
                    <a:gd name="connsiteX142" fmla="*/ 58785 w 201401"/>
                    <a:gd name="connsiteY142" fmla="*/ 7668 h 35782"/>
                    <a:gd name="connsiteX143" fmla="*/ 50606 w 201401"/>
                    <a:gd name="connsiteY143" fmla="*/ 17380 h 35782"/>
                    <a:gd name="connsiteX144" fmla="*/ 50606 w 201401"/>
                    <a:gd name="connsiteY144" fmla="*/ 18913 h 35782"/>
                    <a:gd name="connsiteX145" fmla="*/ 58785 w 201401"/>
                    <a:gd name="connsiteY145" fmla="*/ 28626 h 35782"/>
                    <a:gd name="connsiteX146" fmla="*/ 63896 w 201401"/>
                    <a:gd name="connsiteY146" fmla="*/ 26581 h 35782"/>
                    <a:gd name="connsiteX147" fmla="*/ 63896 w 201401"/>
                    <a:gd name="connsiteY147" fmla="*/ 26581 h 35782"/>
                    <a:gd name="connsiteX148" fmla="*/ 63896 w 201401"/>
                    <a:gd name="connsiteY148" fmla="*/ 28115 h 35782"/>
                    <a:gd name="connsiteX149" fmla="*/ 62874 w 201401"/>
                    <a:gd name="connsiteY149" fmla="*/ 31693 h 35782"/>
                    <a:gd name="connsiteX150" fmla="*/ 59296 w 201401"/>
                    <a:gd name="connsiteY150" fmla="*/ 32715 h 35782"/>
                    <a:gd name="connsiteX151" fmla="*/ 54184 w 201401"/>
                    <a:gd name="connsiteY151" fmla="*/ 32204 h 35782"/>
                    <a:gd name="connsiteX152" fmla="*/ 53162 w 201401"/>
                    <a:gd name="connsiteY152" fmla="*/ 32715 h 35782"/>
                    <a:gd name="connsiteX153" fmla="*/ 52651 w 201401"/>
                    <a:gd name="connsiteY153" fmla="*/ 33738 h 35782"/>
                    <a:gd name="connsiteX154" fmla="*/ 53162 w 201401"/>
                    <a:gd name="connsiteY154" fmla="*/ 34760 h 35782"/>
                    <a:gd name="connsiteX155" fmla="*/ 59296 w 201401"/>
                    <a:gd name="connsiteY155" fmla="*/ 35782 h 35782"/>
                    <a:gd name="connsiteX156" fmla="*/ 65941 w 201401"/>
                    <a:gd name="connsiteY156" fmla="*/ 33738 h 35782"/>
                    <a:gd name="connsiteX157" fmla="*/ 67986 w 201401"/>
                    <a:gd name="connsiteY157" fmla="*/ 26581 h 35782"/>
                    <a:gd name="connsiteX158" fmla="*/ 67986 w 201401"/>
                    <a:gd name="connsiteY158" fmla="*/ 8690 h 35782"/>
                    <a:gd name="connsiteX159" fmla="*/ 59296 w 201401"/>
                    <a:gd name="connsiteY159" fmla="*/ 10735 h 35782"/>
                    <a:gd name="connsiteX160" fmla="*/ 63896 w 201401"/>
                    <a:gd name="connsiteY160" fmla="*/ 15335 h 35782"/>
                    <a:gd name="connsiteX161" fmla="*/ 63896 w 201401"/>
                    <a:gd name="connsiteY161" fmla="*/ 20958 h 35782"/>
                    <a:gd name="connsiteX162" fmla="*/ 59296 w 201401"/>
                    <a:gd name="connsiteY162" fmla="*/ 25559 h 35782"/>
                    <a:gd name="connsiteX163" fmla="*/ 54695 w 201401"/>
                    <a:gd name="connsiteY163" fmla="*/ 18913 h 35782"/>
                    <a:gd name="connsiteX164" fmla="*/ 54695 w 201401"/>
                    <a:gd name="connsiteY164" fmla="*/ 17891 h 35782"/>
                    <a:gd name="connsiteX165" fmla="*/ 59296 w 201401"/>
                    <a:gd name="connsiteY165" fmla="*/ 10735 h 35782"/>
                    <a:gd name="connsiteX166" fmla="*/ 42427 w 201401"/>
                    <a:gd name="connsiteY166" fmla="*/ 21980 h 35782"/>
                    <a:gd name="connsiteX167" fmla="*/ 38338 w 201401"/>
                    <a:gd name="connsiteY167" fmla="*/ 25559 h 35782"/>
                    <a:gd name="connsiteX168" fmla="*/ 36804 w 201401"/>
                    <a:gd name="connsiteY168" fmla="*/ 25559 h 35782"/>
                    <a:gd name="connsiteX169" fmla="*/ 33737 w 201401"/>
                    <a:gd name="connsiteY169" fmla="*/ 22492 h 35782"/>
                    <a:gd name="connsiteX170" fmla="*/ 33737 w 201401"/>
                    <a:gd name="connsiteY170" fmla="*/ 21980 h 35782"/>
                    <a:gd name="connsiteX171" fmla="*/ 37826 w 201401"/>
                    <a:gd name="connsiteY171" fmla="*/ 18913 h 35782"/>
                    <a:gd name="connsiteX172" fmla="*/ 39871 w 201401"/>
                    <a:gd name="connsiteY172" fmla="*/ 18913 h 35782"/>
                    <a:gd name="connsiteX173" fmla="*/ 41916 w 201401"/>
                    <a:gd name="connsiteY173" fmla="*/ 18913 h 35782"/>
                    <a:gd name="connsiteX174" fmla="*/ 41916 w 201401"/>
                    <a:gd name="connsiteY174" fmla="*/ 21980 h 35782"/>
                    <a:gd name="connsiteX175" fmla="*/ 43450 w 201401"/>
                    <a:gd name="connsiteY175" fmla="*/ 28115 h 35782"/>
                    <a:gd name="connsiteX176" fmla="*/ 44472 w 201401"/>
                    <a:gd name="connsiteY176" fmla="*/ 28626 h 35782"/>
                    <a:gd name="connsiteX177" fmla="*/ 46005 w 201401"/>
                    <a:gd name="connsiteY177" fmla="*/ 28626 h 35782"/>
                    <a:gd name="connsiteX178" fmla="*/ 46516 w 201401"/>
                    <a:gd name="connsiteY178" fmla="*/ 28115 h 35782"/>
                    <a:gd name="connsiteX179" fmla="*/ 46516 w 201401"/>
                    <a:gd name="connsiteY179" fmla="*/ 14824 h 35782"/>
                    <a:gd name="connsiteX180" fmla="*/ 38849 w 201401"/>
                    <a:gd name="connsiteY180" fmla="*/ 7668 h 35782"/>
                    <a:gd name="connsiteX181" fmla="*/ 32715 w 201401"/>
                    <a:gd name="connsiteY181" fmla="*/ 8690 h 35782"/>
                    <a:gd name="connsiteX182" fmla="*/ 32204 w 201401"/>
                    <a:gd name="connsiteY182" fmla="*/ 9201 h 35782"/>
                    <a:gd name="connsiteX183" fmla="*/ 32204 w 201401"/>
                    <a:gd name="connsiteY183" fmla="*/ 10223 h 35782"/>
                    <a:gd name="connsiteX184" fmla="*/ 32204 w 201401"/>
                    <a:gd name="connsiteY184" fmla="*/ 11246 h 35782"/>
                    <a:gd name="connsiteX185" fmla="*/ 32715 w 201401"/>
                    <a:gd name="connsiteY185" fmla="*/ 11757 h 35782"/>
                    <a:gd name="connsiteX186" fmla="*/ 33737 w 201401"/>
                    <a:gd name="connsiteY186" fmla="*/ 11757 h 35782"/>
                    <a:gd name="connsiteX187" fmla="*/ 38338 w 201401"/>
                    <a:gd name="connsiteY187" fmla="*/ 11246 h 35782"/>
                    <a:gd name="connsiteX188" fmla="*/ 42427 w 201401"/>
                    <a:gd name="connsiteY188" fmla="*/ 14824 h 35782"/>
                    <a:gd name="connsiteX189" fmla="*/ 42427 w 201401"/>
                    <a:gd name="connsiteY189" fmla="*/ 16357 h 35782"/>
                    <a:gd name="connsiteX190" fmla="*/ 39871 w 201401"/>
                    <a:gd name="connsiteY190" fmla="*/ 16357 h 35782"/>
                    <a:gd name="connsiteX191" fmla="*/ 38849 w 201401"/>
                    <a:gd name="connsiteY191" fmla="*/ 16357 h 35782"/>
                    <a:gd name="connsiteX192" fmla="*/ 32204 w 201401"/>
                    <a:gd name="connsiteY192" fmla="*/ 17891 h 35782"/>
                    <a:gd name="connsiteX193" fmla="*/ 30159 w 201401"/>
                    <a:gd name="connsiteY193" fmla="*/ 23003 h 35782"/>
                    <a:gd name="connsiteX194" fmla="*/ 30159 w 201401"/>
                    <a:gd name="connsiteY194" fmla="*/ 23514 h 35782"/>
                    <a:gd name="connsiteX195" fmla="*/ 36293 w 201401"/>
                    <a:gd name="connsiteY195" fmla="*/ 29648 h 35782"/>
                    <a:gd name="connsiteX196" fmla="*/ 37826 w 201401"/>
                    <a:gd name="connsiteY196" fmla="*/ 29648 h 35782"/>
                    <a:gd name="connsiteX197" fmla="*/ 42938 w 201401"/>
                    <a:gd name="connsiteY197" fmla="*/ 27603 h 35782"/>
                    <a:gd name="connsiteX198" fmla="*/ 42938 w 201401"/>
                    <a:gd name="connsiteY198" fmla="*/ 27603 h 35782"/>
                    <a:gd name="connsiteX199" fmla="*/ 43450 w 201401"/>
                    <a:gd name="connsiteY199" fmla="*/ 28115 h 35782"/>
                    <a:gd name="connsiteX200" fmla="*/ 25559 w 201401"/>
                    <a:gd name="connsiteY200" fmla="*/ 28626 h 35782"/>
                    <a:gd name="connsiteX201" fmla="*/ 26581 w 201401"/>
                    <a:gd name="connsiteY201" fmla="*/ 28115 h 35782"/>
                    <a:gd name="connsiteX202" fmla="*/ 26581 w 201401"/>
                    <a:gd name="connsiteY202" fmla="*/ 26581 h 35782"/>
                    <a:gd name="connsiteX203" fmla="*/ 25559 w 201401"/>
                    <a:gd name="connsiteY203" fmla="*/ 2556 h 35782"/>
                    <a:gd name="connsiteX204" fmla="*/ 24025 w 201401"/>
                    <a:gd name="connsiteY204" fmla="*/ 1022 h 35782"/>
                    <a:gd name="connsiteX205" fmla="*/ 21469 w 201401"/>
                    <a:gd name="connsiteY205" fmla="*/ 1022 h 35782"/>
                    <a:gd name="connsiteX206" fmla="*/ 19424 w 201401"/>
                    <a:gd name="connsiteY206" fmla="*/ 2556 h 35782"/>
                    <a:gd name="connsiteX207" fmla="*/ 13290 w 201401"/>
                    <a:gd name="connsiteY207" fmla="*/ 20447 h 35782"/>
                    <a:gd name="connsiteX208" fmla="*/ 13290 w 201401"/>
                    <a:gd name="connsiteY208" fmla="*/ 20447 h 35782"/>
                    <a:gd name="connsiteX209" fmla="*/ 7156 w 201401"/>
                    <a:gd name="connsiteY209" fmla="*/ 2556 h 35782"/>
                    <a:gd name="connsiteX210" fmla="*/ 5112 w 201401"/>
                    <a:gd name="connsiteY210" fmla="*/ 1022 h 35782"/>
                    <a:gd name="connsiteX211" fmla="*/ 2556 w 201401"/>
                    <a:gd name="connsiteY211" fmla="*/ 1022 h 35782"/>
                    <a:gd name="connsiteX212" fmla="*/ 1022 w 201401"/>
                    <a:gd name="connsiteY212" fmla="*/ 2556 h 35782"/>
                    <a:gd name="connsiteX213" fmla="*/ 0 w 201401"/>
                    <a:gd name="connsiteY213" fmla="*/ 26581 h 35782"/>
                    <a:gd name="connsiteX214" fmla="*/ 0 w 201401"/>
                    <a:gd name="connsiteY214" fmla="*/ 28115 h 35782"/>
                    <a:gd name="connsiteX215" fmla="*/ 1022 w 201401"/>
                    <a:gd name="connsiteY215" fmla="*/ 28626 h 35782"/>
                    <a:gd name="connsiteX216" fmla="*/ 3067 w 201401"/>
                    <a:gd name="connsiteY216" fmla="*/ 28626 h 35782"/>
                    <a:gd name="connsiteX217" fmla="*/ 4089 w 201401"/>
                    <a:gd name="connsiteY217" fmla="*/ 27603 h 35782"/>
                    <a:gd name="connsiteX218" fmla="*/ 4600 w 201401"/>
                    <a:gd name="connsiteY218" fmla="*/ 6134 h 35782"/>
                    <a:gd name="connsiteX219" fmla="*/ 5112 w 201401"/>
                    <a:gd name="connsiteY219" fmla="*/ 6134 h 35782"/>
                    <a:gd name="connsiteX220" fmla="*/ 11246 w 201401"/>
                    <a:gd name="connsiteY220" fmla="*/ 23514 h 35782"/>
                    <a:gd name="connsiteX221" fmla="*/ 13290 w 201401"/>
                    <a:gd name="connsiteY221" fmla="*/ 24536 h 35782"/>
                    <a:gd name="connsiteX222" fmla="*/ 14824 w 201401"/>
                    <a:gd name="connsiteY222" fmla="*/ 24536 h 35782"/>
                    <a:gd name="connsiteX223" fmla="*/ 16869 w 201401"/>
                    <a:gd name="connsiteY223" fmla="*/ 23514 h 35782"/>
                    <a:gd name="connsiteX224" fmla="*/ 23003 w 201401"/>
                    <a:gd name="connsiteY224" fmla="*/ 6134 h 35782"/>
                    <a:gd name="connsiteX225" fmla="*/ 23003 w 201401"/>
                    <a:gd name="connsiteY225" fmla="*/ 6134 h 35782"/>
                    <a:gd name="connsiteX226" fmla="*/ 23514 w 201401"/>
                    <a:gd name="connsiteY226" fmla="*/ 27603 h 35782"/>
                    <a:gd name="connsiteX227" fmla="*/ 24536 w 201401"/>
                    <a:gd name="connsiteY227" fmla="*/ 28626 h 35782"/>
                    <a:gd name="connsiteX228" fmla="*/ 25559 w 201401"/>
                    <a:gd name="connsiteY228" fmla="*/ 28626 h 3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</a:cxnLst>
                  <a:rect l="l" t="t" r="r" b="b"/>
                  <a:pathLst>
                    <a:path w="201401" h="35782">
                      <a:moveTo>
                        <a:pt x="200379" y="19425"/>
                      </a:moveTo>
                      <a:cubicBezTo>
                        <a:pt x="200890" y="19425"/>
                        <a:pt x="201401" y="19425"/>
                        <a:pt x="201401" y="18402"/>
                      </a:cubicBezTo>
                      <a:lnTo>
                        <a:pt x="201401" y="16357"/>
                      </a:lnTo>
                      <a:cubicBezTo>
                        <a:pt x="201401" y="15846"/>
                        <a:pt x="200890" y="15335"/>
                        <a:pt x="200379" y="15335"/>
                      </a:cubicBezTo>
                      <a:lnTo>
                        <a:pt x="192200" y="15335"/>
                      </a:lnTo>
                      <a:cubicBezTo>
                        <a:pt x="191689" y="15335"/>
                        <a:pt x="191178" y="15335"/>
                        <a:pt x="191178" y="16357"/>
                      </a:cubicBezTo>
                      <a:lnTo>
                        <a:pt x="191178" y="18402"/>
                      </a:lnTo>
                      <a:cubicBezTo>
                        <a:pt x="191178" y="18913"/>
                        <a:pt x="191689" y="19425"/>
                        <a:pt x="192200" y="19425"/>
                      </a:cubicBezTo>
                      <a:lnTo>
                        <a:pt x="200379" y="19425"/>
                      </a:lnTo>
                      <a:close/>
                      <a:moveTo>
                        <a:pt x="186578" y="8690"/>
                      </a:moveTo>
                      <a:cubicBezTo>
                        <a:pt x="186578" y="8179"/>
                        <a:pt x="186066" y="8179"/>
                        <a:pt x="185555" y="8179"/>
                      </a:cubicBezTo>
                      <a:lnTo>
                        <a:pt x="184533" y="8179"/>
                      </a:lnTo>
                      <a:cubicBezTo>
                        <a:pt x="184022" y="8179"/>
                        <a:pt x="183510" y="8179"/>
                        <a:pt x="183510" y="8690"/>
                      </a:cubicBezTo>
                      <a:lnTo>
                        <a:pt x="183510" y="10223"/>
                      </a:lnTo>
                      <a:lnTo>
                        <a:pt x="183510" y="10223"/>
                      </a:lnTo>
                      <a:cubicBezTo>
                        <a:pt x="182488" y="8690"/>
                        <a:pt x="180443" y="7668"/>
                        <a:pt x="177888" y="7668"/>
                      </a:cubicBezTo>
                      <a:cubicBezTo>
                        <a:pt x="172265" y="7668"/>
                        <a:pt x="169709" y="10223"/>
                        <a:pt x="169709" y="17380"/>
                      </a:cubicBezTo>
                      <a:lnTo>
                        <a:pt x="169709" y="18913"/>
                      </a:lnTo>
                      <a:cubicBezTo>
                        <a:pt x="169709" y="26070"/>
                        <a:pt x="172265" y="28626"/>
                        <a:pt x="177888" y="28626"/>
                      </a:cubicBezTo>
                      <a:cubicBezTo>
                        <a:pt x="180443" y="28626"/>
                        <a:pt x="181977" y="28115"/>
                        <a:pt x="182999" y="26581"/>
                      </a:cubicBezTo>
                      <a:lnTo>
                        <a:pt x="182999" y="26581"/>
                      </a:lnTo>
                      <a:lnTo>
                        <a:pt x="182999" y="28115"/>
                      </a:lnTo>
                      <a:cubicBezTo>
                        <a:pt x="182999" y="30159"/>
                        <a:pt x="182488" y="31182"/>
                        <a:pt x="181977" y="31693"/>
                      </a:cubicBezTo>
                      <a:cubicBezTo>
                        <a:pt x="180954" y="32204"/>
                        <a:pt x="179932" y="32715"/>
                        <a:pt x="178399" y="32715"/>
                      </a:cubicBezTo>
                      <a:cubicBezTo>
                        <a:pt x="176865" y="32715"/>
                        <a:pt x="174820" y="32204"/>
                        <a:pt x="173287" y="32204"/>
                      </a:cubicBezTo>
                      <a:cubicBezTo>
                        <a:pt x="172776" y="32204"/>
                        <a:pt x="172265" y="32204"/>
                        <a:pt x="172265" y="32715"/>
                      </a:cubicBezTo>
                      <a:lnTo>
                        <a:pt x="171753" y="33738"/>
                      </a:lnTo>
                      <a:cubicBezTo>
                        <a:pt x="171753" y="34249"/>
                        <a:pt x="171753" y="34760"/>
                        <a:pt x="172265" y="34760"/>
                      </a:cubicBezTo>
                      <a:cubicBezTo>
                        <a:pt x="173798" y="35271"/>
                        <a:pt x="175843" y="35782"/>
                        <a:pt x="178399" y="35782"/>
                      </a:cubicBezTo>
                      <a:cubicBezTo>
                        <a:pt x="181466" y="35782"/>
                        <a:pt x="183510" y="35271"/>
                        <a:pt x="185044" y="33738"/>
                      </a:cubicBezTo>
                      <a:cubicBezTo>
                        <a:pt x="186578" y="32204"/>
                        <a:pt x="187089" y="29648"/>
                        <a:pt x="187089" y="26581"/>
                      </a:cubicBezTo>
                      <a:lnTo>
                        <a:pt x="187089" y="8690"/>
                      </a:lnTo>
                      <a:close/>
                      <a:moveTo>
                        <a:pt x="178399" y="10735"/>
                      </a:moveTo>
                      <a:cubicBezTo>
                        <a:pt x="181466" y="10735"/>
                        <a:pt x="182999" y="12268"/>
                        <a:pt x="182999" y="15335"/>
                      </a:cubicBezTo>
                      <a:lnTo>
                        <a:pt x="182999" y="20958"/>
                      </a:lnTo>
                      <a:cubicBezTo>
                        <a:pt x="182999" y="24025"/>
                        <a:pt x="181466" y="25559"/>
                        <a:pt x="178399" y="25559"/>
                      </a:cubicBezTo>
                      <a:cubicBezTo>
                        <a:pt x="174820" y="25559"/>
                        <a:pt x="173798" y="24536"/>
                        <a:pt x="173798" y="18913"/>
                      </a:cubicBezTo>
                      <a:lnTo>
                        <a:pt x="173798" y="17891"/>
                      </a:lnTo>
                      <a:cubicBezTo>
                        <a:pt x="173287" y="12268"/>
                        <a:pt x="174820" y="10735"/>
                        <a:pt x="178399" y="10735"/>
                      </a:cubicBezTo>
                      <a:moveTo>
                        <a:pt x="159997" y="8690"/>
                      </a:moveTo>
                      <a:cubicBezTo>
                        <a:pt x="159997" y="8179"/>
                        <a:pt x="159485" y="8179"/>
                        <a:pt x="158974" y="8179"/>
                      </a:cubicBezTo>
                      <a:lnTo>
                        <a:pt x="157441" y="8179"/>
                      </a:lnTo>
                      <a:cubicBezTo>
                        <a:pt x="156929" y="8179"/>
                        <a:pt x="156929" y="8179"/>
                        <a:pt x="156929" y="8690"/>
                      </a:cubicBezTo>
                      <a:lnTo>
                        <a:pt x="156929" y="28115"/>
                      </a:lnTo>
                      <a:cubicBezTo>
                        <a:pt x="156929" y="28626"/>
                        <a:pt x="157441" y="28626"/>
                        <a:pt x="157952" y="28626"/>
                      </a:cubicBezTo>
                      <a:lnTo>
                        <a:pt x="159997" y="28626"/>
                      </a:lnTo>
                      <a:cubicBezTo>
                        <a:pt x="160508" y="28626"/>
                        <a:pt x="161019" y="28626"/>
                        <a:pt x="161019" y="28115"/>
                      </a:cubicBezTo>
                      <a:lnTo>
                        <a:pt x="161019" y="16357"/>
                      </a:lnTo>
                      <a:cubicBezTo>
                        <a:pt x="161019" y="14824"/>
                        <a:pt x="161019" y="13291"/>
                        <a:pt x="162041" y="12779"/>
                      </a:cubicBezTo>
                      <a:cubicBezTo>
                        <a:pt x="162552" y="11757"/>
                        <a:pt x="163575" y="11757"/>
                        <a:pt x="165619" y="11757"/>
                      </a:cubicBezTo>
                      <a:lnTo>
                        <a:pt x="166642" y="11757"/>
                      </a:lnTo>
                      <a:cubicBezTo>
                        <a:pt x="167153" y="11757"/>
                        <a:pt x="167664" y="11757"/>
                        <a:pt x="167664" y="11246"/>
                      </a:cubicBezTo>
                      <a:lnTo>
                        <a:pt x="167664" y="9201"/>
                      </a:lnTo>
                      <a:cubicBezTo>
                        <a:pt x="167664" y="8690"/>
                        <a:pt x="167664" y="8690"/>
                        <a:pt x="166642" y="8690"/>
                      </a:cubicBezTo>
                      <a:lnTo>
                        <a:pt x="165619" y="8690"/>
                      </a:lnTo>
                      <a:cubicBezTo>
                        <a:pt x="163063" y="8690"/>
                        <a:pt x="161530" y="9712"/>
                        <a:pt x="160508" y="11246"/>
                      </a:cubicBezTo>
                      <a:lnTo>
                        <a:pt x="160508" y="11246"/>
                      </a:lnTo>
                      <a:lnTo>
                        <a:pt x="159997" y="8690"/>
                      </a:lnTo>
                      <a:close/>
                      <a:moveTo>
                        <a:pt x="147728" y="21469"/>
                      </a:moveTo>
                      <a:cubicBezTo>
                        <a:pt x="147728" y="23003"/>
                        <a:pt x="147728" y="24025"/>
                        <a:pt x="146706" y="24536"/>
                      </a:cubicBezTo>
                      <a:cubicBezTo>
                        <a:pt x="146195" y="25047"/>
                        <a:pt x="145172" y="25559"/>
                        <a:pt x="143639" y="25559"/>
                      </a:cubicBezTo>
                      <a:cubicBezTo>
                        <a:pt x="142106" y="25559"/>
                        <a:pt x="141083" y="25559"/>
                        <a:pt x="140572" y="24536"/>
                      </a:cubicBezTo>
                      <a:cubicBezTo>
                        <a:pt x="140061" y="24025"/>
                        <a:pt x="139550" y="23003"/>
                        <a:pt x="139550" y="21469"/>
                      </a:cubicBezTo>
                      <a:lnTo>
                        <a:pt x="139550" y="8179"/>
                      </a:lnTo>
                      <a:cubicBezTo>
                        <a:pt x="139550" y="7668"/>
                        <a:pt x="139550" y="7668"/>
                        <a:pt x="138527" y="7668"/>
                      </a:cubicBezTo>
                      <a:lnTo>
                        <a:pt x="136483" y="7668"/>
                      </a:lnTo>
                      <a:cubicBezTo>
                        <a:pt x="135971" y="7668"/>
                        <a:pt x="135460" y="7668"/>
                        <a:pt x="135460" y="8179"/>
                      </a:cubicBezTo>
                      <a:lnTo>
                        <a:pt x="135460" y="21980"/>
                      </a:lnTo>
                      <a:cubicBezTo>
                        <a:pt x="135460" y="24536"/>
                        <a:pt x="135971" y="26070"/>
                        <a:pt x="137505" y="27092"/>
                      </a:cubicBezTo>
                      <a:cubicBezTo>
                        <a:pt x="139038" y="28115"/>
                        <a:pt x="140572" y="28626"/>
                        <a:pt x="143639" y="28626"/>
                      </a:cubicBezTo>
                      <a:cubicBezTo>
                        <a:pt x="146706" y="28626"/>
                        <a:pt x="148240" y="28115"/>
                        <a:pt x="149262" y="27092"/>
                      </a:cubicBezTo>
                      <a:cubicBezTo>
                        <a:pt x="150796" y="26070"/>
                        <a:pt x="151307" y="24536"/>
                        <a:pt x="151307" y="21980"/>
                      </a:cubicBezTo>
                      <a:lnTo>
                        <a:pt x="151307" y="8179"/>
                      </a:lnTo>
                      <a:cubicBezTo>
                        <a:pt x="151307" y="7668"/>
                        <a:pt x="151307" y="7156"/>
                        <a:pt x="150284" y="7156"/>
                      </a:cubicBezTo>
                      <a:lnTo>
                        <a:pt x="148751" y="7156"/>
                      </a:lnTo>
                      <a:cubicBezTo>
                        <a:pt x="148240" y="7156"/>
                        <a:pt x="147728" y="7156"/>
                        <a:pt x="147728" y="7668"/>
                      </a:cubicBezTo>
                      <a:lnTo>
                        <a:pt x="147728" y="21469"/>
                      </a:lnTo>
                      <a:close/>
                      <a:moveTo>
                        <a:pt x="118080" y="511"/>
                      </a:moveTo>
                      <a:cubicBezTo>
                        <a:pt x="118080" y="0"/>
                        <a:pt x="118080" y="0"/>
                        <a:pt x="117058" y="0"/>
                      </a:cubicBezTo>
                      <a:lnTo>
                        <a:pt x="115014" y="0"/>
                      </a:lnTo>
                      <a:cubicBezTo>
                        <a:pt x="114502" y="0"/>
                        <a:pt x="113991" y="0"/>
                        <a:pt x="113991" y="511"/>
                      </a:cubicBezTo>
                      <a:lnTo>
                        <a:pt x="113991" y="21469"/>
                      </a:lnTo>
                      <a:cubicBezTo>
                        <a:pt x="113991" y="27092"/>
                        <a:pt x="117058" y="28626"/>
                        <a:pt x="122170" y="28626"/>
                      </a:cubicBezTo>
                      <a:cubicBezTo>
                        <a:pt x="128304" y="28626"/>
                        <a:pt x="130860" y="26070"/>
                        <a:pt x="130860" y="18913"/>
                      </a:cubicBezTo>
                      <a:lnTo>
                        <a:pt x="130860" y="17380"/>
                      </a:lnTo>
                      <a:cubicBezTo>
                        <a:pt x="130860" y="10735"/>
                        <a:pt x="128304" y="7668"/>
                        <a:pt x="123192" y="7668"/>
                      </a:cubicBezTo>
                      <a:cubicBezTo>
                        <a:pt x="120636" y="7668"/>
                        <a:pt x="119103" y="8179"/>
                        <a:pt x="118080" y="9712"/>
                      </a:cubicBezTo>
                      <a:lnTo>
                        <a:pt x="118080" y="9712"/>
                      </a:lnTo>
                      <a:lnTo>
                        <a:pt x="118080" y="511"/>
                      </a:lnTo>
                      <a:close/>
                      <a:moveTo>
                        <a:pt x="122681" y="25559"/>
                      </a:moveTo>
                      <a:cubicBezTo>
                        <a:pt x="119614" y="25559"/>
                        <a:pt x="118080" y="24536"/>
                        <a:pt x="118080" y="20958"/>
                      </a:cubicBezTo>
                      <a:lnTo>
                        <a:pt x="118080" y="15335"/>
                      </a:lnTo>
                      <a:cubicBezTo>
                        <a:pt x="118080" y="11246"/>
                        <a:pt x="119614" y="10223"/>
                        <a:pt x="122681" y="10223"/>
                      </a:cubicBezTo>
                      <a:cubicBezTo>
                        <a:pt x="126259" y="10223"/>
                        <a:pt x="127281" y="12268"/>
                        <a:pt x="127281" y="16869"/>
                      </a:cubicBezTo>
                      <a:lnTo>
                        <a:pt x="127281" y="18402"/>
                      </a:lnTo>
                      <a:cubicBezTo>
                        <a:pt x="127281" y="24536"/>
                        <a:pt x="125748" y="25559"/>
                        <a:pt x="122681" y="25559"/>
                      </a:cubicBezTo>
                      <a:moveTo>
                        <a:pt x="97634" y="16869"/>
                      </a:moveTo>
                      <a:cubicBezTo>
                        <a:pt x="97634" y="12779"/>
                        <a:pt x="98145" y="10735"/>
                        <a:pt x="101723" y="10735"/>
                      </a:cubicBezTo>
                      <a:cubicBezTo>
                        <a:pt x="104790" y="10735"/>
                        <a:pt x="105812" y="12268"/>
                        <a:pt x="105812" y="16357"/>
                      </a:cubicBezTo>
                      <a:cubicBezTo>
                        <a:pt x="105812" y="16869"/>
                        <a:pt x="105812" y="16869"/>
                        <a:pt x="105301" y="16869"/>
                      </a:cubicBezTo>
                      <a:lnTo>
                        <a:pt x="97634" y="16869"/>
                      </a:lnTo>
                      <a:close/>
                      <a:moveTo>
                        <a:pt x="109902" y="15846"/>
                      </a:moveTo>
                      <a:cubicBezTo>
                        <a:pt x="109902" y="9712"/>
                        <a:pt x="107346" y="7668"/>
                        <a:pt x="102234" y="7668"/>
                      </a:cubicBezTo>
                      <a:cubicBezTo>
                        <a:pt x="96100" y="7668"/>
                        <a:pt x="94055" y="11246"/>
                        <a:pt x="94055" y="17891"/>
                      </a:cubicBezTo>
                      <a:lnTo>
                        <a:pt x="94055" y="19425"/>
                      </a:lnTo>
                      <a:cubicBezTo>
                        <a:pt x="94055" y="26581"/>
                        <a:pt x="96100" y="29648"/>
                        <a:pt x="102745" y="29648"/>
                      </a:cubicBezTo>
                      <a:cubicBezTo>
                        <a:pt x="104790" y="29648"/>
                        <a:pt x="107346" y="29137"/>
                        <a:pt x="108879" y="28626"/>
                      </a:cubicBezTo>
                      <a:cubicBezTo>
                        <a:pt x="109390" y="28626"/>
                        <a:pt x="109390" y="28115"/>
                        <a:pt x="109390" y="28115"/>
                      </a:cubicBezTo>
                      <a:cubicBezTo>
                        <a:pt x="109390" y="28115"/>
                        <a:pt x="109390" y="27603"/>
                        <a:pt x="109390" y="27092"/>
                      </a:cubicBezTo>
                      <a:lnTo>
                        <a:pt x="108879" y="26070"/>
                      </a:lnTo>
                      <a:cubicBezTo>
                        <a:pt x="108879" y="25559"/>
                        <a:pt x="108368" y="25559"/>
                        <a:pt x="108368" y="25559"/>
                      </a:cubicBezTo>
                      <a:cubicBezTo>
                        <a:pt x="108368" y="25559"/>
                        <a:pt x="107857" y="25559"/>
                        <a:pt x="107857" y="25559"/>
                      </a:cubicBezTo>
                      <a:cubicBezTo>
                        <a:pt x="106835" y="26070"/>
                        <a:pt x="104790" y="26581"/>
                        <a:pt x="103256" y="26581"/>
                      </a:cubicBezTo>
                      <a:cubicBezTo>
                        <a:pt x="99167" y="26581"/>
                        <a:pt x="98145" y="25047"/>
                        <a:pt x="98145" y="20958"/>
                      </a:cubicBezTo>
                      <a:lnTo>
                        <a:pt x="108879" y="20958"/>
                      </a:lnTo>
                      <a:cubicBezTo>
                        <a:pt x="109902" y="20958"/>
                        <a:pt x="109902" y="20447"/>
                        <a:pt x="109902" y="19936"/>
                      </a:cubicBezTo>
                      <a:lnTo>
                        <a:pt x="109902" y="15846"/>
                      </a:lnTo>
                      <a:close/>
                      <a:moveTo>
                        <a:pt x="89455" y="511"/>
                      </a:moveTo>
                      <a:cubicBezTo>
                        <a:pt x="89455" y="0"/>
                        <a:pt x="89455" y="0"/>
                        <a:pt x="88433" y="0"/>
                      </a:cubicBezTo>
                      <a:lnTo>
                        <a:pt x="86388" y="0"/>
                      </a:lnTo>
                      <a:cubicBezTo>
                        <a:pt x="85877" y="0"/>
                        <a:pt x="85365" y="0"/>
                        <a:pt x="85365" y="511"/>
                      </a:cubicBezTo>
                      <a:lnTo>
                        <a:pt x="85365" y="8690"/>
                      </a:lnTo>
                      <a:lnTo>
                        <a:pt x="85365" y="8690"/>
                      </a:lnTo>
                      <a:cubicBezTo>
                        <a:pt x="84343" y="7668"/>
                        <a:pt x="82810" y="7156"/>
                        <a:pt x="80765" y="7156"/>
                      </a:cubicBezTo>
                      <a:cubicBezTo>
                        <a:pt x="75142" y="7156"/>
                        <a:pt x="72075" y="9712"/>
                        <a:pt x="72075" y="16869"/>
                      </a:cubicBezTo>
                      <a:lnTo>
                        <a:pt x="72075" y="18402"/>
                      </a:lnTo>
                      <a:cubicBezTo>
                        <a:pt x="72075" y="25559"/>
                        <a:pt x="74120" y="28626"/>
                        <a:pt x="80765" y="28626"/>
                      </a:cubicBezTo>
                      <a:cubicBezTo>
                        <a:pt x="86388" y="28626"/>
                        <a:pt x="89455" y="26070"/>
                        <a:pt x="89455" y="20958"/>
                      </a:cubicBezTo>
                      <a:lnTo>
                        <a:pt x="89455" y="511"/>
                      </a:lnTo>
                      <a:close/>
                      <a:moveTo>
                        <a:pt x="85365" y="20958"/>
                      </a:moveTo>
                      <a:cubicBezTo>
                        <a:pt x="85365" y="24536"/>
                        <a:pt x="84343" y="25559"/>
                        <a:pt x="80765" y="25559"/>
                      </a:cubicBezTo>
                      <a:cubicBezTo>
                        <a:pt x="77187" y="25559"/>
                        <a:pt x="76164" y="24025"/>
                        <a:pt x="76164" y="18402"/>
                      </a:cubicBezTo>
                      <a:lnTo>
                        <a:pt x="76164" y="17380"/>
                      </a:lnTo>
                      <a:cubicBezTo>
                        <a:pt x="76164" y="12268"/>
                        <a:pt x="77187" y="10735"/>
                        <a:pt x="80765" y="10735"/>
                      </a:cubicBezTo>
                      <a:cubicBezTo>
                        <a:pt x="83832" y="10735"/>
                        <a:pt x="85365" y="12268"/>
                        <a:pt x="85365" y="15846"/>
                      </a:cubicBezTo>
                      <a:lnTo>
                        <a:pt x="85365" y="20958"/>
                      </a:lnTo>
                      <a:close/>
                      <a:moveTo>
                        <a:pt x="67986" y="8690"/>
                      </a:moveTo>
                      <a:cubicBezTo>
                        <a:pt x="67986" y="8179"/>
                        <a:pt x="67474" y="8179"/>
                        <a:pt x="66963" y="8179"/>
                      </a:cubicBezTo>
                      <a:lnTo>
                        <a:pt x="65430" y="8179"/>
                      </a:lnTo>
                      <a:cubicBezTo>
                        <a:pt x="64919" y="8179"/>
                        <a:pt x="64919" y="8179"/>
                        <a:pt x="64407" y="8690"/>
                      </a:cubicBezTo>
                      <a:lnTo>
                        <a:pt x="64407" y="10223"/>
                      </a:lnTo>
                      <a:lnTo>
                        <a:pt x="64407" y="10223"/>
                      </a:lnTo>
                      <a:cubicBezTo>
                        <a:pt x="63385" y="8690"/>
                        <a:pt x="61341" y="7668"/>
                        <a:pt x="58785" y="7668"/>
                      </a:cubicBezTo>
                      <a:cubicBezTo>
                        <a:pt x="53162" y="7668"/>
                        <a:pt x="50606" y="10223"/>
                        <a:pt x="50606" y="17380"/>
                      </a:cubicBezTo>
                      <a:lnTo>
                        <a:pt x="50606" y="18913"/>
                      </a:lnTo>
                      <a:cubicBezTo>
                        <a:pt x="50606" y="26070"/>
                        <a:pt x="53162" y="28626"/>
                        <a:pt x="58785" y="28626"/>
                      </a:cubicBezTo>
                      <a:cubicBezTo>
                        <a:pt x="61341" y="28626"/>
                        <a:pt x="62874" y="28115"/>
                        <a:pt x="63896" y="26581"/>
                      </a:cubicBezTo>
                      <a:lnTo>
                        <a:pt x="63896" y="26581"/>
                      </a:lnTo>
                      <a:lnTo>
                        <a:pt x="63896" y="28115"/>
                      </a:lnTo>
                      <a:cubicBezTo>
                        <a:pt x="63896" y="30159"/>
                        <a:pt x="63385" y="31182"/>
                        <a:pt x="62874" y="31693"/>
                      </a:cubicBezTo>
                      <a:cubicBezTo>
                        <a:pt x="61852" y="32204"/>
                        <a:pt x="60829" y="32715"/>
                        <a:pt x="59296" y="32715"/>
                      </a:cubicBezTo>
                      <a:cubicBezTo>
                        <a:pt x="57762" y="32715"/>
                        <a:pt x="55717" y="32204"/>
                        <a:pt x="54184" y="32204"/>
                      </a:cubicBezTo>
                      <a:cubicBezTo>
                        <a:pt x="53673" y="32204"/>
                        <a:pt x="53162" y="32204"/>
                        <a:pt x="53162" y="32715"/>
                      </a:cubicBezTo>
                      <a:lnTo>
                        <a:pt x="52651" y="33738"/>
                      </a:lnTo>
                      <a:cubicBezTo>
                        <a:pt x="52139" y="34249"/>
                        <a:pt x="52651" y="34760"/>
                        <a:pt x="53162" y="34760"/>
                      </a:cubicBezTo>
                      <a:cubicBezTo>
                        <a:pt x="54695" y="35271"/>
                        <a:pt x="56740" y="35782"/>
                        <a:pt x="59296" y="35782"/>
                      </a:cubicBezTo>
                      <a:cubicBezTo>
                        <a:pt x="62363" y="35782"/>
                        <a:pt x="64407" y="35271"/>
                        <a:pt x="65941" y="33738"/>
                      </a:cubicBezTo>
                      <a:cubicBezTo>
                        <a:pt x="67474" y="32204"/>
                        <a:pt x="67986" y="29648"/>
                        <a:pt x="67986" y="26581"/>
                      </a:cubicBezTo>
                      <a:lnTo>
                        <a:pt x="67986" y="8690"/>
                      </a:lnTo>
                      <a:close/>
                      <a:moveTo>
                        <a:pt x="59296" y="10735"/>
                      </a:moveTo>
                      <a:cubicBezTo>
                        <a:pt x="62363" y="10735"/>
                        <a:pt x="63896" y="12268"/>
                        <a:pt x="63896" y="15335"/>
                      </a:cubicBezTo>
                      <a:lnTo>
                        <a:pt x="63896" y="20958"/>
                      </a:lnTo>
                      <a:cubicBezTo>
                        <a:pt x="63896" y="24025"/>
                        <a:pt x="62363" y="25559"/>
                        <a:pt x="59296" y="25559"/>
                      </a:cubicBezTo>
                      <a:cubicBezTo>
                        <a:pt x="55717" y="25559"/>
                        <a:pt x="54695" y="24536"/>
                        <a:pt x="54695" y="18913"/>
                      </a:cubicBezTo>
                      <a:lnTo>
                        <a:pt x="54695" y="17891"/>
                      </a:lnTo>
                      <a:cubicBezTo>
                        <a:pt x="54695" y="12268"/>
                        <a:pt x="55717" y="10735"/>
                        <a:pt x="59296" y="10735"/>
                      </a:cubicBezTo>
                      <a:moveTo>
                        <a:pt x="42427" y="21980"/>
                      </a:moveTo>
                      <a:cubicBezTo>
                        <a:pt x="42427" y="24536"/>
                        <a:pt x="41405" y="25559"/>
                        <a:pt x="38338" y="25559"/>
                      </a:cubicBezTo>
                      <a:lnTo>
                        <a:pt x="36804" y="25559"/>
                      </a:lnTo>
                      <a:cubicBezTo>
                        <a:pt x="34760" y="25559"/>
                        <a:pt x="33737" y="24536"/>
                        <a:pt x="33737" y="22492"/>
                      </a:cubicBezTo>
                      <a:lnTo>
                        <a:pt x="33737" y="21980"/>
                      </a:lnTo>
                      <a:cubicBezTo>
                        <a:pt x="33737" y="19425"/>
                        <a:pt x="34760" y="18913"/>
                        <a:pt x="37826" y="18913"/>
                      </a:cubicBezTo>
                      <a:lnTo>
                        <a:pt x="39871" y="18913"/>
                      </a:lnTo>
                      <a:cubicBezTo>
                        <a:pt x="40382" y="18913"/>
                        <a:pt x="41405" y="18913"/>
                        <a:pt x="41916" y="18913"/>
                      </a:cubicBezTo>
                      <a:lnTo>
                        <a:pt x="41916" y="21980"/>
                      </a:lnTo>
                      <a:close/>
                      <a:moveTo>
                        <a:pt x="43450" y="28115"/>
                      </a:moveTo>
                      <a:cubicBezTo>
                        <a:pt x="43450" y="28626"/>
                        <a:pt x="43961" y="28626"/>
                        <a:pt x="44472" y="28626"/>
                      </a:cubicBezTo>
                      <a:lnTo>
                        <a:pt x="46005" y="28626"/>
                      </a:lnTo>
                      <a:cubicBezTo>
                        <a:pt x="46516" y="28626"/>
                        <a:pt x="46516" y="28626"/>
                        <a:pt x="46516" y="28115"/>
                      </a:cubicBezTo>
                      <a:lnTo>
                        <a:pt x="46516" y="14824"/>
                      </a:lnTo>
                      <a:cubicBezTo>
                        <a:pt x="46516" y="9712"/>
                        <a:pt x="43961" y="7668"/>
                        <a:pt x="38849" y="7668"/>
                      </a:cubicBezTo>
                      <a:cubicBezTo>
                        <a:pt x="36804" y="7668"/>
                        <a:pt x="34248" y="8179"/>
                        <a:pt x="32715" y="8690"/>
                      </a:cubicBezTo>
                      <a:cubicBezTo>
                        <a:pt x="32204" y="8690"/>
                        <a:pt x="32204" y="9201"/>
                        <a:pt x="32204" y="9201"/>
                      </a:cubicBezTo>
                      <a:cubicBezTo>
                        <a:pt x="32204" y="9201"/>
                        <a:pt x="32204" y="9712"/>
                        <a:pt x="32204" y="10223"/>
                      </a:cubicBezTo>
                      <a:lnTo>
                        <a:pt x="32204" y="11246"/>
                      </a:lnTo>
                      <a:cubicBezTo>
                        <a:pt x="32204" y="11757"/>
                        <a:pt x="32204" y="11757"/>
                        <a:pt x="32715" y="11757"/>
                      </a:cubicBezTo>
                      <a:cubicBezTo>
                        <a:pt x="32715" y="11757"/>
                        <a:pt x="33226" y="11757"/>
                        <a:pt x="33737" y="11757"/>
                      </a:cubicBezTo>
                      <a:cubicBezTo>
                        <a:pt x="35271" y="11246"/>
                        <a:pt x="36804" y="11246"/>
                        <a:pt x="38338" y="11246"/>
                      </a:cubicBezTo>
                      <a:cubicBezTo>
                        <a:pt x="41405" y="11246"/>
                        <a:pt x="42427" y="11757"/>
                        <a:pt x="42427" y="14824"/>
                      </a:cubicBezTo>
                      <a:lnTo>
                        <a:pt x="42427" y="16357"/>
                      </a:lnTo>
                      <a:cubicBezTo>
                        <a:pt x="41916" y="16357"/>
                        <a:pt x="40894" y="16357"/>
                        <a:pt x="39871" y="16357"/>
                      </a:cubicBezTo>
                      <a:lnTo>
                        <a:pt x="38849" y="16357"/>
                      </a:lnTo>
                      <a:cubicBezTo>
                        <a:pt x="35271" y="16357"/>
                        <a:pt x="33737" y="16869"/>
                        <a:pt x="32204" y="17891"/>
                      </a:cubicBezTo>
                      <a:cubicBezTo>
                        <a:pt x="30670" y="18913"/>
                        <a:pt x="30159" y="20447"/>
                        <a:pt x="30159" y="23003"/>
                      </a:cubicBezTo>
                      <a:lnTo>
                        <a:pt x="30159" y="23514"/>
                      </a:lnTo>
                      <a:cubicBezTo>
                        <a:pt x="30159" y="27092"/>
                        <a:pt x="32204" y="29648"/>
                        <a:pt x="36293" y="29648"/>
                      </a:cubicBezTo>
                      <a:lnTo>
                        <a:pt x="37826" y="29648"/>
                      </a:lnTo>
                      <a:cubicBezTo>
                        <a:pt x="40382" y="29648"/>
                        <a:pt x="42427" y="29137"/>
                        <a:pt x="42938" y="27603"/>
                      </a:cubicBezTo>
                      <a:lnTo>
                        <a:pt x="42938" y="27603"/>
                      </a:lnTo>
                      <a:lnTo>
                        <a:pt x="43450" y="28115"/>
                      </a:lnTo>
                      <a:close/>
                      <a:moveTo>
                        <a:pt x="25559" y="28626"/>
                      </a:moveTo>
                      <a:cubicBezTo>
                        <a:pt x="26070" y="28626"/>
                        <a:pt x="26581" y="28626"/>
                        <a:pt x="26581" y="28115"/>
                      </a:cubicBezTo>
                      <a:cubicBezTo>
                        <a:pt x="26581" y="27603"/>
                        <a:pt x="26581" y="27092"/>
                        <a:pt x="26581" y="26581"/>
                      </a:cubicBezTo>
                      <a:cubicBezTo>
                        <a:pt x="26070" y="18402"/>
                        <a:pt x="26070" y="10223"/>
                        <a:pt x="25559" y="2556"/>
                      </a:cubicBezTo>
                      <a:cubicBezTo>
                        <a:pt x="25559" y="1533"/>
                        <a:pt x="25047" y="1022"/>
                        <a:pt x="24025" y="1022"/>
                      </a:cubicBezTo>
                      <a:lnTo>
                        <a:pt x="21469" y="1022"/>
                      </a:lnTo>
                      <a:cubicBezTo>
                        <a:pt x="19935" y="1022"/>
                        <a:pt x="19935" y="1022"/>
                        <a:pt x="19424" y="2556"/>
                      </a:cubicBezTo>
                      <a:cubicBezTo>
                        <a:pt x="17380" y="8690"/>
                        <a:pt x="15335" y="15335"/>
                        <a:pt x="13290" y="20447"/>
                      </a:cubicBezTo>
                      <a:lnTo>
                        <a:pt x="13290" y="20447"/>
                      </a:lnTo>
                      <a:cubicBezTo>
                        <a:pt x="11246" y="14824"/>
                        <a:pt x="9201" y="8179"/>
                        <a:pt x="7156" y="2556"/>
                      </a:cubicBezTo>
                      <a:cubicBezTo>
                        <a:pt x="6645" y="1533"/>
                        <a:pt x="6645" y="1022"/>
                        <a:pt x="5112" y="1022"/>
                      </a:cubicBezTo>
                      <a:lnTo>
                        <a:pt x="2556" y="1022"/>
                      </a:lnTo>
                      <a:cubicBezTo>
                        <a:pt x="1022" y="1022"/>
                        <a:pt x="1022" y="1022"/>
                        <a:pt x="1022" y="2556"/>
                      </a:cubicBezTo>
                      <a:cubicBezTo>
                        <a:pt x="511" y="10223"/>
                        <a:pt x="0" y="18402"/>
                        <a:pt x="0" y="26581"/>
                      </a:cubicBezTo>
                      <a:cubicBezTo>
                        <a:pt x="0" y="27092"/>
                        <a:pt x="0" y="27603"/>
                        <a:pt x="0" y="28115"/>
                      </a:cubicBezTo>
                      <a:cubicBezTo>
                        <a:pt x="0" y="28626"/>
                        <a:pt x="511" y="28626"/>
                        <a:pt x="1022" y="28626"/>
                      </a:cubicBezTo>
                      <a:lnTo>
                        <a:pt x="3067" y="28626"/>
                      </a:lnTo>
                      <a:cubicBezTo>
                        <a:pt x="3578" y="28626"/>
                        <a:pt x="4089" y="28626"/>
                        <a:pt x="4089" y="27603"/>
                      </a:cubicBezTo>
                      <a:cubicBezTo>
                        <a:pt x="4089" y="20447"/>
                        <a:pt x="4089" y="12268"/>
                        <a:pt x="4600" y="6134"/>
                      </a:cubicBezTo>
                      <a:lnTo>
                        <a:pt x="5112" y="6134"/>
                      </a:lnTo>
                      <a:cubicBezTo>
                        <a:pt x="7156" y="11246"/>
                        <a:pt x="9201" y="18402"/>
                        <a:pt x="11246" y="23514"/>
                      </a:cubicBezTo>
                      <a:cubicBezTo>
                        <a:pt x="11757" y="24536"/>
                        <a:pt x="12268" y="24536"/>
                        <a:pt x="13290" y="24536"/>
                      </a:cubicBezTo>
                      <a:lnTo>
                        <a:pt x="14824" y="24536"/>
                      </a:lnTo>
                      <a:cubicBezTo>
                        <a:pt x="15846" y="24536"/>
                        <a:pt x="16357" y="24536"/>
                        <a:pt x="16869" y="23514"/>
                      </a:cubicBezTo>
                      <a:cubicBezTo>
                        <a:pt x="18913" y="18913"/>
                        <a:pt x="20958" y="11757"/>
                        <a:pt x="23003" y="6134"/>
                      </a:cubicBezTo>
                      <a:lnTo>
                        <a:pt x="23003" y="6134"/>
                      </a:lnTo>
                      <a:cubicBezTo>
                        <a:pt x="23514" y="12779"/>
                        <a:pt x="23514" y="20447"/>
                        <a:pt x="23514" y="27603"/>
                      </a:cubicBezTo>
                      <a:cubicBezTo>
                        <a:pt x="23514" y="28115"/>
                        <a:pt x="23514" y="28626"/>
                        <a:pt x="24536" y="28626"/>
                      </a:cubicBezTo>
                      <a:lnTo>
                        <a:pt x="25559" y="28626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0" name="Freihandform: Form 119">
                  <a:extLst>
                    <a:ext uri="{FF2B5EF4-FFF2-40B4-BE49-F238E27FC236}">
                      <a16:creationId xmlns:a16="http://schemas.microsoft.com/office/drawing/2014/main" id="{7BF205D5-8E5B-4AE9-B401-A6C389172FC9}"/>
                    </a:ext>
                  </a:extLst>
                </p:cNvPr>
                <p:cNvSpPr/>
                <p:nvPr/>
              </p:nvSpPr>
              <p:spPr>
                <a:xfrm>
                  <a:off x="7402146" y="2005493"/>
                  <a:ext cx="173798" cy="29136"/>
                </a:xfrm>
                <a:custGeom>
                  <a:avLst/>
                  <a:gdLst>
                    <a:gd name="connsiteX0" fmla="*/ 173287 w 173798"/>
                    <a:gd name="connsiteY0" fmla="*/ 28115 h 29136"/>
                    <a:gd name="connsiteX1" fmla="*/ 173798 w 173798"/>
                    <a:gd name="connsiteY1" fmla="*/ 27603 h 29136"/>
                    <a:gd name="connsiteX2" fmla="*/ 173798 w 173798"/>
                    <a:gd name="connsiteY2" fmla="*/ 25559 h 29136"/>
                    <a:gd name="connsiteX3" fmla="*/ 173287 w 173798"/>
                    <a:gd name="connsiteY3" fmla="*/ 24536 h 29136"/>
                    <a:gd name="connsiteX4" fmla="*/ 171242 w 173798"/>
                    <a:gd name="connsiteY4" fmla="*/ 24536 h 29136"/>
                    <a:gd name="connsiteX5" fmla="*/ 168687 w 173798"/>
                    <a:gd name="connsiteY5" fmla="*/ 23514 h 29136"/>
                    <a:gd name="connsiteX6" fmla="*/ 168175 w 173798"/>
                    <a:gd name="connsiteY6" fmla="*/ 20447 h 29136"/>
                    <a:gd name="connsiteX7" fmla="*/ 168175 w 173798"/>
                    <a:gd name="connsiteY7" fmla="*/ 10223 h 29136"/>
                    <a:gd name="connsiteX8" fmla="*/ 172776 w 173798"/>
                    <a:gd name="connsiteY8" fmla="*/ 10223 h 29136"/>
                    <a:gd name="connsiteX9" fmla="*/ 173287 w 173798"/>
                    <a:gd name="connsiteY9" fmla="*/ 9712 h 29136"/>
                    <a:gd name="connsiteX10" fmla="*/ 173287 w 173798"/>
                    <a:gd name="connsiteY10" fmla="*/ 7668 h 29136"/>
                    <a:gd name="connsiteX11" fmla="*/ 172776 w 173798"/>
                    <a:gd name="connsiteY11" fmla="*/ 7156 h 29136"/>
                    <a:gd name="connsiteX12" fmla="*/ 168175 w 173798"/>
                    <a:gd name="connsiteY12" fmla="*/ 7156 h 29136"/>
                    <a:gd name="connsiteX13" fmla="*/ 168175 w 173798"/>
                    <a:gd name="connsiteY13" fmla="*/ 2556 h 29136"/>
                    <a:gd name="connsiteX14" fmla="*/ 167153 w 173798"/>
                    <a:gd name="connsiteY14" fmla="*/ 1533 h 29136"/>
                    <a:gd name="connsiteX15" fmla="*/ 165108 w 173798"/>
                    <a:gd name="connsiteY15" fmla="*/ 1533 h 29136"/>
                    <a:gd name="connsiteX16" fmla="*/ 164086 w 173798"/>
                    <a:gd name="connsiteY16" fmla="*/ 2556 h 29136"/>
                    <a:gd name="connsiteX17" fmla="*/ 164086 w 173798"/>
                    <a:gd name="connsiteY17" fmla="*/ 7156 h 29136"/>
                    <a:gd name="connsiteX18" fmla="*/ 161530 w 173798"/>
                    <a:gd name="connsiteY18" fmla="*/ 7668 h 29136"/>
                    <a:gd name="connsiteX19" fmla="*/ 161019 w 173798"/>
                    <a:gd name="connsiteY19" fmla="*/ 8179 h 29136"/>
                    <a:gd name="connsiteX20" fmla="*/ 161019 w 173798"/>
                    <a:gd name="connsiteY20" fmla="*/ 9712 h 29136"/>
                    <a:gd name="connsiteX21" fmla="*/ 161530 w 173798"/>
                    <a:gd name="connsiteY21" fmla="*/ 10223 h 29136"/>
                    <a:gd name="connsiteX22" fmla="*/ 164086 w 173798"/>
                    <a:gd name="connsiteY22" fmla="*/ 10223 h 29136"/>
                    <a:gd name="connsiteX23" fmla="*/ 164086 w 173798"/>
                    <a:gd name="connsiteY23" fmla="*/ 20958 h 29136"/>
                    <a:gd name="connsiteX24" fmla="*/ 165108 w 173798"/>
                    <a:gd name="connsiteY24" fmla="*/ 26070 h 29136"/>
                    <a:gd name="connsiteX25" fmla="*/ 170220 w 173798"/>
                    <a:gd name="connsiteY25" fmla="*/ 27603 h 29136"/>
                    <a:gd name="connsiteX26" fmla="*/ 173287 w 173798"/>
                    <a:gd name="connsiteY26" fmla="*/ 27603 h 29136"/>
                    <a:gd name="connsiteX27" fmla="*/ 157952 w 173798"/>
                    <a:gd name="connsiteY27" fmla="*/ 511 h 29136"/>
                    <a:gd name="connsiteX28" fmla="*/ 156930 w 173798"/>
                    <a:gd name="connsiteY28" fmla="*/ 0 h 29136"/>
                    <a:gd name="connsiteX29" fmla="*/ 154885 w 173798"/>
                    <a:gd name="connsiteY29" fmla="*/ 0 h 29136"/>
                    <a:gd name="connsiteX30" fmla="*/ 153862 w 173798"/>
                    <a:gd name="connsiteY30" fmla="*/ 511 h 29136"/>
                    <a:gd name="connsiteX31" fmla="*/ 153862 w 173798"/>
                    <a:gd name="connsiteY31" fmla="*/ 8690 h 29136"/>
                    <a:gd name="connsiteX32" fmla="*/ 153862 w 173798"/>
                    <a:gd name="connsiteY32" fmla="*/ 8690 h 29136"/>
                    <a:gd name="connsiteX33" fmla="*/ 149262 w 173798"/>
                    <a:gd name="connsiteY33" fmla="*/ 7156 h 29136"/>
                    <a:gd name="connsiteX34" fmla="*/ 140572 w 173798"/>
                    <a:gd name="connsiteY34" fmla="*/ 16869 h 29136"/>
                    <a:gd name="connsiteX35" fmla="*/ 140572 w 173798"/>
                    <a:gd name="connsiteY35" fmla="*/ 18402 h 29136"/>
                    <a:gd name="connsiteX36" fmla="*/ 149262 w 173798"/>
                    <a:gd name="connsiteY36" fmla="*/ 28626 h 29136"/>
                    <a:gd name="connsiteX37" fmla="*/ 157441 w 173798"/>
                    <a:gd name="connsiteY37" fmla="*/ 20958 h 29136"/>
                    <a:gd name="connsiteX38" fmla="*/ 157441 w 173798"/>
                    <a:gd name="connsiteY38" fmla="*/ 511 h 29136"/>
                    <a:gd name="connsiteX39" fmla="*/ 154374 w 173798"/>
                    <a:gd name="connsiteY39" fmla="*/ 20958 h 29136"/>
                    <a:gd name="connsiteX40" fmla="*/ 149773 w 173798"/>
                    <a:gd name="connsiteY40" fmla="*/ 25559 h 29136"/>
                    <a:gd name="connsiteX41" fmla="*/ 145173 w 173798"/>
                    <a:gd name="connsiteY41" fmla="*/ 18402 h 29136"/>
                    <a:gd name="connsiteX42" fmla="*/ 145173 w 173798"/>
                    <a:gd name="connsiteY42" fmla="*/ 17380 h 29136"/>
                    <a:gd name="connsiteX43" fmla="*/ 149773 w 173798"/>
                    <a:gd name="connsiteY43" fmla="*/ 10735 h 29136"/>
                    <a:gd name="connsiteX44" fmla="*/ 154374 w 173798"/>
                    <a:gd name="connsiteY44" fmla="*/ 15846 h 29136"/>
                    <a:gd name="connsiteX45" fmla="*/ 154374 w 173798"/>
                    <a:gd name="connsiteY45" fmla="*/ 20958 h 29136"/>
                    <a:gd name="connsiteX46" fmla="*/ 125237 w 173798"/>
                    <a:gd name="connsiteY46" fmla="*/ 16869 h 29136"/>
                    <a:gd name="connsiteX47" fmla="*/ 129326 w 173798"/>
                    <a:gd name="connsiteY47" fmla="*/ 10735 h 29136"/>
                    <a:gd name="connsiteX48" fmla="*/ 133416 w 173798"/>
                    <a:gd name="connsiteY48" fmla="*/ 16358 h 29136"/>
                    <a:gd name="connsiteX49" fmla="*/ 132905 w 173798"/>
                    <a:gd name="connsiteY49" fmla="*/ 16869 h 29136"/>
                    <a:gd name="connsiteX50" fmla="*/ 125237 w 173798"/>
                    <a:gd name="connsiteY50" fmla="*/ 16869 h 29136"/>
                    <a:gd name="connsiteX51" fmla="*/ 137505 w 173798"/>
                    <a:gd name="connsiteY51" fmla="*/ 15846 h 29136"/>
                    <a:gd name="connsiteX52" fmla="*/ 129838 w 173798"/>
                    <a:gd name="connsiteY52" fmla="*/ 7156 h 29136"/>
                    <a:gd name="connsiteX53" fmla="*/ 121659 w 173798"/>
                    <a:gd name="connsiteY53" fmla="*/ 17380 h 29136"/>
                    <a:gd name="connsiteX54" fmla="*/ 121659 w 173798"/>
                    <a:gd name="connsiteY54" fmla="*/ 18913 h 29136"/>
                    <a:gd name="connsiteX55" fmla="*/ 130349 w 173798"/>
                    <a:gd name="connsiteY55" fmla="*/ 29137 h 29136"/>
                    <a:gd name="connsiteX56" fmla="*/ 136483 w 173798"/>
                    <a:gd name="connsiteY56" fmla="*/ 28115 h 29136"/>
                    <a:gd name="connsiteX57" fmla="*/ 136994 w 173798"/>
                    <a:gd name="connsiteY57" fmla="*/ 27603 h 29136"/>
                    <a:gd name="connsiteX58" fmla="*/ 136994 w 173798"/>
                    <a:gd name="connsiteY58" fmla="*/ 26581 h 29136"/>
                    <a:gd name="connsiteX59" fmla="*/ 136483 w 173798"/>
                    <a:gd name="connsiteY59" fmla="*/ 25559 h 29136"/>
                    <a:gd name="connsiteX60" fmla="*/ 135971 w 173798"/>
                    <a:gd name="connsiteY60" fmla="*/ 25047 h 29136"/>
                    <a:gd name="connsiteX61" fmla="*/ 135460 w 173798"/>
                    <a:gd name="connsiteY61" fmla="*/ 25047 h 29136"/>
                    <a:gd name="connsiteX62" fmla="*/ 130860 w 173798"/>
                    <a:gd name="connsiteY62" fmla="*/ 26070 h 29136"/>
                    <a:gd name="connsiteX63" fmla="*/ 125748 w 173798"/>
                    <a:gd name="connsiteY63" fmla="*/ 20447 h 29136"/>
                    <a:gd name="connsiteX64" fmla="*/ 136483 w 173798"/>
                    <a:gd name="connsiteY64" fmla="*/ 20447 h 29136"/>
                    <a:gd name="connsiteX65" fmla="*/ 137505 w 173798"/>
                    <a:gd name="connsiteY65" fmla="*/ 19425 h 29136"/>
                    <a:gd name="connsiteX66" fmla="*/ 137505 w 173798"/>
                    <a:gd name="connsiteY66" fmla="*/ 15846 h 29136"/>
                    <a:gd name="connsiteX67" fmla="*/ 117569 w 173798"/>
                    <a:gd name="connsiteY67" fmla="*/ 28115 h 29136"/>
                    <a:gd name="connsiteX68" fmla="*/ 118080 w 173798"/>
                    <a:gd name="connsiteY68" fmla="*/ 27603 h 29136"/>
                    <a:gd name="connsiteX69" fmla="*/ 118080 w 173798"/>
                    <a:gd name="connsiteY69" fmla="*/ 25559 h 29136"/>
                    <a:gd name="connsiteX70" fmla="*/ 117569 w 173798"/>
                    <a:gd name="connsiteY70" fmla="*/ 24536 h 29136"/>
                    <a:gd name="connsiteX71" fmla="*/ 115525 w 173798"/>
                    <a:gd name="connsiteY71" fmla="*/ 24536 h 29136"/>
                    <a:gd name="connsiteX72" fmla="*/ 112969 w 173798"/>
                    <a:gd name="connsiteY72" fmla="*/ 23514 h 29136"/>
                    <a:gd name="connsiteX73" fmla="*/ 112458 w 173798"/>
                    <a:gd name="connsiteY73" fmla="*/ 20447 h 29136"/>
                    <a:gd name="connsiteX74" fmla="*/ 112458 w 173798"/>
                    <a:gd name="connsiteY74" fmla="*/ 10223 h 29136"/>
                    <a:gd name="connsiteX75" fmla="*/ 117058 w 173798"/>
                    <a:gd name="connsiteY75" fmla="*/ 10223 h 29136"/>
                    <a:gd name="connsiteX76" fmla="*/ 117569 w 173798"/>
                    <a:gd name="connsiteY76" fmla="*/ 9712 h 29136"/>
                    <a:gd name="connsiteX77" fmla="*/ 117569 w 173798"/>
                    <a:gd name="connsiteY77" fmla="*/ 7668 h 29136"/>
                    <a:gd name="connsiteX78" fmla="*/ 117058 w 173798"/>
                    <a:gd name="connsiteY78" fmla="*/ 7156 h 29136"/>
                    <a:gd name="connsiteX79" fmla="*/ 112458 w 173798"/>
                    <a:gd name="connsiteY79" fmla="*/ 7156 h 29136"/>
                    <a:gd name="connsiteX80" fmla="*/ 112458 w 173798"/>
                    <a:gd name="connsiteY80" fmla="*/ 2556 h 29136"/>
                    <a:gd name="connsiteX81" fmla="*/ 111435 w 173798"/>
                    <a:gd name="connsiteY81" fmla="*/ 1533 h 29136"/>
                    <a:gd name="connsiteX82" fmla="*/ 109391 w 173798"/>
                    <a:gd name="connsiteY82" fmla="*/ 1533 h 29136"/>
                    <a:gd name="connsiteX83" fmla="*/ 108368 w 173798"/>
                    <a:gd name="connsiteY83" fmla="*/ 2556 h 29136"/>
                    <a:gd name="connsiteX84" fmla="*/ 108368 w 173798"/>
                    <a:gd name="connsiteY84" fmla="*/ 7156 h 29136"/>
                    <a:gd name="connsiteX85" fmla="*/ 105812 w 173798"/>
                    <a:gd name="connsiteY85" fmla="*/ 7668 h 29136"/>
                    <a:gd name="connsiteX86" fmla="*/ 105301 w 173798"/>
                    <a:gd name="connsiteY86" fmla="*/ 8179 h 29136"/>
                    <a:gd name="connsiteX87" fmla="*/ 105301 w 173798"/>
                    <a:gd name="connsiteY87" fmla="*/ 9712 h 29136"/>
                    <a:gd name="connsiteX88" fmla="*/ 105812 w 173798"/>
                    <a:gd name="connsiteY88" fmla="*/ 10223 h 29136"/>
                    <a:gd name="connsiteX89" fmla="*/ 108368 w 173798"/>
                    <a:gd name="connsiteY89" fmla="*/ 10223 h 29136"/>
                    <a:gd name="connsiteX90" fmla="*/ 108368 w 173798"/>
                    <a:gd name="connsiteY90" fmla="*/ 20958 h 29136"/>
                    <a:gd name="connsiteX91" fmla="*/ 109391 w 173798"/>
                    <a:gd name="connsiteY91" fmla="*/ 26070 h 29136"/>
                    <a:gd name="connsiteX92" fmla="*/ 114502 w 173798"/>
                    <a:gd name="connsiteY92" fmla="*/ 27603 h 29136"/>
                    <a:gd name="connsiteX93" fmla="*/ 117569 w 173798"/>
                    <a:gd name="connsiteY93" fmla="*/ 27603 h 29136"/>
                    <a:gd name="connsiteX94" fmla="*/ 96100 w 173798"/>
                    <a:gd name="connsiteY94" fmla="*/ 28626 h 29136"/>
                    <a:gd name="connsiteX95" fmla="*/ 103768 w 173798"/>
                    <a:gd name="connsiteY95" fmla="*/ 22492 h 29136"/>
                    <a:gd name="connsiteX96" fmla="*/ 103768 w 173798"/>
                    <a:gd name="connsiteY96" fmla="*/ 21980 h 29136"/>
                    <a:gd name="connsiteX97" fmla="*/ 98656 w 173798"/>
                    <a:gd name="connsiteY97" fmla="*/ 15846 h 29136"/>
                    <a:gd name="connsiteX98" fmla="*/ 96611 w 173798"/>
                    <a:gd name="connsiteY98" fmla="*/ 15335 h 29136"/>
                    <a:gd name="connsiteX99" fmla="*/ 93544 w 173798"/>
                    <a:gd name="connsiteY99" fmla="*/ 12779 h 29136"/>
                    <a:gd name="connsiteX100" fmla="*/ 93544 w 173798"/>
                    <a:gd name="connsiteY100" fmla="*/ 12779 h 29136"/>
                    <a:gd name="connsiteX101" fmla="*/ 97123 w 173798"/>
                    <a:gd name="connsiteY101" fmla="*/ 10223 h 29136"/>
                    <a:gd name="connsiteX102" fmla="*/ 100701 w 173798"/>
                    <a:gd name="connsiteY102" fmla="*/ 10735 h 29136"/>
                    <a:gd name="connsiteX103" fmla="*/ 101723 w 173798"/>
                    <a:gd name="connsiteY103" fmla="*/ 10735 h 29136"/>
                    <a:gd name="connsiteX104" fmla="*/ 102234 w 173798"/>
                    <a:gd name="connsiteY104" fmla="*/ 10223 h 29136"/>
                    <a:gd name="connsiteX105" fmla="*/ 102234 w 173798"/>
                    <a:gd name="connsiteY105" fmla="*/ 9201 h 29136"/>
                    <a:gd name="connsiteX106" fmla="*/ 102234 w 173798"/>
                    <a:gd name="connsiteY106" fmla="*/ 8179 h 29136"/>
                    <a:gd name="connsiteX107" fmla="*/ 101723 w 173798"/>
                    <a:gd name="connsiteY107" fmla="*/ 7668 h 29136"/>
                    <a:gd name="connsiteX108" fmla="*/ 96611 w 173798"/>
                    <a:gd name="connsiteY108" fmla="*/ 7156 h 29136"/>
                    <a:gd name="connsiteX109" fmla="*/ 89455 w 173798"/>
                    <a:gd name="connsiteY109" fmla="*/ 12779 h 29136"/>
                    <a:gd name="connsiteX110" fmla="*/ 89455 w 173798"/>
                    <a:gd name="connsiteY110" fmla="*/ 13291 h 29136"/>
                    <a:gd name="connsiteX111" fmla="*/ 94567 w 173798"/>
                    <a:gd name="connsiteY111" fmla="*/ 18913 h 29136"/>
                    <a:gd name="connsiteX112" fmla="*/ 96611 w 173798"/>
                    <a:gd name="connsiteY112" fmla="*/ 19425 h 29136"/>
                    <a:gd name="connsiteX113" fmla="*/ 99678 w 173798"/>
                    <a:gd name="connsiteY113" fmla="*/ 22492 h 29136"/>
                    <a:gd name="connsiteX114" fmla="*/ 99678 w 173798"/>
                    <a:gd name="connsiteY114" fmla="*/ 22492 h 29136"/>
                    <a:gd name="connsiteX115" fmla="*/ 95589 w 173798"/>
                    <a:gd name="connsiteY115" fmla="*/ 25559 h 29136"/>
                    <a:gd name="connsiteX116" fmla="*/ 91500 w 173798"/>
                    <a:gd name="connsiteY116" fmla="*/ 25047 h 29136"/>
                    <a:gd name="connsiteX117" fmla="*/ 89966 w 173798"/>
                    <a:gd name="connsiteY117" fmla="*/ 24536 h 29136"/>
                    <a:gd name="connsiteX118" fmla="*/ 89455 w 173798"/>
                    <a:gd name="connsiteY118" fmla="*/ 25047 h 29136"/>
                    <a:gd name="connsiteX119" fmla="*/ 89455 w 173798"/>
                    <a:gd name="connsiteY119" fmla="*/ 25559 h 29136"/>
                    <a:gd name="connsiteX120" fmla="*/ 89455 w 173798"/>
                    <a:gd name="connsiteY120" fmla="*/ 26581 h 29136"/>
                    <a:gd name="connsiteX121" fmla="*/ 89966 w 173798"/>
                    <a:gd name="connsiteY121" fmla="*/ 27092 h 29136"/>
                    <a:gd name="connsiteX122" fmla="*/ 96100 w 173798"/>
                    <a:gd name="connsiteY122" fmla="*/ 28626 h 29136"/>
                    <a:gd name="connsiteX123" fmla="*/ 85366 w 173798"/>
                    <a:gd name="connsiteY123" fmla="*/ 15335 h 29136"/>
                    <a:gd name="connsiteX124" fmla="*/ 78209 w 173798"/>
                    <a:gd name="connsiteY124" fmla="*/ 7156 h 29136"/>
                    <a:gd name="connsiteX125" fmla="*/ 71564 w 173798"/>
                    <a:gd name="connsiteY125" fmla="*/ 9712 h 29136"/>
                    <a:gd name="connsiteX126" fmla="*/ 71564 w 173798"/>
                    <a:gd name="connsiteY126" fmla="*/ 9712 h 29136"/>
                    <a:gd name="connsiteX127" fmla="*/ 65430 w 173798"/>
                    <a:gd name="connsiteY127" fmla="*/ 7156 h 29136"/>
                    <a:gd name="connsiteX128" fmla="*/ 59807 w 173798"/>
                    <a:gd name="connsiteY128" fmla="*/ 9712 h 29136"/>
                    <a:gd name="connsiteX129" fmla="*/ 59807 w 173798"/>
                    <a:gd name="connsiteY129" fmla="*/ 9712 h 29136"/>
                    <a:gd name="connsiteX130" fmla="*/ 59807 w 173798"/>
                    <a:gd name="connsiteY130" fmla="*/ 8179 h 29136"/>
                    <a:gd name="connsiteX131" fmla="*/ 59296 w 173798"/>
                    <a:gd name="connsiteY131" fmla="*/ 7668 h 29136"/>
                    <a:gd name="connsiteX132" fmla="*/ 57762 w 173798"/>
                    <a:gd name="connsiteY132" fmla="*/ 7668 h 29136"/>
                    <a:gd name="connsiteX133" fmla="*/ 57251 w 173798"/>
                    <a:gd name="connsiteY133" fmla="*/ 8179 h 29136"/>
                    <a:gd name="connsiteX134" fmla="*/ 57251 w 173798"/>
                    <a:gd name="connsiteY134" fmla="*/ 27603 h 29136"/>
                    <a:gd name="connsiteX135" fmla="*/ 58274 w 173798"/>
                    <a:gd name="connsiteY135" fmla="*/ 28115 h 29136"/>
                    <a:gd name="connsiteX136" fmla="*/ 60318 w 173798"/>
                    <a:gd name="connsiteY136" fmla="*/ 28115 h 29136"/>
                    <a:gd name="connsiteX137" fmla="*/ 61341 w 173798"/>
                    <a:gd name="connsiteY137" fmla="*/ 27603 h 29136"/>
                    <a:gd name="connsiteX138" fmla="*/ 61341 w 173798"/>
                    <a:gd name="connsiteY138" fmla="*/ 14824 h 29136"/>
                    <a:gd name="connsiteX139" fmla="*/ 65430 w 173798"/>
                    <a:gd name="connsiteY139" fmla="*/ 10223 h 29136"/>
                    <a:gd name="connsiteX140" fmla="*/ 70030 w 173798"/>
                    <a:gd name="connsiteY140" fmla="*/ 15335 h 29136"/>
                    <a:gd name="connsiteX141" fmla="*/ 70030 w 173798"/>
                    <a:gd name="connsiteY141" fmla="*/ 27603 h 29136"/>
                    <a:gd name="connsiteX142" fmla="*/ 71053 w 173798"/>
                    <a:gd name="connsiteY142" fmla="*/ 28115 h 29136"/>
                    <a:gd name="connsiteX143" fmla="*/ 73097 w 173798"/>
                    <a:gd name="connsiteY143" fmla="*/ 28115 h 29136"/>
                    <a:gd name="connsiteX144" fmla="*/ 74120 w 173798"/>
                    <a:gd name="connsiteY144" fmla="*/ 27603 h 29136"/>
                    <a:gd name="connsiteX145" fmla="*/ 74120 w 173798"/>
                    <a:gd name="connsiteY145" fmla="*/ 15846 h 29136"/>
                    <a:gd name="connsiteX146" fmla="*/ 74120 w 173798"/>
                    <a:gd name="connsiteY146" fmla="*/ 12779 h 29136"/>
                    <a:gd name="connsiteX147" fmla="*/ 78720 w 173798"/>
                    <a:gd name="connsiteY147" fmla="*/ 10735 h 29136"/>
                    <a:gd name="connsiteX148" fmla="*/ 82810 w 173798"/>
                    <a:gd name="connsiteY148" fmla="*/ 15846 h 29136"/>
                    <a:gd name="connsiteX149" fmla="*/ 82810 w 173798"/>
                    <a:gd name="connsiteY149" fmla="*/ 28115 h 29136"/>
                    <a:gd name="connsiteX150" fmla="*/ 83832 w 173798"/>
                    <a:gd name="connsiteY150" fmla="*/ 28626 h 29136"/>
                    <a:gd name="connsiteX151" fmla="*/ 85877 w 173798"/>
                    <a:gd name="connsiteY151" fmla="*/ 28626 h 29136"/>
                    <a:gd name="connsiteX152" fmla="*/ 86899 w 173798"/>
                    <a:gd name="connsiteY152" fmla="*/ 28115 h 29136"/>
                    <a:gd name="connsiteX153" fmla="*/ 86899 w 173798"/>
                    <a:gd name="connsiteY153" fmla="*/ 15335 h 29136"/>
                    <a:gd name="connsiteX154" fmla="*/ 49072 w 173798"/>
                    <a:gd name="connsiteY154" fmla="*/ 511 h 29136"/>
                    <a:gd name="connsiteX155" fmla="*/ 48050 w 173798"/>
                    <a:gd name="connsiteY155" fmla="*/ 0 h 29136"/>
                    <a:gd name="connsiteX156" fmla="*/ 46005 w 173798"/>
                    <a:gd name="connsiteY156" fmla="*/ 0 h 29136"/>
                    <a:gd name="connsiteX157" fmla="*/ 44983 w 173798"/>
                    <a:gd name="connsiteY157" fmla="*/ 511 h 29136"/>
                    <a:gd name="connsiteX158" fmla="*/ 44983 w 173798"/>
                    <a:gd name="connsiteY158" fmla="*/ 23514 h 29136"/>
                    <a:gd name="connsiteX159" fmla="*/ 50095 w 173798"/>
                    <a:gd name="connsiteY159" fmla="*/ 28626 h 29136"/>
                    <a:gd name="connsiteX160" fmla="*/ 52139 w 173798"/>
                    <a:gd name="connsiteY160" fmla="*/ 28626 h 29136"/>
                    <a:gd name="connsiteX161" fmla="*/ 52651 w 173798"/>
                    <a:gd name="connsiteY161" fmla="*/ 28115 h 29136"/>
                    <a:gd name="connsiteX162" fmla="*/ 52651 w 173798"/>
                    <a:gd name="connsiteY162" fmla="*/ 25559 h 29136"/>
                    <a:gd name="connsiteX163" fmla="*/ 52139 w 173798"/>
                    <a:gd name="connsiteY163" fmla="*/ 25047 h 29136"/>
                    <a:gd name="connsiteX164" fmla="*/ 51117 w 173798"/>
                    <a:gd name="connsiteY164" fmla="*/ 25047 h 29136"/>
                    <a:gd name="connsiteX165" fmla="*/ 49584 w 173798"/>
                    <a:gd name="connsiteY165" fmla="*/ 23003 h 29136"/>
                    <a:gd name="connsiteX166" fmla="*/ 49584 w 173798"/>
                    <a:gd name="connsiteY166" fmla="*/ 511 h 29136"/>
                    <a:gd name="connsiteX167" fmla="*/ 28625 w 173798"/>
                    <a:gd name="connsiteY167" fmla="*/ 16869 h 29136"/>
                    <a:gd name="connsiteX168" fmla="*/ 32715 w 173798"/>
                    <a:gd name="connsiteY168" fmla="*/ 10735 h 29136"/>
                    <a:gd name="connsiteX169" fmla="*/ 36804 w 173798"/>
                    <a:gd name="connsiteY169" fmla="*/ 16358 h 29136"/>
                    <a:gd name="connsiteX170" fmla="*/ 36293 w 173798"/>
                    <a:gd name="connsiteY170" fmla="*/ 16869 h 29136"/>
                    <a:gd name="connsiteX171" fmla="*/ 28625 w 173798"/>
                    <a:gd name="connsiteY171" fmla="*/ 16869 h 29136"/>
                    <a:gd name="connsiteX172" fmla="*/ 40383 w 173798"/>
                    <a:gd name="connsiteY172" fmla="*/ 15846 h 29136"/>
                    <a:gd name="connsiteX173" fmla="*/ 32715 w 173798"/>
                    <a:gd name="connsiteY173" fmla="*/ 7156 h 29136"/>
                    <a:gd name="connsiteX174" fmla="*/ 24536 w 173798"/>
                    <a:gd name="connsiteY174" fmla="*/ 17380 h 29136"/>
                    <a:gd name="connsiteX175" fmla="*/ 24536 w 173798"/>
                    <a:gd name="connsiteY175" fmla="*/ 18913 h 29136"/>
                    <a:gd name="connsiteX176" fmla="*/ 33226 w 173798"/>
                    <a:gd name="connsiteY176" fmla="*/ 29137 h 29136"/>
                    <a:gd name="connsiteX177" fmla="*/ 39360 w 173798"/>
                    <a:gd name="connsiteY177" fmla="*/ 28115 h 29136"/>
                    <a:gd name="connsiteX178" fmla="*/ 39871 w 173798"/>
                    <a:gd name="connsiteY178" fmla="*/ 27603 h 29136"/>
                    <a:gd name="connsiteX179" fmla="*/ 39871 w 173798"/>
                    <a:gd name="connsiteY179" fmla="*/ 26581 h 29136"/>
                    <a:gd name="connsiteX180" fmla="*/ 39360 w 173798"/>
                    <a:gd name="connsiteY180" fmla="*/ 25559 h 29136"/>
                    <a:gd name="connsiteX181" fmla="*/ 38849 w 173798"/>
                    <a:gd name="connsiteY181" fmla="*/ 25047 h 29136"/>
                    <a:gd name="connsiteX182" fmla="*/ 38338 w 173798"/>
                    <a:gd name="connsiteY182" fmla="*/ 25047 h 29136"/>
                    <a:gd name="connsiteX183" fmla="*/ 33737 w 173798"/>
                    <a:gd name="connsiteY183" fmla="*/ 26070 h 29136"/>
                    <a:gd name="connsiteX184" fmla="*/ 28625 w 173798"/>
                    <a:gd name="connsiteY184" fmla="*/ 20447 h 29136"/>
                    <a:gd name="connsiteX185" fmla="*/ 39360 w 173798"/>
                    <a:gd name="connsiteY185" fmla="*/ 20447 h 29136"/>
                    <a:gd name="connsiteX186" fmla="*/ 40383 w 173798"/>
                    <a:gd name="connsiteY186" fmla="*/ 19425 h 29136"/>
                    <a:gd name="connsiteX187" fmla="*/ 40383 w 173798"/>
                    <a:gd name="connsiteY187" fmla="*/ 15846 h 29136"/>
                    <a:gd name="connsiteX188" fmla="*/ 19936 w 173798"/>
                    <a:gd name="connsiteY188" fmla="*/ 2045 h 29136"/>
                    <a:gd name="connsiteX189" fmla="*/ 18913 w 173798"/>
                    <a:gd name="connsiteY189" fmla="*/ 1022 h 29136"/>
                    <a:gd name="connsiteX190" fmla="*/ 16869 w 173798"/>
                    <a:gd name="connsiteY190" fmla="*/ 1022 h 29136"/>
                    <a:gd name="connsiteX191" fmla="*/ 15846 w 173798"/>
                    <a:gd name="connsiteY191" fmla="*/ 2045 h 29136"/>
                    <a:gd name="connsiteX192" fmla="*/ 15846 w 173798"/>
                    <a:gd name="connsiteY192" fmla="*/ 12779 h 29136"/>
                    <a:gd name="connsiteX193" fmla="*/ 4089 w 173798"/>
                    <a:gd name="connsiteY193" fmla="*/ 12779 h 29136"/>
                    <a:gd name="connsiteX194" fmla="*/ 4089 w 173798"/>
                    <a:gd name="connsiteY194" fmla="*/ 2045 h 29136"/>
                    <a:gd name="connsiteX195" fmla="*/ 3067 w 173798"/>
                    <a:gd name="connsiteY195" fmla="*/ 1022 h 29136"/>
                    <a:gd name="connsiteX196" fmla="*/ 1022 w 173798"/>
                    <a:gd name="connsiteY196" fmla="*/ 1022 h 29136"/>
                    <a:gd name="connsiteX197" fmla="*/ 0 w 173798"/>
                    <a:gd name="connsiteY197" fmla="*/ 2045 h 29136"/>
                    <a:gd name="connsiteX198" fmla="*/ 0 w 173798"/>
                    <a:gd name="connsiteY198" fmla="*/ 27603 h 29136"/>
                    <a:gd name="connsiteX199" fmla="*/ 1022 w 173798"/>
                    <a:gd name="connsiteY199" fmla="*/ 28626 h 29136"/>
                    <a:gd name="connsiteX200" fmla="*/ 3067 w 173798"/>
                    <a:gd name="connsiteY200" fmla="*/ 28626 h 29136"/>
                    <a:gd name="connsiteX201" fmla="*/ 4089 w 173798"/>
                    <a:gd name="connsiteY201" fmla="*/ 27603 h 29136"/>
                    <a:gd name="connsiteX202" fmla="*/ 4089 w 173798"/>
                    <a:gd name="connsiteY202" fmla="*/ 16358 h 29136"/>
                    <a:gd name="connsiteX203" fmla="*/ 15846 w 173798"/>
                    <a:gd name="connsiteY203" fmla="*/ 16358 h 29136"/>
                    <a:gd name="connsiteX204" fmla="*/ 15846 w 173798"/>
                    <a:gd name="connsiteY204" fmla="*/ 27603 h 29136"/>
                    <a:gd name="connsiteX205" fmla="*/ 16869 w 173798"/>
                    <a:gd name="connsiteY205" fmla="*/ 28626 h 29136"/>
                    <a:gd name="connsiteX206" fmla="*/ 19424 w 173798"/>
                    <a:gd name="connsiteY206" fmla="*/ 28626 h 29136"/>
                    <a:gd name="connsiteX207" fmla="*/ 20447 w 173798"/>
                    <a:gd name="connsiteY207" fmla="*/ 27603 h 29136"/>
                    <a:gd name="connsiteX208" fmla="*/ 20447 w 173798"/>
                    <a:gd name="connsiteY208" fmla="*/ 2045 h 291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</a:cxnLst>
                  <a:rect l="l" t="t" r="r" b="b"/>
                  <a:pathLst>
                    <a:path w="173798" h="29136">
                      <a:moveTo>
                        <a:pt x="173287" y="28115"/>
                      </a:moveTo>
                      <a:cubicBezTo>
                        <a:pt x="173798" y="28115"/>
                        <a:pt x="173798" y="28115"/>
                        <a:pt x="173798" y="27603"/>
                      </a:cubicBezTo>
                      <a:lnTo>
                        <a:pt x="173798" y="25559"/>
                      </a:lnTo>
                      <a:cubicBezTo>
                        <a:pt x="173798" y="25047"/>
                        <a:pt x="173798" y="24536"/>
                        <a:pt x="173287" y="24536"/>
                      </a:cubicBezTo>
                      <a:lnTo>
                        <a:pt x="171242" y="24536"/>
                      </a:lnTo>
                      <a:cubicBezTo>
                        <a:pt x="169709" y="24536"/>
                        <a:pt x="169198" y="24536"/>
                        <a:pt x="168687" y="23514"/>
                      </a:cubicBezTo>
                      <a:cubicBezTo>
                        <a:pt x="168175" y="23003"/>
                        <a:pt x="168175" y="22492"/>
                        <a:pt x="168175" y="20447"/>
                      </a:cubicBezTo>
                      <a:lnTo>
                        <a:pt x="168175" y="10223"/>
                      </a:lnTo>
                      <a:lnTo>
                        <a:pt x="172776" y="10223"/>
                      </a:lnTo>
                      <a:cubicBezTo>
                        <a:pt x="173287" y="10223"/>
                        <a:pt x="173287" y="10223"/>
                        <a:pt x="173287" y="9712"/>
                      </a:cubicBezTo>
                      <a:lnTo>
                        <a:pt x="173287" y="7668"/>
                      </a:lnTo>
                      <a:cubicBezTo>
                        <a:pt x="173287" y="7156"/>
                        <a:pt x="173287" y="7156"/>
                        <a:pt x="172776" y="7156"/>
                      </a:cubicBezTo>
                      <a:lnTo>
                        <a:pt x="168175" y="7156"/>
                      </a:lnTo>
                      <a:lnTo>
                        <a:pt x="168175" y="2556"/>
                      </a:lnTo>
                      <a:cubicBezTo>
                        <a:pt x="168175" y="2045"/>
                        <a:pt x="168175" y="1533"/>
                        <a:pt x="167153" y="1533"/>
                      </a:cubicBezTo>
                      <a:lnTo>
                        <a:pt x="165108" y="1533"/>
                      </a:lnTo>
                      <a:cubicBezTo>
                        <a:pt x="164597" y="1533"/>
                        <a:pt x="164086" y="1533"/>
                        <a:pt x="164086" y="2556"/>
                      </a:cubicBezTo>
                      <a:lnTo>
                        <a:pt x="164086" y="7156"/>
                      </a:lnTo>
                      <a:lnTo>
                        <a:pt x="161530" y="7668"/>
                      </a:lnTo>
                      <a:cubicBezTo>
                        <a:pt x="161019" y="7668"/>
                        <a:pt x="161019" y="7668"/>
                        <a:pt x="161019" y="8179"/>
                      </a:cubicBezTo>
                      <a:lnTo>
                        <a:pt x="161019" y="9712"/>
                      </a:lnTo>
                      <a:cubicBezTo>
                        <a:pt x="161019" y="10223"/>
                        <a:pt x="161019" y="10223"/>
                        <a:pt x="161530" y="10223"/>
                      </a:cubicBezTo>
                      <a:lnTo>
                        <a:pt x="164086" y="10223"/>
                      </a:lnTo>
                      <a:lnTo>
                        <a:pt x="164086" y="20958"/>
                      </a:lnTo>
                      <a:cubicBezTo>
                        <a:pt x="164086" y="23514"/>
                        <a:pt x="164597" y="25047"/>
                        <a:pt x="165108" y="26070"/>
                      </a:cubicBezTo>
                      <a:cubicBezTo>
                        <a:pt x="166131" y="27092"/>
                        <a:pt x="167664" y="27603"/>
                        <a:pt x="170220" y="27603"/>
                      </a:cubicBezTo>
                      <a:lnTo>
                        <a:pt x="173287" y="27603"/>
                      </a:lnTo>
                      <a:close/>
                      <a:moveTo>
                        <a:pt x="157952" y="511"/>
                      </a:moveTo>
                      <a:cubicBezTo>
                        <a:pt x="157952" y="0"/>
                        <a:pt x="157952" y="0"/>
                        <a:pt x="156930" y="0"/>
                      </a:cubicBezTo>
                      <a:lnTo>
                        <a:pt x="154885" y="0"/>
                      </a:lnTo>
                      <a:cubicBezTo>
                        <a:pt x="154374" y="0"/>
                        <a:pt x="153862" y="0"/>
                        <a:pt x="153862" y="511"/>
                      </a:cubicBezTo>
                      <a:lnTo>
                        <a:pt x="153862" y="8690"/>
                      </a:lnTo>
                      <a:lnTo>
                        <a:pt x="153862" y="8690"/>
                      </a:lnTo>
                      <a:cubicBezTo>
                        <a:pt x="152840" y="7668"/>
                        <a:pt x="151307" y="7156"/>
                        <a:pt x="149262" y="7156"/>
                      </a:cubicBezTo>
                      <a:cubicBezTo>
                        <a:pt x="143639" y="7156"/>
                        <a:pt x="140572" y="9712"/>
                        <a:pt x="140572" y="16869"/>
                      </a:cubicBezTo>
                      <a:lnTo>
                        <a:pt x="140572" y="18402"/>
                      </a:lnTo>
                      <a:cubicBezTo>
                        <a:pt x="140572" y="25559"/>
                        <a:pt x="142617" y="28626"/>
                        <a:pt x="149262" y="28626"/>
                      </a:cubicBezTo>
                      <a:cubicBezTo>
                        <a:pt x="154885" y="28626"/>
                        <a:pt x="157441" y="26070"/>
                        <a:pt x="157441" y="20958"/>
                      </a:cubicBezTo>
                      <a:lnTo>
                        <a:pt x="157441" y="511"/>
                      </a:lnTo>
                      <a:close/>
                      <a:moveTo>
                        <a:pt x="154374" y="20958"/>
                      </a:moveTo>
                      <a:cubicBezTo>
                        <a:pt x="154374" y="24536"/>
                        <a:pt x="153351" y="25559"/>
                        <a:pt x="149773" y="25559"/>
                      </a:cubicBezTo>
                      <a:cubicBezTo>
                        <a:pt x="146195" y="25559"/>
                        <a:pt x="145173" y="24025"/>
                        <a:pt x="145173" y="18402"/>
                      </a:cubicBezTo>
                      <a:lnTo>
                        <a:pt x="145173" y="17380"/>
                      </a:lnTo>
                      <a:cubicBezTo>
                        <a:pt x="145173" y="12268"/>
                        <a:pt x="146195" y="10735"/>
                        <a:pt x="149773" y="10735"/>
                      </a:cubicBezTo>
                      <a:cubicBezTo>
                        <a:pt x="152840" y="10735"/>
                        <a:pt x="154374" y="12268"/>
                        <a:pt x="154374" y="15846"/>
                      </a:cubicBezTo>
                      <a:lnTo>
                        <a:pt x="154374" y="20958"/>
                      </a:lnTo>
                      <a:close/>
                      <a:moveTo>
                        <a:pt x="125237" y="16869"/>
                      </a:moveTo>
                      <a:cubicBezTo>
                        <a:pt x="125237" y="12779"/>
                        <a:pt x="125748" y="10735"/>
                        <a:pt x="129326" y="10735"/>
                      </a:cubicBezTo>
                      <a:cubicBezTo>
                        <a:pt x="132393" y="10735"/>
                        <a:pt x="133416" y="12268"/>
                        <a:pt x="133416" y="16358"/>
                      </a:cubicBezTo>
                      <a:cubicBezTo>
                        <a:pt x="133416" y="16869"/>
                        <a:pt x="133416" y="16869"/>
                        <a:pt x="132905" y="16869"/>
                      </a:cubicBezTo>
                      <a:lnTo>
                        <a:pt x="125237" y="16869"/>
                      </a:lnTo>
                      <a:close/>
                      <a:moveTo>
                        <a:pt x="137505" y="15846"/>
                      </a:moveTo>
                      <a:cubicBezTo>
                        <a:pt x="137505" y="9712"/>
                        <a:pt x="134949" y="7156"/>
                        <a:pt x="129838" y="7156"/>
                      </a:cubicBezTo>
                      <a:cubicBezTo>
                        <a:pt x="123703" y="7156"/>
                        <a:pt x="121659" y="10735"/>
                        <a:pt x="121659" y="17380"/>
                      </a:cubicBezTo>
                      <a:lnTo>
                        <a:pt x="121659" y="18913"/>
                      </a:lnTo>
                      <a:cubicBezTo>
                        <a:pt x="121659" y="26070"/>
                        <a:pt x="123703" y="29137"/>
                        <a:pt x="130349" y="29137"/>
                      </a:cubicBezTo>
                      <a:cubicBezTo>
                        <a:pt x="132393" y="29137"/>
                        <a:pt x="134949" y="28626"/>
                        <a:pt x="136483" y="28115"/>
                      </a:cubicBezTo>
                      <a:cubicBezTo>
                        <a:pt x="136994" y="28115"/>
                        <a:pt x="136994" y="27603"/>
                        <a:pt x="136994" y="27603"/>
                      </a:cubicBezTo>
                      <a:cubicBezTo>
                        <a:pt x="136994" y="27603"/>
                        <a:pt x="136994" y="27092"/>
                        <a:pt x="136994" y="26581"/>
                      </a:cubicBezTo>
                      <a:lnTo>
                        <a:pt x="136483" y="25559"/>
                      </a:lnTo>
                      <a:cubicBezTo>
                        <a:pt x="136483" y="25047"/>
                        <a:pt x="135971" y="25047"/>
                        <a:pt x="135971" y="25047"/>
                      </a:cubicBezTo>
                      <a:cubicBezTo>
                        <a:pt x="135971" y="25047"/>
                        <a:pt x="135460" y="25047"/>
                        <a:pt x="135460" y="25047"/>
                      </a:cubicBezTo>
                      <a:cubicBezTo>
                        <a:pt x="134438" y="25559"/>
                        <a:pt x="132393" y="26070"/>
                        <a:pt x="130860" y="26070"/>
                      </a:cubicBezTo>
                      <a:cubicBezTo>
                        <a:pt x="126770" y="26070"/>
                        <a:pt x="125748" y="24536"/>
                        <a:pt x="125748" y="20447"/>
                      </a:cubicBezTo>
                      <a:lnTo>
                        <a:pt x="136483" y="20447"/>
                      </a:lnTo>
                      <a:cubicBezTo>
                        <a:pt x="137505" y="20447"/>
                        <a:pt x="137505" y="19936"/>
                        <a:pt x="137505" y="19425"/>
                      </a:cubicBezTo>
                      <a:lnTo>
                        <a:pt x="137505" y="15846"/>
                      </a:lnTo>
                      <a:close/>
                      <a:moveTo>
                        <a:pt x="117569" y="28115"/>
                      </a:moveTo>
                      <a:cubicBezTo>
                        <a:pt x="118080" y="28115"/>
                        <a:pt x="118080" y="28115"/>
                        <a:pt x="118080" y="27603"/>
                      </a:cubicBezTo>
                      <a:lnTo>
                        <a:pt x="118080" y="25559"/>
                      </a:lnTo>
                      <a:cubicBezTo>
                        <a:pt x="118080" y="25047"/>
                        <a:pt x="118080" y="24536"/>
                        <a:pt x="117569" y="24536"/>
                      </a:cubicBezTo>
                      <a:lnTo>
                        <a:pt x="115525" y="24536"/>
                      </a:lnTo>
                      <a:cubicBezTo>
                        <a:pt x="113991" y="24536"/>
                        <a:pt x="113480" y="24536"/>
                        <a:pt x="112969" y="23514"/>
                      </a:cubicBezTo>
                      <a:cubicBezTo>
                        <a:pt x="112458" y="23003"/>
                        <a:pt x="112458" y="22492"/>
                        <a:pt x="112458" y="20447"/>
                      </a:cubicBezTo>
                      <a:lnTo>
                        <a:pt x="112458" y="10223"/>
                      </a:lnTo>
                      <a:lnTo>
                        <a:pt x="117058" y="10223"/>
                      </a:lnTo>
                      <a:cubicBezTo>
                        <a:pt x="117569" y="10223"/>
                        <a:pt x="117569" y="10223"/>
                        <a:pt x="117569" y="9712"/>
                      </a:cubicBezTo>
                      <a:lnTo>
                        <a:pt x="117569" y="7668"/>
                      </a:lnTo>
                      <a:cubicBezTo>
                        <a:pt x="117569" y="7156"/>
                        <a:pt x="117569" y="7156"/>
                        <a:pt x="117058" y="7156"/>
                      </a:cubicBezTo>
                      <a:lnTo>
                        <a:pt x="112458" y="7156"/>
                      </a:lnTo>
                      <a:lnTo>
                        <a:pt x="112458" y="2556"/>
                      </a:lnTo>
                      <a:cubicBezTo>
                        <a:pt x="112458" y="2045"/>
                        <a:pt x="112458" y="1533"/>
                        <a:pt x="111435" y="1533"/>
                      </a:cubicBezTo>
                      <a:lnTo>
                        <a:pt x="109391" y="1533"/>
                      </a:lnTo>
                      <a:cubicBezTo>
                        <a:pt x="108879" y="1533"/>
                        <a:pt x="108368" y="1533"/>
                        <a:pt x="108368" y="2556"/>
                      </a:cubicBezTo>
                      <a:lnTo>
                        <a:pt x="108368" y="7156"/>
                      </a:lnTo>
                      <a:lnTo>
                        <a:pt x="105812" y="7668"/>
                      </a:lnTo>
                      <a:cubicBezTo>
                        <a:pt x="105301" y="7668"/>
                        <a:pt x="105301" y="7668"/>
                        <a:pt x="105301" y="8179"/>
                      </a:cubicBezTo>
                      <a:lnTo>
                        <a:pt x="105301" y="9712"/>
                      </a:lnTo>
                      <a:cubicBezTo>
                        <a:pt x="105301" y="10223"/>
                        <a:pt x="105301" y="10223"/>
                        <a:pt x="105812" y="10223"/>
                      </a:cubicBezTo>
                      <a:lnTo>
                        <a:pt x="108368" y="10223"/>
                      </a:lnTo>
                      <a:lnTo>
                        <a:pt x="108368" y="20958"/>
                      </a:lnTo>
                      <a:cubicBezTo>
                        <a:pt x="108368" y="23514"/>
                        <a:pt x="108879" y="25047"/>
                        <a:pt x="109391" y="26070"/>
                      </a:cubicBezTo>
                      <a:cubicBezTo>
                        <a:pt x="110413" y="27092"/>
                        <a:pt x="111947" y="27603"/>
                        <a:pt x="114502" y="27603"/>
                      </a:cubicBezTo>
                      <a:lnTo>
                        <a:pt x="117569" y="27603"/>
                      </a:lnTo>
                      <a:close/>
                      <a:moveTo>
                        <a:pt x="96100" y="28626"/>
                      </a:moveTo>
                      <a:cubicBezTo>
                        <a:pt x="101212" y="28626"/>
                        <a:pt x="103768" y="26581"/>
                        <a:pt x="103768" y="22492"/>
                      </a:cubicBezTo>
                      <a:lnTo>
                        <a:pt x="103768" y="21980"/>
                      </a:lnTo>
                      <a:cubicBezTo>
                        <a:pt x="103768" y="18402"/>
                        <a:pt x="102234" y="16869"/>
                        <a:pt x="98656" y="15846"/>
                      </a:cubicBezTo>
                      <a:lnTo>
                        <a:pt x="96611" y="15335"/>
                      </a:lnTo>
                      <a:cubicBezTo>
                        <a:pt x="94056" y="14824"/>
                        <a:pt x="93544" y="14313"/>
                        <a:pt x="93544" y="12779"/>
                      </a:cubicBezTo>
                      <a:lnTo>
                        <a:pt x="93544" y="12779"/>
                      </a:lnTo>
                      <a:cubicBezTo>
                        <a:pt x="93544" y="11246"/>
                        <a:pt x="94567" y="10223"/>
                        <a:pt x="97123" y="10223"/>
                      </a:cubicBezTo>
                      <a:cubicBezTo>
                        <a:pt x="98145" y="10223"/>
                        <a:pt x="100189" y="10223"/>
                        <a:pt x="100701" y="10735"/>
                      </a:cubicBezTo>
                      <a:cubicBezTo>
                        <a:pt x="101212" y="10735"/>
                        <a:pt x="101212" y="10735"/>
                        <a:pt x="101723" y="10735"/>
                      </a:cubicBezTo>
                      <a:cubicBezTo>
                        <a:pt x="102234" y="10735"/>
                        <a:pt x="102234" y="10735"/>
                        <a:pt x="102234" y="10223"/>
                      </a:cubicBezTo>
                      <a:lnTo>
                        <a:pt x="102234" y="9201"/>
                      </a:lnTo>
                      <a:cubicBezTo>
                        <a:pt x="102234" y="8690"/>
                        <a:pt x="102234" y="8179"/>
                        <a:pt x="102234" y="8179"/>
                      </a:cubicBezTo>
                      <a:cubicBezTo>
                        <a:pt x="102234" y="7668"/>
                        <a:pt x="102234" y="7668"/>
                        <a:pt x="101723" y="7668"/>
                      </a:cubicBezTo>
                      <a:cubicBezTo>
                        <a:pt x="100189" y="7156"/>
                        <a:pt x="98656" y="7156"/>
                        <a:pt x="96611" y="7156"/>
                      </a:cubicBezTo>
                      <a:cubicBezTo>
                        <a:pt x="92011" y="7156"/>
                        <a:pt x="89455" y="9201"/>
                        <a:pt x="89455" y="12779"/>
                      </a:cubicBezTo>
                      <a:lnTo>
                        <a:pt x="89455" y="13291"/>
                      </a:lnTo>
                      <a:cubicBezTo>
                        <a:pt x="89455" y="16869"/>
                        <a:pt x="90477" y="17891"/>
                        <a:pt x="94567" y="18913"/>
                      </a:cubicBezTo>
                      <a:lnTo>
                        <a:pt x="96611" y="19425"/>
                      </a:lnTo>
                      <a:cubicBezTo>
                        <a:pt x="98656" y="19936"/>
                        <a:pt x="99678" y="20447"/>
                        <a:pt x="99678" y="22492"/>
                      </a:cubicBezTo>
                      <a:lnTo>
                        <a:pt x="99678" y="22492"/>
                      </a:lnTo>
                      <a:cubicBezTo>
                        <a:pt x="99678" y="24536"/>
                        <a:pt x="98656" y="25559"/>
                        <a:pt x="95589" y="25559"/>
                      </a:cubicBezTo>
                      <a:cubicBezTo>
                        <a:pt x="94056" y="25559"/>
                        <a:pt x="92522" y="25559"/>
                        <a:pt x="91500" y="25047"/>
                      </a:cubicBezTo>
                      <a:cubicBezTo>
                        <a:pt x="90477" y="24536"/>
                        <a:pt x="90477" y="24536"/>
                        <a:pt x="89966" y="24536"/>
                      </a:cubicBezTo>
                      <a:cubicBezTo>
                        <a:pt x="89966" y="24536"/>
                        <a:pt x="89455" y="24536"/>
                        <a:pt x="89455" y="25047"/>
                      </a:cubicBezTo>
                      <a:lnTo>
                        <a:pt x="89455" y="25559"/>
                      </a:lnTo>
                      <a:cubicBezTo>
                        <a:pt x="89455" y="26070"/>
                        <a:pt x="89455" y="26581"/>
                        <a:pt x="89455" y="26581"/>
                      </a:cubicBezTo>
                      <a:cubicBezTo>
                        <a:pt x="89455" y="27092"/>
                        <a:pt x="89455" y="27092"/>
                        <a:pt x="89966" y="27092"/>
                      </a:cubicBezTo>
                      <a:cubicBezTo>
                        <a:pt x="91500" y="28115"/>
                        <a:pt x="94056" y="28626"/>
                        <a:pt x="96100" y="28626"/>
                      </a:cubicBezTo>
                      <a:moveTo>
                        <a:pt x="85366" y="15335"/>
                      </a:moveTo>
                      <a:cubicBezTo>
                        <a:pt x="85366" y="9712"/>
                        <a:pt x="83321" y="7156"/>
                        <a:pt x="78209" y="7156"/>
                      </a:cubicBezTo>
                      <a:cubicBezTo>
                        <a:pt x="75653" y="7156"/>
                        <a:pt x="73609" y="8179"/>
                        <a:pt x="71564" y="9712"/>
                      </a:cubicBezTo>
                      <a:lnTo>
                        <a:pt x="71564" y="9712"/>
                      </a:lnTo>
                      <a:cubicBezTo>
                        <a:pt x="70542" y="8179"/>
                        <a:pt x="68497" y="7156"/>
                        <a:pt x="65430" y="7156"/>
                      </a:cubicBezTo>
                      <a:cubicBezTo>
                        <a:pt x="62874" y="7156"/>
                        <a:pt x="60829" y="8179"/>
                        <a:pt x="59807" y="9712"/>
                      </a:cubicBezTo>
                      <a:lnTo>
                        <a:pt x="59807" y="9712"/>
                      </a:lnTo>
                      <a:lnTo>
                        <a:pt x="59807" y="8179"/>
                      </a:lnTo>
                      <a:cubicBezTo>
                        <a:pt x="59807" y="7668"/>
                        <a:pt x="59807" y="7668"/>
                        <a:pt x="59296" y="7668"/>
                      </a:cubicBezTo>
                      <a:lnTo>
                        <a:pt x="57762" y="7668"/>
                      </a:lnTo>
                      <a:cubicBezTo>
                        <a:pt x="57251" y="7668"/>
                        <a:pt x="57251" y="7668"/>
                        <a:pt x="57251" y="8179"/>
                      </a:cubicBezTo>
                      <a:lnTo>
                        <a:pt x="57251" y="27603"/>
                      </a:lnTo>
                      <a:cubicBezTo>
                        <a:pt x="57251" y="28115"/>
                        <a:pt x="57251" y="28115"/>
                        <a:pt x="58274" y="28115"/>
                      </a:cubicBezTo>
                      <a:lnTo>
                        <a:pt x="60318" y="28115"/>
                      </a:lnTo>
                      <a:cubicBezTo>
                        <a:pt x="60829" y="28115"/>
                        <a:pt x="61341" y="28115"/>
                        <a:pt x="61341" y="27603"/>
                      </a:cubicBezTo>
                      <a:lnTo>
                        <a:pt x="61341" y="14824"/>
                      </a:lnTo>
                      <a:cubicBezTo>
                        <a:pt x="61341" y="11757"/>
                        <a:pt x="62874" y="10223"/>
                        <a:pt x="65430" y="10223"/>
                      </a:cubicBezTo>
                      <a:cubicBezTo>
                        <a:pt x="68497" y="10223"/>
                        <a:pt x="70030" y="11757"/>
                        <a:pt x="70030" y="15335"/>
                      </a:cubicBezTo>
                      <a:lnTo>
                        <a:pt x="70030" y="27603"/>
                      </a:lnTo>
                      <a:cubicBezTo>
                        <a:pt x="70030" y="28115"/>
                        <a:pt x="70542" y="28115"/>
                        <a:pt x="71053" y="28115"/>
                      </a:cubicBezTo>
                      <a:lnTo>
                        <a:pt x="73097" y="28115"/>
                      </a:lnTo>
                      <a:cubicBezTo>
                        <a:pt x="73609" y="28115"/>
                        <a:pt x="74120" y="28115"/>
                        <a:pt x="74120" y="27603"/>
                      </a:cubicBezTo>
                      <a:lnTo>
                        <a:pt x="74120" y="15846"/>
                      </a:lnTo>
                      <a:cubicBezTo>
                        <a:pt x="74120" y="14824"/>
                        <a:pt x="74120" y="13802"/>
                        <a:pt x="74120" y="12779"/>
                      </a:cubicBezTo>
                      <a:cubicBezTo>
                        <a:pt x="75142" y="11757"/>
                        <a:pt x="76676" y="10735"/>
                        <a:pt x="78720" y="10735"/>
                      </a:cubicBezTo>
                      <a:cubicBezTo>
                        <a:pt x="81787" y="10735"/>
                        <a:pt x="82810" y="12268"/>
                        <a:pt x="82810" y="15846"/>
                      </a:cubicBezTo>
                      <a:lnTo>
                        <a:pt x="82810" y="28115"/>
                      </a:lnTo>
                      <a:cubicBezTo>
                        <a:pt x="82810" y="28626"/>
                        <a:pt x="83321" y="28626"/>
                        <a:pt x="83832" y="28626"/>
                      </a:cubicBezTo>
                      <a:lnTo>
                        <a:pt x="85877" y="28626"/>
                      </a:lnTo>
                      <a:cubicBezTo>
                        <a:pt x="86388" y="28626"/>
                        <a:pt x="86899" y="28626"/>
                        <a:pt x="86899" y="28115"/>
                      </a:cubicBezTo>
                      <a:lnTo>
                        <a:pt x="86899" y="15335"/>
                      </a:lnTo>
                      <a:close/>
                      <a:moveTo>
                        <a:pt x="49072" y="511"/>
                      </a:moveTo>
                      <a:cubicBezTo>
                        <a:pt x="49072" y="0"/>
                        <a:pt x="49072" y="0"/>
                        <a:pt x="48050" y="0"/>
                      </a:cubicBezTo>
                      <a:lnTo>
                        <a:pt x="46005" y="0"/>
                      </a:lnTo>
                      <a:cubicBezTo>
                        <a:pt x="45494" y="0"/>
                        <a:pt x="44983" y="0"/>
                        <a:pt x="44983" y="511"/>
                      </a:cubicBezTo>
                      <a:lnTo>
                        <a:pt x="44983" y="23514"/>
                      </a:lnTo>
                      <a:cubicBezTo>
                        <a:pt x="44983" y="27092"/>
                        <a:pt x="46516" y="28626"/>
                        <a:pt x="50095" y="28626"/>
                      </a:cubicBezTo>
                      <a:lnTo>
                        <a:pt x="52139" y="28626"/>
                      </a:lnTo>
                      <a:cubicBezTo>
                        <a:pt x="52651" y="28626"/>
                        <a:pt x="52651" y="28626"/>
                        <a:pt x="52651" y="28115"/>
                      </a:cubicBezTo>
                      <a:lnTo>
                        <a:pt x="52651" y="25559"/>
                      </a:lnTo>
                      <a:cubicBezTo>
                        <a:pt x="52651" y="25047"/>
                        <a:pt x="52651" y="25047"/>
                        <a:pt x="52139" y="25047"/>
                      </a:cubicBezTo>
                      <a:lnTo>
                        <a:pt x="51117" y="25047"/>
                      </a:lnTo>
                      <a:cubicBezTo>
                        <a:pt x="49584" y="25047"/>
                        <a:pt x="49584" y="24536"/>
                        <a:pt x="49584" y="23003"/>
                      </a:cubicBezTo>
                      <a:lnTo>
                        <a:pt x="49584" y="511"/>
                      </a:lnTo>
                      <a:close/>
                      <a:moveTo>
                        <a:pt x="28625" y="16869"/>
                      </a:moveTo>
                      <a:cubicBezTo>
                        <a:pt x="28625" y="12779"/>
                        <a:pt x="29137" y="10735"/>
                        <a:pt x="32715" y="10735"/>
                      </a:cubicBezTo>
                      <a:cubicBezTo>
                        <a:pt x="35782" y="10735"/>
                        <a:pt x="36804" y="12268"/>
                        <a:pt x="36804" y="16358"/>
                      </a:cubicBezTo>
                      <a:cubicBezTo>
                        <a:pt x="36804" y="16869"/>
                        <a:pt x="36804" y="16869"/>
                        <a:pt x="36293" y="16869"/>
                      </a:cubicBezTo>
                      <a:lnTo>
                        <a:pt x="28625" y="16869"/>
                      </a:lnTo>
                      <a:close/>
                      <a:moveTo>
                        <a:pt x="40383" y="15846"/>
                      </a:moveTo>
                      <a:cubicBezTo>
                        <a:pt x="40383" y="9712"/>
                        <a:pt x="37827" y="7156"/>
                        <a:pt x="32715" y="7156"/>
                      </a:cubicBezTo>
                      <a:cubicBezTo>
                        <a:pt x="26581" y="7156"/>
                        <a:pt x="24536" y="10735"/>
                        <a:pt x="24536" y="17380"/>
                      </a:cubicBezTo>
                      <a:lnTo>
                        <a:pt x="24536" y="18913"/>
                      </a:lnTo>
                      <a:cubicBezTo>
                        <a:pt x="24536" y="26070"/>
                        <a:pt x="26581" y="29137"/>
                        <a:pt x="33226" y="29137"/>
                      </a:cubicBezTo>
                      <a:cubicBezTo>
                        <a:pt x="35271" y="29137"/>
                        <a:pt x="37827" y="28626"/>
                        <a:pt x="39360" y="28115"/>
                      </a:cubicBezTo>
                      <a:cubicBezTo>
                        <a:pt x="39871" y="28115"/>
                        <a:pt x="39871" y="27603"/>
                        <a:pt x="39871" y="27603"/>
                      </a:cubicBezTo>
                      <a:cubicBezTo>
                        <a:pt x="39871" y="27603"/>
                        <a:pt x="39871" y="27092"/>
                        <a:pt x="39871" y="26581"/>
                      </a:cubicBezTo>
                      <a:lnTo>
                        <a:pt x="39360" y="25559"/>
                      </a:lnTo>
                      <a:cubicBezTo>
                        <a:pt x="39360" y="25047"/>
                        <a:pt x="38849" y="25047"/>
                        <a:pt x="38849" y="25047"/>
                      </a:cubicBezTo>
                      <a:cubicBezTo>
                        <a:pt x="38849" y="25047"/>
                        <a:pt x="38338" y="25047"/>
                        <a:pt x="38338" y="25047"/>
                      </a:cubicBezTo>
                      <a:cubicBezTo>
                        <a:pt x="37315" y="25559"/>
                        <a:pt x="35271" y="26070"/>
                        <a:pt x="33737" y="26070"/>
                      </a:cubicBezTo>
                      <a:cubicBezTo>
                        <a:pt x="29648" y="26070"/>
                        <a:pt x="28625" y="24536"/>
                        <a:pt x="28625" y="20447"/>
                      </a:cubicBezTo>
                      <a:lnTo>
                        <a:pt x="39360" y="20447"/>
                      </a:lnTo>
                      <a:cubicBezTo>
                        <a:pt x="40383" y="20447"/>
                        <a:pt x="40383" y="19936"/>
                        <a:pt x="40383" y="19425"/>
                      </a:cubicBezTo>
                      <a:lnTo>
                        <a:pt x="40383" y="15846"/>
                      </a:lnTo>
                      <a:close/>
                      <a:moveTo>
                        <a:pt x="19936" y="2045"/>
                      </a:moveTo>
                      <a:cubicBezTo>
                        <a:pt x="19936" y="1533"/>
                        <a:pt x="19424" y="1022"/>
                        <a:pt x="18913" y="1022"/>
                      </a:cubicBezTo>
                      <a:lnTo>
                        <a:pt x="16869" y="1022"/>
                      </a:lnTo>
                      <a:cubicBezTo>
                        <a:pt x="16357" y="1022"/>
                        <a:pt x="15846" y="1022"/>
                        <a:pt x="15846" y="2045"/>
                      </a:cubicBezTo>
                      <a:lnTo>
                        <a:pt x="15846" y="12779"/>
                      </a:lnTo>
                      <a:lnTo>
                        <a:pt x="4089" y="12779"/>
                      </a:lnTo>
                      <a:lnTo>
                        <a:pt x="4089" y="2045"/>
                      </a:lnTo>
                      <a:cubicBezTo>
                        <a:pt x="4089" y="1533"/>
                        <a:pt x="3578" y="1022"/>
                        <a:pt x="3067" y="1022"/>
                      </a:cubicBezTo>
                      <a:lnTo>
                        <a:pt x="1022" y="1022"/>
                      </a:lnTo>
                      <a:cubicBezTo>
                        <a:pt x="511" y="1022"/>
                        <a:pt x="0" y="1022"/>
                        <a:pt x="0" y="2045"/>
                      </a:cubicBezTo>
                      <a:lnTo>
                        <a:pt x="0" y="27603"/>
                      </a:lnTo>
                      <a:cubicBezTo>
                        <a:pt x="0" y="28115"/>
                        <a:pt x="0" y="28626"/>
                        <a:pt x="1022" y="28626"/>
                      </a:cubicBezTo>
                      <a:lnTo>
                        <a:pt x="3067" y="28626"/>
                      </a:lnTo>
                      <a:cubicBezTo>
                        <a:pt x="3578" y="28626"/>
                        <a:pt x="4089" y="28626"/>
                        <a:pt x="4089" y="27603"/>
                      </a:cubicBezTo>
                      <a:lnTo>
                        <a:pt x="4089" y="16358"/>
                      </a:lnTo>
                      <a:lnTo>
                        <a:pt x="15846" y="16358"/>
                      </a:lnTo>
                      <a:lnTo>
                        <a:pt x="15846" y="27603"/>
                      </a:lnTo>
                      <a:cubicBezTo>
                        <a:pt x="15846" y="28115"/>
                        <a:pt x="15846" y="28626"/>
                        <a:pt x="16869" y="28626"/>
                      </a:cubicBezTo>
                      <a:lnTo>
                        <a:pt x="19424" y="28626"/>
                      </a:lnTo>
                      <a:cubicBezTo>
                        <a:pt x="19936" y="28626"/>
                        <a:pt x="20447" y="28626"/>
                        <a:pt x="20447" y="27603"/>
                      </a:cubicBezTo>
                      <a:lnTo>
                        <a:pt x="20447" y="2045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1" name="Freihandform: Form 120">
                  <a:extLst>
                    <a:ext uri="{FF2B5EF4-FFF2-40B4-BE49-F238E27FC236}">
                      <a16:creationId xmlns:a16="http://schemas.microsoft.com/office/drawing/2014/main" id="{7677910A-FE79-4B50-A1F7-B166A238B870}"/>
                    </a:ext>
                  </a:extLst>
                </p:cNvPr>
                <p:cNvSpPr/>
                <p:nvPr/>
              </p:nvSpPr>
              <p:spPr>
                <a:xfrm>
                  <a:off x="7924563" y="989790"/>
                  <a:ext cx="216736" cy="35782"/>
                </a:xfrm>
                <a:custGeom>
                  <a:avLst/>
                  <a:gdLst>
                    <a:gd name="connsiteX0" fmla="*/ 199868 w 216736"/>
                    <a:gd name="connsiteY0" fmla="*/ 28115 h 35782"/>
                    <a:gd name="connsiteX1" fmla="*/ 200890 w 216736"/>
                    <a:gd name="connsiteY1" fmla="*/ 28626 h 35782"/>
                    <a:gd name="connsiteX2" fmla="*/ 202935 w 216736"/>
                    <a:gd name="connsiteY2" fmla="*/ 28626 h 35782"/>
                    <a:gd name="connsiteX3" fmla="*/ 203957 w 216736"/>
                    <a:gd name="connsiteY3" fmla="*/ 28115 h 35782"/>
                    <a:gd name="connsiteX4" fmla="*/ 203957 w 216736"/>
                    <a:gd name="connsiteY4" fmla="*/ 15335 h 35782"/>
                    <a:gd name="connsiteX5" fmla="*/ 208047 w 216736"/>
                    <a:gd name="connsiteY5" fmla="*/ 10735 h 35782"/>
                    <a:gd name="connsiteX6" fmla="*/ 212647 w 216736"/>
                    <a:gd name="connsiteY6" fmla="*/ 15846 h 35782"/>
                    <a:gd name="connsiteX7" fmla="*/ 212647 w 216736"/>
                    <a:gd name="connsiteY7" fmla="*/ 28115 h 35782"/>
                    <a:gd name="connsiteX8" fmla="*/ 213670 w 216736"/>
                    <a:gd name="connsiteY8" fmla="*/ 28626 h 35782"/>
                    <a:gd name="connsiteX9" fmla="*/ 215714 w 216736"/>
                    <a:gd name="connsiteY9" fmla="*/ 28626 h 35782"/>
                    <a:gd name="connsiteX10" fmla="*/ 216736 w 216736"/>
                    <a:gd name="connsiteY10" fmla="*/ 28115 h 35782"/>
                    <a:gd name="connsiteX11" fmla="*/ 216736 w 216736"/>
                    <a:gd name="connsiteY11" fmla="*/ 16358 h 35782"/>
                    <a:gd name="connsiteX12" fmla="*/ 209580 w 216736"/>
                    <a:gd name="connsiteY12" fmla="*/ 8179 h 35782"/>
                    <a:gd name="connsiteX13" fmla="*/ 203446 w 216736"/>
                    <a:gd name="connsiteY13" fmla="*/ 10735 h 35782"/>
                    <a:gd name="connsiteX14" fmla="*/ 203446 w 216736"/>
                    <a:gd name="connsiteY14" fmla="*/ 10735 h 35782"/>
                    <a:gd name="connsiteX15" fmla="*/ 203446 w 216736"/>
                    <a:gd name="connsiteY15" fmla="*/ 9201 h 35782"/>
                    <a:gd name="connsiteX16" fmla="*/ 202424 w 216736"/>
                    <a:gd name="connsiteY16" fmla="*/ 8690 h 35782"/>
                    <a:gd name="connsiteX17" fmla="*/ 200890 w 216736"/>
                    <a:gd name="connsiteY17" fmla="*/ 8690 h 35782"/>
                    <a:gd name="connsiteX18" fmla="*/ 200379 w 216736"/>
                    <a:gd name="connsiteY18" fmla="*/ 9201 h 35782"/>
                    <a:gd name="connsiteX19" fmla="*/ 200379 w 216736"/>
                    <a:gd name="connsiteY19" fmla="*/ 28115 h 35782"/>
                    <a:gd name="connsiteX20" fmla="*/ 182999 w 216736"/>
                    <a:gd name="connsiteY20" fmla="*/ 17380 h 35782"/>
                    <a:gd name="connsiteX21" fmla="*/ 187089 w 216736"/>
                    <a:gd name="connsiteY21" fmla="*/ 11246 h 35782"/>
                    <a:gd name="connsiteX22" fmla="*/ 191178 w 216736"/>
                    <a:gd name="connsiteY22" fmla="*/ 16869 h 35782"/>
                    <a:gd name="connsiteX23" fmla="*/ 190667 w 216736"/>
                    <a:gd name="connsiteY23" fmla="*/ 17380 h 35782"/>
                    <a:gd name="connsiteX24" fmla="*/ 182999 w 216736"/>
                    <a:gd name="connsiteY24" fmla="*/ 17380 h 35782"/>
                    <a:gd name="connsiteX25" fmla="*/ 195267 w 216736"/>
                    <a:gd name="connsiteY25" fmla="*/ 16358 h 35782"/>
                    <a:gd name="connsiteX26" fmla="*/ 187600 w 216736"/>
                    <a:gd name="connsiteY26" fmla="*/ 8179 h 35782"/>
                    <a:gd name="connsiteX27" fmla="*/ 179421 w 216736"/>
                    <a:gd name="connsiteY27" fmla="*/ 18402 h 35782"/>
                    <a:gd name="connsiteX28" fmla="*/ 179421 w 216736"/>
                    <a:gd name="connsiteY28" fmla="*/ 19936 h 35782"/>
                    <a:gd name="connsiteX29" fmla="*/ 188111 w 216736"/>
                    <a:gd name="connsiteY29" fmla="*/ 30159 h 35782"/>
                    <a:gd name="connsiteX30" fmla="*/ 194245 w 216736"/>
                    <a:gd name="connsiteY30" fmla="*/ 29137 h 35782"/>
                    <a:gd name="connsiteX31" fmla="*/ 194756 w 216736"/>
                    <a:gd name="connsiteY31" fmla="*/ 28626 h 35782"/>
                    <a:gd name="connsiteX32" fmla="*/ 194756 w 216736"/>
                    <a:gd name="connsiteY32" fmla="*/ 27603 h 35782"/>
                    <a:gd name="connsiteX33" fmla="*/ 194245 w 216736"/>
                    <a:gd name="connsiteY33" fmla="*/ 26581 h 35782"/>
                    <a:gd name="connsiteX34" fmla="*/ 193734 w 216736"/>
                    <a:gd name="connsiteY34" fmla="*/ 26070 h 35782"/>
                    <a:gd name="connsiteX35" fmla="*/ 193223 w 216736"/>
                    <a:gd name="connsiteY35" fmla="*/ 26070 h 35782"/>
                    <a:gd name="connsiteX36" fmla="*/ 188622 w 216736"/>
                    <a:gd name="connsiteY36" fmla="*/ 27092 h 35782"/>
                    <a:gd name="connsiteX37" fmla="*/ 183510 w 216736"/>
                    <a:gd name="connsiteY37" fmla="*/ 21469 h 35782"/>
                    <a:gd name="connsiteX38" fmla="*/ 194245 w 216736"/>
                    <a:gd name="connsiteY38" fmla="*/ 21469 h 35782"/>
                    <a:gd name="connsiteX39" fmla="*/ 195267 w 216736"/>
                    <a:gd name="connsiteY39" fmla="*/ 20447 h 35782"/>
                    <a:gd name="connsiteX40" fmla="*/ 195267 w 216736"/>
                    <a:gd name="connsiteY40" fmla="*/ 16358 h 35782"/>
                    <a:gd name="connsiteX41" fmla="*/ 174820 w 216736"/>
                    <a:gd name="connsiteY41" fmla="*/ 8690 h 35782"/>
                    <a:gd name="connsiteX42" fmla="*/ 173798 w 216736"/>
                    <a:gd name="connsiteY42" fmla="*/ 8179 h 35782"/>
                    <a:gd name="connsiteX43" fmla="*/ 172265 w 216736"/>
                    <a:gd name="connsiteY43" fmla="*/ 8179 h 35782"/>
                    <a:gd name="connsiteX44" fmla="*/ 171242 w 216736"/>
                    <a:gd name="connsiteY44" fmla="*/ 8690 h 35782"/>
                    <a:gd name="connsiteX45" fmla="*/ 170731 w 216736"/>
                    <a:gd name="connsiteY45" fmla="*/ 10223 h 35782"/>
                    <a:gd name="connsiteX46" fmla="*/ 170731 w 216736"/>
                    <a:gd name="connsiteY46" fmla="*/ 10223 h 35782"/>
                    <a:gd name="connsiteX47" fmla="*/ 165108 w 216736"/>
                    <a:gd name="connsiteY47" fmla="*/ 7668 h 35782"/>
                    <a:gd name="connsiteX48" fmla="*/ 156929 w 216736"/>
                    <a:gd name="connsiteY48" fmla="*/ 17380 h 35782"/>
                    <a:gd name="connsiteX49" fmla="*/ 156929 w 216736"/>
                    <a:gd name="connsiteY49" fmla="*/ 18913 h 35782"/>
                    <a:gd name="connsiteX50" fmla="*/ 165108 w 216736"/>
                    <a:gd name="connsiteY50" fmla="*/ 28626 h 35782"/>
                    <a:gd name="connsiteX51" fmla="*/ 170220 w 216736"/>
                    <a:gd name="connsiteY51" fmla="*/ 26581 h 35782"/>
                    <a:gd name="connsiteX52" fmla="*/ 170220 w 216736"/>
                    <a:gd name="connsiteY52" fmla="*/ 26581 h 35782"/>
                    <a:gd name="connsiteX53" fmla="*/ 170220 w 216736"/>
                    <a:gd name="connsiteY53" fmla="*/ 28115 h 35782"/>
                    <a:gd name="connsiteX54" fmla="*/ 169198 w 216736"/>
                    <a:gd name="connsiteY54" fmla="*/ 31693 h 35782"/>
                    <a:gd name="connsiteX55" fmla="*/ 165619 w 216736"/>
                    <a:gd name="connsiteY55" fmla="*/ 32715 h 35782"/>
                    <a:gd name="connsiteX56" fmla="*/ 160508 w 216736"/>
                    <a:gd name="connsiteY56" fmla="*/ 32204 h 35782"/>
                    <a:gd name="connsiteX57" fmla="*/ 159485 w 216736"/>
                    <a:gd name="connsiteY57" fmla="*/ 32715 h 35782"/>
                    <a:gd name="connsiteX58" fmla="*/ 158974 w 216736"/>
                    <a:gd name="connsiteY58" fmla="*/ 33737 h 35782"/>
                    <a:gd name="connsiteX59" fmla="*/ 159485 w 216736"/>
                    <a:gd name="connsiteY59" fmla="*/ 34760 h 35782"/>
                    <a:gd name="connsiteX60" fmla="*/ 165619 w 216736"/>
                    <a:gd name="connsiteY60" fmla="*/ 35782 h 35782"/>
                    <a:gd name="connsiteX61" fmla="*/ 172265 w 216736"/>
                    <a:gd name="connsiteY61" fmla="*/ 33737 h 35782"/>
                    <a:gd name="connsiteX62" fmla="*/ 174309 w 216736"/>
                    <a:gd name="connsiteY62" fmla="*/ 26581 h 35782"/>
                    <a:gd name="connsiteX63" fmla="*/ 174309 w 216736"/>
                    <a:gd name="connsiteY63" fmla="*/ 8690 h 35782"/>
                    <a:gd name="connsiteX64" fmla="*/ 166131 w 216736"/>
                    <a:gd name="connsiteY64" fmla="*/ 10735 h 35782"/>
                    <a:gd name="connsiteX65" fmla="*/ 170731 w 216736"/>
                    <a:gd name="connsiteY65" fmla="*/ 15335 h 35782"/>
                    <a:gd name="connsiteX66" fmla="*/ 170731 w 216736"/>
                    <a:gd name="connsiteY66" fmla="*/ 20958 h 35782"/>
                    <a:gd name="connsiteX67" fmla="*/ 166131 w 216736"/>
                    <a:gd name="connsiteY67" fmla="*/ 25559 h 35782"/>
                    <a:gd name="connsiteX68" fmla="*/ 161530 w 216736"/>
                    <a:gd name="connsiteY68" fmla="*/ 18913 h 35782"/>
                    <a:gd name="connsiteX69" fmla="*/ 161530 w 216736"/>
                    <a:gd name="connsiteY69" fmla="*/ 17891 h 35782"/>
                    <a:gd name="connsiteX70" fmla="*/ 166131 w 216736"/>
                    <a:gd name="connsiteY70" fmla="*/ 10735 h 35782"/>
                    <a:gd name="connsiteX71" fmla="*/ 149773 w 216736"/>
                    <a:gd name="connsiteY71" fmla="*/ 22492 h 35782"/>
                    <a:gd name="connsiteX72" fmla="*/ 145684 w 216736"/>
                    <a:gd name="connsiteY72" fmla="*/ 26070 h 35782"/>
                    <a:gd name="connsiteX73" fmla="*/ 144150 w 216736"/>
                    <a:gd name="connsiteY73" fmla="*/ 26070 h 35782"/>
                    <a:gd name="connsiteX74" fmla="*/ 141083 w 216736"/>
                    <a:gd name="connsiteY74" fmla="*/ 23003 h 35782"/>
                    <a:gd name="connsiteX75" fmla="*/ 141083 w 216736"/>
                    <a:gd name="connsiteY75" fmla="*/ 22492 h 35782"/>
                    <a:gd name="connsiteX76" fmla="*/ 145172 w 216736"/>
                    <a:gd name="connsiteY76" fmla="*/ 19425 h 35782"/>
                    <a:gd name="connsiteX77" fmla="*/ 147217 w 216736"/>
                    <a:gd name="connsiteY77" fmla="*/ 19425 h 35782"/>
                    <a:gd name="connsiteX78" fmla="*/ 149262 w 216736"/>
                    <a:gd name="connsiteY78" fmla="*/ 19425 h 35782"/>
                    <a:gd name="connsiteX79" fmla="*/ 149262 w 216736"/>
                    <a:gd name="connsiteY79" fmla="*/ 22492 h 35782"/>
                    <a:gd name="connsiteX80" fmla="*/ 150284 w 216736"/>
                    <a:gd name="connsiteY80" fmla="*/ 28115 h 35782"/>
                    <a:gd name="connsiteX81" fmla="*/ 151307 w 216736"/>
                    <a:gd name="connsiteY81" fmla="*/ 28626 h 35782"/>
                    <a:gd name="connsiteX82" fmla="*/ 152840 w 216736"/>
                    <a:gd name="connsiteY82" fmla="*/ 28626 h 35782"/>
                    <a:gd name="connsiteX83" fmla="*/ 153351 w 216736"/>
                    <a:gd name="connsiteY83" fmla="*/ 28115 h 35782"/>
                    <a:gd name="connsiteX84" fmla="*/ 153351 w 216736"/>
                    <a:gd name="connsiteY84" fmla="*/ 14824 h 35782"/>
                    <a:gd name="connsiteX85" fmla="*/ 145684 w 216736"/>
                    <a:gd name="connsiteY85" fmla="*/ 7668 h 35782"/>
                    <a:gd name="connsiteX86" fmla="*/ 139550 w 216736"/>
                    <a:gd name="connsiteY86" fmla="*/ 8690 h 35782"/>
                    <a:gd name="connsiteX87" fmla="*/ 139038 w 216736"/>
                    <a:gd name="connsiteY87" fmla="*/ 9201 h 35782"/>
                    <a:gd name="connsiteX88" fmla="*/ 139038 w 216736"/>
                    <a:gd name="connsiteY88" fmla="*/ 10223 h 35782"/>
                    <a:gd name="connsiteX89" fmla="*/ 139038 w 216736"/>
                    <a:gd name="connsiteY89" fmla="*/ 11246 h 35782"/>
                    <a:gd name="connsiteX90" fmla="*/ 139550 w 216736"/>
                    <a:gd name="connsiteY90" fmla="*/ 11757 h 35782"/>
                    <a:gd name="connsiteX91" fmla="*/ 140572 w 216736"/>
                    <a:gd name="connsiteY91" fmla="*/ 11757 h 35782"/>
                    <a:gd name="connsiteX92" fmla="*/ 145172 w 216736"/>
                    <a:gd name="connsiteY92" fmla="*/ 11246 h 35782"/>
                    <a:gd name="connsiteX93" fmla="*/ 149262 w 216736"/>
                    <a:gd name="connsiteY93" fmla="*/ 14824 h 35782"/>
                    <a:gd name="connsiteX94" fmla="*/ 149262 w 216736"/>
                    <a:gd name="connsiteY94" fmla="*/ 16358 h 35782"/>
                    <a:gd name="connsiteX95" fmla="*/ 146706 w 216736"/>
                    <a:gd name="connsiteY95" fmla="*/ 16358 h 35782"/>
                    <a:gd name="connsiteX96" fmla="*/ 145684 w 216736"/>
                    <a:gd name="connsiteY96" fmla="*/ 16358 h 35782"/>
                    <a:gd name="connsiteX97" fmla="*/ 139038 w 216736"/>
                    <a:gd name="connsiteY97" fmla="*/ 17891 h 35782"/>
                    <a:gd name="connsiteX98" fmla="*/ 136994 w 216736"/>
                    <a:gd name="connsiteY98" fmla="*/ 23003 h 35782"/>
                    <a:gd name="connsiteX99" fmla="*/ 136994 w 216736"/>
                    <a:gd name="connsiteY99" fmla="*/ 23514 h 35782"/>
                    <a:gd name="connsiteX100" fmla="*/ 143128 w 216736"/>
                    <a:gd name="connsiteY100" fmla="*/ 29648 h 35782"/>
                    <a:gd name="connsiteX101" fmla="*/ 144661 w 216736"/>
                    <a:gd name="connsiteY101" fmla="*/ 29648 h 35782"/>
                    <a:gd name="connsiteX102" fmla="*/ 149773 w 216736"/>
                    <a:gd name="connsiteY102" fmla="*/ 27603 h 35782"/>
                    <a:gd name="connsiteX103" fmla="*/ 149773 w 216736"/>
                    <a:gd name="connsiteY103" fmla="*/ 27603 h 35782"/>
                    <a:gd name="connsiteX104" fmla="*/ 150284 w 216736"/>
                    <a:gd name="connsiteY104" fmla="*/ 28115 h 35782"/>
                    <a:gd name="connsiteX105" fmla="*/ 133416 w 216736"/>
                    <a:gd name="connsiteY105" fmla="*/ 15846 h 35782"/>
                    <a:gd name="connsiteX106" fmla="*/ 126259 w 216736"/>
                    <a:gd name="connsiteY106" fmla="*/ 7668 h 35782"/>
                    <a:gd name="connsiteX107" fmla="*/ 120636 w 216736"/>
                    <a:gd name="connsiteY107" fmla="*/ 9201 h 35782"/>
                    <a:gd name="connsiteX108" fmla="*/ 120636 w 216736"/>
                    <a:gd name="connsiteY108" fmla="*/ 511 h 35782"/>
                    <a:gd name="connsiteX109" fmla="*/ 119614 w 216736"/>
                    <a:gd name="connsiteY109" fmla="*/ 0 h 35782"/>
                    <a:gd name="connsiteX110" fmla="*/ 117569 w 216736"/>
                    <a:gd name="connsiteY110" fmla="*/ 0 h 35782"/>
                    <a:gd name="connsiteX111" fmla="*/ 116547 w 216736"/>
                    <a:gd name="connsiteY111" fmla="*/ 511 h 35782"/>
                    <a:gd name="connsiteX112" fmla="*/ 116547 w 216736"/>
                    <a:gd name="connsiteY112" fmla="*/ 27603 h 35782"/>
                    <a:gd name="connsiteX113" fmla="*/ 117569 w 216736"/>
                    <a:gd name="connsiteY113" fmla="*/ 28115 h 35782"/>
                    <a:gd name="connsiteX114" fmla="*/ 119614 w 216736"/>
                    <a:gd name="connsiteY114" fmla="*/ 28115 h 35782"/>
                    <a:gd name="connsiteX115" fmla="*/ 120636 w 216736"/>
                    <a:gd name="connsiteY115" fmla="*/ 27603 h 35782"/>
                    <a:gd name="connsiteX116" fmla="*/ 120636 w 216736"/>
                    <a:gd name="connsiteY116" fmla="*/ 15335 h 35782"/>
                    <a:gd name="connsiteX117" fmla="*/ 124726 w 216736"/>
                    <a:gd name="connsiteY117" fmla="*/ 10735 h 35782"/>
                    <a:gd name="connsiteX118" fmla="*/ 129326 w 216736"/>
                    <a:gd name="connsiteY118" fmla="*/ 15846 h 35782"/>
                    <a:gd name="connsiteX119" fmla="*/ 129326 w 216736"/>
                    <a:gd name="connsiteY119" fmla="*/ 28115 h 35782"/>
                    <a:gd name="connsiteX120" fmla="*/ 130349 w 216736"/>
                    <a:gd name="connsiteY120" fmla="*/ 28626 h 35782"/>
                    <a:gd name="connsiteX121" fmla="*/ 132393 w 216736"/>
                    <a:gd name="connsiteY121" fmla="*/ 28626 h 35782"/>
                    <a:gd name="connsiteX122" fmla="*/ 133416 w 216736"/>
                    <a:gd name="connsiteY122" fmla="*/ 28115 h 35782"/>
                    <a:gd name="connsiteX123" fmla="*/ 133416 w 216736"/>
                    <a:gd name="connsiteY123" fmla="*/ 15846 h 35782"/>
                    <a:gd name="connsiteX124" fmla="*/ 95078 w 216736"/>
                    <a:gd name="connsiteY124" fmla="*/ 28115 h 35782"/>
                    <a:gd name="connsiteX125" fmla="*/ 96100 w 216736"/>
                    <a:gd name="connsiteY125" fmla="*/ 28626 h 35782"/>
                    <a:gd name="connsiteX126" fmla="*/ 98145 w 216736"/>
                    <a:gd name="connsiteY126" fmla="*/ 28626 h 35782"/>
                    <a:gd name="connsiteX127" fmla="*/ 99167 w 216736"/>
                    <a:gd name="connsiteY127" fmla="*/ 28115 h 35782"/>
                    <a:gd name="connsiteX128" fmla="*/ 99167 w 216736"/>
                    <a:gd name="connsiteY128" fmla="*/ 15335 h 35782"/>
                    <a:gd name="connsiteX129" fmla="*/ 103256 w 216736"/>
                    <a:gd name="connsiteY129" fmla="*/ 10735 h 35782"/>
                    <a:gd name="connsiteX130" fmla="*/ 107857 w 216736"/>
                    <a:gd name="connsiteY130" fmla="*/ 15846 h 35782"/>
                    <a:gd name="connsiteX131" fmla="*/ 107857 w 216736"/>
                    <a:gd name="connsiteY131" fmla="*/ 28115 h 35782"/>
                    <a:gd name="connsiteX132" fmla="*/ 108879 w 216736"/>
                    <a:gd name="connsiteY132" fmla="*/ 28626 h 35782"/>
                    <a:gd name="connsiteX133" fmla="*/ 110924 w 216736"/>
                    <a:gd name="connsiteY133" fmla="*/ 28626 h 35782"/>
                    <a:gd name="connsiteX134" fmla="*/ 111946 w 216736"/>
                    <a:gd name="connsiteY134" fmla="*/ 28115 h 35782"/>
                    <a:gd name="connsiteX135" fmla="*/ 111946 w 216736"/>
                    <a:gd name="connsiteY135" fmla="*/ 16358 h 35782"/>
                    <a:gd name="connsiteX136" fmla="*/ 104790 w 216736"/>
                    <a:gd name="connsiteY136" fmla="*/ 8179 h 35782"/>
                    <a:gd name="connsiteX137" fmla="*/ 98656 w 216736"/>
                    <a:gd name="connsiteY137" fmla="*/ 10735 h 35782"/>
                    <a:gd name="connsiteX138" fmla="*/ 98656 w 216736"/>
                    <a:gd name="connsiteY138" fmla="*/ 10735 h 35782"/>
                    <a:gd name="connsiteX139" fmla="*/ 98656 w 216736"/>
                    <a:gd name="connsiteY139" fmla="*/ 9201 h 35782"/>
                    <a:gd name="connsiteX140" fmla="*/ 97634 w 216736"/>
                    <a:gd name="connsiteY140" fmla="*/ 8690 h 35782"/>
                    <a:gd name="connsiteX141" fmla="*/ 96100 w 216736"/>
                    <a:gd name="connsiteY141" fmla="*/ 8690 h 35782"/>
                    <a:gd name="connsiteX142" fmla="*/ 95589 w 216736"/>
                    <a:gd name="connsiteY142" fmla="*/ 9201 h 35782"/>
                    <a:gd name="connsiteX143" fmla="*/ 95589 w 216736"/>
                    <a:gd name="connsiteY143" fmla="*/ 28115 h 35782"/>
                    <a:gd name="connsiteX144" fmla="*/ 78209 w 216736"/>
                    <a:gd name="connsiteY144" fmla="*/ 17380 h 35782"/>
                    <a:gd name="connsiteX145" fmla="*/ 82298 w 216736"/>
                    <a:gd name="connsiteY145" fmla="*/ 11246 h 35782"/>
                    <a:gd name="connsiteX146" fmla="*/ 86388 w 216736"/>
                    <a:gd name="connsiteY146" fmla="*/ 16869 h 35782"/>
                    <a:gd name="connsiteX147" fmla="*/ 85877 w 216736"/>
                    <a:gd name="connsiteY147" fmla="*/ 17380 h 35782"/>
                    <a:gd name="connsiteX148" fmla="*/ 78209 w 216736"/>
                    <a:gd name="connsiteY148" fmla="*/ 17380 h 35782"/>
                    <a:gd name="connsiteX149" fmla="*/ 90477 w 216736"/>
                    <a:gd name="connsiteY149" fmla="*/ 16358 h 35782"/>
                    <a:gd name="connsiteX150" fmla="*/ 82810 w 216736"/>
                    <a:gd name="connsiteY150" fmla="*/ 8179 h 35782"/>
                    <a:gd name="connsiteX151" fmla="*/ 74631 w 216736"/>
                    <a:gd name="connsiteY151" fmla="*/ 18402 h 35782"/>
                    <a:gd name="connsiteX152" fmla="*/ 74631 w 216736"/>
                    <a:gd name="connsiteY152" fmla="*/ 19936 h 35782"/>
                    <a:gd name="connsiteX153" fmla="*/ 83321 w 216736"/>
                    <a:gd name="connsiteY153" fmla="*/ 30159 h 35782"/>
                    <a:gd name="connsiteX154" fmla="*/ 89455 w 216736"/>
                    <a:gd name="connsiteY154" fmla="*/ 29137 h 35782"/>
                    <a:gd name="connsiteX155" fmla="*/ 89966 w 216736"/>
                    <a:gd name="connsiteY155" fmla="*/ 28626 h 35782"/>
                    <a:gd name="connsiteX156" fmla="*/ 89966 w 216736"/>
                    <a:gd name="connsiteY156" fmla="*/ 27603 h 35782"/>
                    <a:gd name="connsiteX157" fmla="*/ 89455 w 216736"/>
                    <a:gd name="connsiteY157" fmla="*/ 26581 h 35782"/>
                    <a:gd name="connsiteX158" fmla="*/ 88944 w 216736"/>
                    <a:gd name="connsiteY158" fmla="*/ 26070 h 35782"/>
                    <a:gd name="connsiteX159" fmla="*/ 88433 w 216736"/>
                    <a:gd name="connsiteY159" fmla="*/ 26070 h 35782"/>
                    <a:gd name="connsiteX160" fmla="*/ 83832 w 216736"/>
                    <a:gd name="connsiteY160" fmla="*/ 27092 h 35782"/>
                    <a:gd name="connsiteX161" fmla="*/ 78720 w 216736"/>
                    <a:gd name="connsiteY161" fmla="*/ 21469 h 35782"/>
                    <a:gd name="connsiteX162" fmla="*/ 89455 w 216736"/>
                    <a:gd name="connsiteY162" fmla="*/ 21469 h 35782"/>
                    <a:gd name="connsiteX163" fmla="*/ 90477 w 216736"/>
                    <a:gd name="connsiteY163" fmla="*/ 20447 h 35782"/>
                    <a:gd name="connsiteX164" fmla="*/ 90477 w 216736"/>
                    <a:gd name="connsiteY164" fmla="*/ 16358 h 35782"/>
                    <a:gd name="connsiteX165" fmla="*/ 55206 w 216736"/>
                    <a:gd name="connsiteY165" fmla="*/ 8179 h 35782"/>
                    <a:gd name="connsiteX166" fmla="*/ 54695 w 216736"/>
                    <a:gd name="connsiteY166" fmla="*/ 8690 h 35782"/>
                    <a:gd name="connsiteX167" fmla="*/ 54695 w 216736"/>
                    <a:gd name="connsiteY167" fmla="*/ 9712 h 35782"/>
                    <a:gd name="connsiteX168" fmla="*/ 60318 w 216736"/>
                    <a:gd name="connsiteY168" fmla="*/ 27092 h 35782"/>
                    <a:gd name="connsiteX169" fmla="*/ 62363 w 216736"/>
                    <a:gd name="connsiteY169" fmla="*/ 28626 h 35782"/>
                    <a:gd name="connsiteX170" fmla="*/ 64407 w 216736"/>
                    <a:gd name="connsiteY170" fmla="*/ 28626 h 35782"/>
                    <a:gd name="connsiteX171" fmla="*/ 66452 w 216736"/>
                    <a:gd name="connsiteY171" fmla="*/ 27092 h 35782"/>
                    <a:gd name="connsiteX172" fmla="*/ 72075 w 216736"/>
                    <a:gd name="connsiteY172" fmla="*/ 9712 h 35782"/>
                    <a:gd name="connsiteX173" fmla="*/ 72586 w 216736"/>
                    <a:gd name="connsiteY173" fmla="*/ 8690 h 35782"/>
                    <a:gd name="connsiteX174" fmla="*/ 72075 w 216736"/>
                    <a:gd name="connsiteY174" fmla="*/ 8179 h 35782"/>
                    <a:gd name="connsiteX175" fmla="*/ 69519 w 216736"/>
                    <a:gd name="connsiteY175" fmla="*/ 8179 h 35782"/>
                    <a:gd name="connsiteX176" fmla="*/ 68497 w 216736"/>
                    <a:gd name="connsiteY176" fmla="*/ 8690 h 35782"/>
                    <a:gd name="connsiteX177" fmla="*/ 63896 w 216736"/>
                    <a:gd name="connsiteY177" fmla="*/ 25047 h 35782"/>
                    <a:gd name="connsiteX178" fmla="*/ 63385 w 216736"/>
                    <a:gd name="connsiteY178" fmla="*/ 25047 h 35782"/>
                    <a:gd name="connsiteX179" fmla="*/ 58785 w 216736"/>
                    <a:gd name="connsiteY179" fmla="*/ 8690 h 35782"/>
                    <a:gd name="connsiteX180" fmla="*/ 57762 w 216736"/>
                    <a:gd name="connsiteY180" fmla="*/ 8179 h 35782"/>
                    <a:gd name="connsiteX181" fmla="*/ 55206 w 216736"/>
                    <a:gd name="connsiteY181" fmla="*/ 8179 h 35782"/>
                    <a:gd name="connsiteX182" fmla="*/ 47539 w 216736"/>
                    <a:gd name="connsiteY182" fmla="*/ 22492 h 35782"/>
                    <a:gd name="connsiteX183" fmla="*/ 43450 w 216736"/>
                    <a:gd name="connsiteY183" fmla="*/ 26070 h 35782"/>
                    <a:gd name="connsiteX184" fmla="*/ 41916 w 216736"/>
                    <a:gd name="connsiteY184" fmla="*/ 26070 h 35782"/>
                    <a:gd name="connsiteX185" fmla="*/ 38849 w 216736"/>
                    <a:gd name="connsiteY185" fmla="*/ 23003 h 35782"/>
                    <a:gd name="connsiteX186" fmla="*/ 38849 w 216736"/>
                    <a:gd name="connsiteY186" fmla="*/ 22492 h 35782"/>
                    <a:gd name="connsiteX187" fmla="*/ 42938 w 216736"/>
                    <a:gd name="connsiteY187" fmla="*/ 19425 h 35782"/>
                    <a:gd name="connsiteX188" fmla="*/ 44983 w 216736"/>
                    <a:gd name="connsiteY188" fmla="*/ 19425 h 35782"/>
                    <a:gd name="connsiteX189" fmla="*/ 47028 w 216736"/>
                    <a:gd name="connsiteY189" fmla="*/ 19425 h 35782"/>
                    <a:gd name="connsiteX190" fmla="*/ 47028 w 216736"/>
                    <a:gd name="connsiteY190" fmla="*/ 22492 h 35782"/>
                    <a:gd name="connsiteX191" fmla="*/ 48050 w 216736"/>
                    <a:gd name="connsiteY191" fmla="*/ 28115 h 35782"/>
                    <a:gd name="connsiteX192" fmla="*/ 49072 w 216736"/>
                    <a:gd name="connsiteY192" fmla="*/ 28626 h 35782"/>
                    <a:gd name="connsiteX193" fmla="*/ 50606 w 216736"/>
                    <a:gd name="connsiteY193" fmla="*/ 28626 h 35782"/>
                    <a:gd name="connsiteX194" fmla="*/ 51117 w 216736"/>
                    <a:gd name="connsiteY194" fmla="*/ 28115 h 35782"/>
                    <a:gd name="connsiteX195" fmla="*/ 51117 w 216736"/>
                    <a:gd name="connsiteY195" fmla="*/ 14824 h 35782"/>
                    <a:gd name="connsiteX196" fmla="*/ 43450 w 216736"/>
                    <a:gd name="connsiteY196" fmla="*/ 7668 h 35782"/>
                    <a:gd name="connsiteX197" fmla="*/ 37315 w 216736"/>
                    <a:gd name="connsiteY197" fmla="*/ 8690 h 35782"/>
                    <a:gd name="connsiteX198" fmla="*/ 36804 w 216736"/>
                    <a:gd name="connsiteY198" fmla="*/ 9201 h 35782"/>
                    <a:gd name="connsiteX199" fmla="*/ 36804 w 216736"/>
                    <a:gd name="connsiteY199" fmla="*/ 10223 h 35782"/>
                    <a:gd name="connsiteX200" fmla="*/ 36804 w 216736"/>
                    <a:gd name="connsiteY200" fmla="*/ 11246 h 35782"/>
                    <a:gd name="connsiteX201" fmla="*/ 37315 w 216736"/>
                    <a:gd name="connsiteY201" fmla="*/ 11757 h 35782"/>
                    <a:gd name="connsiteX202" fmla="*/ 38338 w 216736"/>
                    <a:gd name="connsiteY202" fmla="*/ 11757 h 35782"/>
                    <a:gd name="connsiteX203" fmla="*/ 42938 w 216736"/>
                    <a:gd name="connsiteY203" fmla="*/ 11246 h 35782"/>
                    <a:gd name="connsiteX204" fmla="*/ 47028 w 216736"/>
                    <a:gd name="connsiteY204" fmla="*/ 14824 h 35782"/>
                    <a:gd name="connsiteX205" fmla="*/ 47028 w 216736"/>
                    <a:gd name="connsiteY205" fmla="*/ 16358 h 35782"/>
                    <a:gd name="connsiteX206" fmla="*/ 44472 w 216736"/>
                    <a:gd name="connsiteY206" fmla="*/ 16358 h 35782"/>
                    <a:gd name="connsiteX207" fmla="*/ 43450 w 216736"/>
                    <a:gd name="connsiteY207" fmla="*/ 16358 h 35782"/>
                    <a:gd name="connsiteX208" fmla="*/ 36804 w 216736"/>
                    <a:gd name="connsiteY208" fmla="*/ 17891 h 35782"/>
                    <a:gd name="connsiteX209" fmla="*/ 34760 w 216736"/>
                    <a:gd name="connsiteY209" fmla="*/ 23003 h 35782"/>
                    <a:gd name="connsiteX210" fmla="*/ 34760 w 216736"/>
                    <a:gd name="connsiteY210" fmla="*/ 23514 h 35782"/>
                    <a:gd name="connsiteX211" fmla="*/ 40894 w 216736"/>
                    <a:gd name="connsiteY211" fmla="*/ 29648 h 35782"/>
                    <a:gd name="connsiteX212" fmla="*/ 42427 w 216736"/>
                    <a:gd name="connsiteY212" fmla="*/ 29648 h 35782"/>
                    <a:gd name="connsiteX213" fmla="*/ 47539 w 216736"/>
                    <a:gd name="connsiteY213" fmla="*/ 27603 h 35782"/>
                    <a:gd name="connsiteX214" fmla="*/ 47539 w 216736"/>
                    <a:gd name="connsiteY214" fmla="*/ 27603 h 35782"/>
                    <a:gd name="connsiteX215" fmla="*/ 48050 w 216736"/>
                    <a:gd name="connsiteY215" fmla="*/ 28115 h 35782"/>
                    <a:gd name="connsiteX216" fmla="*/ 32204 w 216736"/>
                    <a:gd name="connsiteY216" fmla="*/ 28626 h 35782"/>
                    <a:gd name="connsiteX217" fmla="*/ 32715 w 216736"/>
                    <a:gd name="connsiteY217" fmla="*/ 28115 h 35782"/>
                    <a:gd name="connsiteX218" fmla="*/ 32715 w 216736"/>
                    <a:gd name="connsiteY218" fmla="*/ 26581 h 35782"/>
                    <a:gd name="connsiteX219" fmla="*/ 32204 w 216736"/>
                    <a:gd name="connsiteY219" fmla="*/ 25559 h 35782"/>
                    <a:gd name="connsiteX220" fmla="*/ 30159 w 216736"/>
                    <a:gd name="connsiteY220" fmla="*/ 25559 h 35782"/>
                    <a:gd name="connsiteX221" fmla="*/ 27603 w 216736"/>
                    <a:gd name="connsiteY221" fmla="*/ 24536 h 35782"/>
                    <a:gd name="connsiteX222" fmla="*/ 27092 w 216736"/>
                    <a:gd name="connsiteY222" fmla="*/ 21469 h 35782"/>
                    <a:gd name="connsiteX223" fmla="*/ 27092 w 216736"/>
                    <a:gd name="connsiteY223" fmla="*/ 11246 h 35782"/>
                    <a:gd name="connsiteX224" fmla="*/ 31692 w 216736"/>
                    <a:gd name="connsiteY224" fmla="*/ 11246 h 35782"/>
                    <a:gd name="connsiteX225" fmla="*/ 32204 w 216736"/>
                    <a:gd name="connsiteY225" fmla="*/ 10735 h 35782"/>
                    <a:gd name="connsiteX226" fmla="*/ 32204 w 216736"/>
                    <a:gd name="connsiteY226" fmla="*/ 8690 h 35782"/>
                    <a:gd name="connsiteX227" fmla="*/ 31692 w 216736"/>
                    <a:gd name="connsiteY227" fmla="*/ 8179 h 35782"/>
                    <a:gd name="connsiteX228" fmla="*/ 27092 w 216736"/>
                    <a:gd name="connsiteY228" fmla="*/ 8179 h 35782"/>
                    <a:gd name="connsiteX229" fmla="*/ 27092 w 216736"/>
                    <a:gd name="connsiteY229" fmla="*/ 3578 h 35782"/>
                    <a:gd name="connsiteX230" fmla="*/ 26070 w 216736"/>
                    <a:gd name="connsiteY230" fmla="*/ 2556 h 35782"/>
                    <a:gd name="connsiteX231" fmla="*/ 24025 w 216736"/>
                    <a:gd name="connsiteY231" fmla="*/ 2556 h 35782"/>
                    <a:gd name="connsiteX232" fmla="*/ 23003 w 216736"/>
                    <a:gd name="connsiteY232" fmla="*/ 3578 h 35782"/>
                    <a:gd name="connsiteX233" fmla="*/ 23003 w 216736"/>
                    <a:gd name="connsiteY233" fmla="*/ 8179 h 35782"/>
                    <a:gd name="connsiteX234" fmla="*/ 20447 w 216736"/>
                    <a:gd name="connsiteY234" fmla="*/ 8690 h 35782"/>
                    <a:gd name="connsiteX235" fmla="*/ 19935 w 216736"/>
                    <a:gd name="connsiteY235" fmla="*/ 9201 h 35782"/>
                    <a:gd name="connsiteX236" fmla="*/ 19935 w 216736"/>
                    <a:gd name="connsiteY236" fmla="*/ 10735 h 35782"/>
                    <a:gd name="connsiteX237" fmla="*/ 20447 w 216736"/>
                    <a:gd name="connsiteY237" fmla="*/ 11246 h 35782"/>
                    <a:gd name="connsiteX238" fmla="*/ 23003 w 216736"/>
                    <a:gd name="connsiteY238" fmla="*/ 11246 h 35782"/>
                    <a:gd name="connsiteX239" fmla="*/ 23003 w 216736"/>
                    <a:gd name="connsiteY239" fmla="*/ 21980 h 35782"/>
                    <a:gd name="connsiteX240" fmla="*/ 24025 w 216736"/>
                    <a:gd name="connsiteY240" fmla="*/ 27092 h 35782"/>
                    <a:gd name="connsiteX241" fmla="*/ 29137 w 216736"/>
                    <a:gd name="connsiteY241" fmla="*/ 28626 h 35782"/>
                    <a:gd name="connsiteX242" fmla="*/ 32204 w 216736"/>
                    <a:gd name="connsiteY242" fmla="*/ 28626 h 35782"/>
                    <a:gd name="connsiteX243" fmla="*/ 8690 w 216736"/>
                    <a:gd name="connsiteY243" fmla="*/ 29137 h 35782"/>
                    <a:gd name="connsiteX244" fmla="*/ 17891 w 216736"/>
                    <a:gd name="connsiteY244" fmla="*/ 20958 h 35782"/>
                    <a:gd name="connsiteX245" fmla="*/ 17891 w 216736"/>
                    <a:gd name="connsiteY245" fmla="*/ 20447 h 35782"/>
                    <a:gd name="connsiteX246" fmla="*/ 11757 w 216736"/>
                    <a:gd name="connsiteY246" fmla="*/ 13291 h 35782"/>
                    <a:gd name="connsiteX247" fmla="*/ 8690 w 216736"/>
                    <a:gd name="connsiteY247" fmla="*/ 12779 h 35782"/>
                    <a:gd name="connsiteX248" fmla="*/ 4600 w 216736"/>
                    <a:gd name="connsiteY248" fmla="*/ 8690 h 35782"/>
                    <a:gd name="connsiteX249" fmla="*/ 4600 w 216736"/>
                    <a:gd name="connsiteY249" fmla="*/ 8179 h 35782"/>
                    <a:gd name="connsiteX250" fmla="*/ 9201 w 216736"/>
                    <a:gd name="connsiteY250" fmla="*/ 4089 h 35782"/>
                    <a:gd name="connsiteX251" fmla="*/ 14313 w 216736"/>
                    <a:gd name="connsiteY251" fmla="*/ 5112 h 35782"/>
                    <a:gd name="connsiteX252" fmla="*/ 14824 w 216736"/>
                    <a:gd name="connsiteY252" fmla="*/ 5112 h 35782"/>
                    <a:gd name="connsiteX253" fmla="*/ 15335 w 216736"/>
                    <a:gd name="connsiteY253" fmla="*/ 4601 h 35782"/>
                    <a:gd name="connsiteX254" fmla="*/ 15335 w 216736"/>
                    <a:gd name="connsiteY254" fmla="*/ 3578 h 35782"/>
                    <a:gd name="connsiteX255" fmla="*/ 15846 w 216736"/>
                    <a:gd name="connsiteY255" fmla="*/ 2045 h 35782"/>
                    <a:gd name="connsiteX256" fmla="*/ 15335 w 216736"/>
                    <a:gd name="connsiteY256" fmla="*/ 1533 h 35782"/>
                    <a:gd name="connsiteX257" fmla="*/ 8690 w 216736"/>
                    <a:gd name="connsiteY257" fmla="*/ 511 h 35782"/>
                    <a:gd name="connsiteX258" fmla="*/ 0 w 216736"/>
                    <a:gd name="connsiteY258" fmla="*/ 7668 h 35782"/>
                    <a:gd name="connsiteX259" fmla="*/ 0 w 216736"/>
                    <a:gd name="connsiteY259" fmla="*/ 8179 h 35782"/>
                    <a:gd name="connsiteX260" fmla="*/ 6134 w 216736"/>
                    <a:gd name="connsiteY260" fmla="*/ 15335 h 35782"/>
                    <a:gd name="connsiteX261" fmla="*/ 9201 w 216736"/>
                    <a:gd name="connsiteY261" fmla="*/ 15846 h 35782"/>
                    <a:gd name="connsiteX262" fmla="*/ 13290 w 216736"/>
                    <a:gd name="connsiteY262" fmla="*/ 19936 h 35782"/>
                    <a:gd name="connsiteX263" fmla="*/ 13290 w 216736"/>
                    <a:gd name="connsiteY263" fmla="*/ 20447 h 35782"/>
                    <a:gd name="connsiteX264" fmla="*/ 8179 w 216736"/>
                    <a:gd name="connsiteY264" fmla="*/ 25047 h 35782"/>
                    <a:gd name="connsiteX265" fmla="*/ 1533 w 216736"/>
                    <a:gd name="connsiteY265" fmla="*/ 24025 h 35782"/>
                    <a:gd name="connsiteX266" fmla="*/ 1022 w 216736"/>
                    <a:gd name="connsiteY266" fmla="*/ 24025 h 35782"/>
                    <a:gd name="connsiteX267" fmla="*/ 511 w 216736"/>
                    <a:gd name="connsiteY267" fmla="*/ 24536 h 35782"/>
                    <a:gd name="connsiteX268" fmla="*/ 0 w 216736"/>
                    <a:gd name="connsiteY268" fmla="*/ 26070 h 35782"/>
                    <a:gd name="connsiteX269" fmla="*/ 0 w 216736"/>
                    <a:gd name="connsiteY269" fmla="*/ 27092 h 35782"/>
                    <a:gd name="connsiteX270" fmla="*/ 511 w 216736"/>
                    <a:gd name="connsiteY270" fmla="*/ 27603 h 35782"/>
                    <a:gd name="connsiteX271" fmla="*/ 8690 w 216736"/>
                    <a:gd name="connsiteY271" fmla="*/ 29137 h 3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</a:cxnLst>
                  <a:rect l="l" t="t" r="r" b="b"/>
                  <a:pathLst>
                    <a:path w="216736" h="35782">
                      <a:moveTo>
                        <a:pt x="199868" y="28115"/>
                      </a:moveTo>
                      <a:cubicBezTo>
                        <a:pt x="199868" y="28626"/>
                        <a:pt x="200379" y="28626"/>
                        <a:pt x="200890" y="28626"/>
                      </a:cubicBezTo>
                      <a:lnTo>
                        <a:pt x="202935" y="28626"/>
                      </a:lnTo>
                      <a:cubicBezTo>
                        <a:pt x="203446" y="28626"/>
                        <a:pt x="203957" y="28626"/>
                        <a:pt x="203957" y="28115"/>
                      </a:cubicBezTo>
                      <a:lnTo>
                        <a:pt x="203957" y="15335"/>
                      </a:lnTo>
                      <a:cubicBezTo>
                        <a:pt x="203957" y="11757"/>
                        <a:pt x="205491" y="10735"/>
                        <a:pt x="208047" y="10735"/>
                      </a:cubicBezTo>
                      <a:cubicBezTo>
                        <a:pt x="211114" y="10735"/>
                        <a:pt x="212647" y="12268"/>
                        <a:pt x="212647" y="15846"/>
                      </a:cubicBezTo>
                      <a:lnTo>
                        <a:pt x="212647" y="28115"/>
                      </a:lnTo>
                      <a:cubicBezTo>
                        <a:pt x="212647" y="28626"/>
                        <a:pt x="213158" y="28626"/>
                        <a:pt x="213670" y="28626"/>
                      </a:cubicBezTo>
                      <a:lnTo>
                        <a:pt x="215714" y="28626"/>
                      </a:lnTo>
                      <a:cubicBezTo>
                        <a:pt x="216225" y="28626"/>
                        <a:pt x="216736" y="28626"/>
                        <a:pt x="216736" y="28115"/>
                      </a:cubicBezTo>
                      <a:lnTo>
                        <a:pt x="216736" y="16358"/>
                      </a:lnTo>
                      <a:cubicBezTo>
                        <a:pt x="216736" y="10223"/>
                        <a:pt x="214181" y="8179"/>
                        <a:pt x="209580" y="8179"/>
                      </a:cubicBezTo>
                      <a:cubicBezTo>
                        <a:pt x="206513" y="8179"/>
                        <a:pt x="204980" y="9201"/>
                        <a:pt x="203446" y="10735"/>
                      </a:cubicBezTo>
                      <a:lnTo>
                        <a:pt x="203446" y="10735"/>
                      </a:lnTo>
                      <a:lnTo>
                        <a:pt x="203446" y="9201"/>
                      </a:lnTo>
                      <a:cubicBezTo>
                        <a:pt x="203446" y="8690"/>
                        <a:pt x="202935" y="8690"/>
                        <a:pt x="202424" y="8690"/>
                      </a:cubicBezTo>
                      <a:lnTo>
                        <a:pt x="200890" y="8690"/>
                      </a:lnTo>
                      <a:cubicBezTo>
                        <a:pt x="200379" y="8690"/>
                        <a:pt x="200379" y="8690"/>
                        <a:pt x="200379" y="9201"/>
                      </a:cubicBezTo>
                      <a:lnTo>
                        <a:pt x="200379" y="28115"/>
                      </a:lnTo>
                      <a:close/>
                      <a:moveTo>
                        <a:pt x="182999" y="17380"/>
                      </a:moveTo>
                      <a:cubicBezTo>
                        <a:pt x="182999" y="13291"/>
                        <a:pt x="183510" y="11246"/>
                        <a:pt x="187089" y="11246"/>
                      </a:cubicBezTo>
                      <a:cubicBezTo>
                        <a:pt x="190156" y="11246"/>
                        <a:pt x="191178" y="12779"/>
                        <a:pt x="191178" y="16869"/>
                      </a:cubicBezTo>
                      <a:cubicBezTo>
                        <a:pt x="191178" y="17380"/>
                        <a:pt x="191178" y="17380"/>
                        <a:pt x="190667" y="17380"/>
                      </a:cubicBezTo>
                      <a:lnTo>
                        <a:pt x="182999" y="17380"/>
                      </a:lnTo>
                      <a:close/>
                      <a:moveTo>
                        <a:pt x="195267" y="16358"/>
                      </a:moveTo>
                      <a:cubicBezTo>
                        <a:pt x="195267" y="10223"/>
                        <a:pt x="192711" y="8179"/>
                        <a:pt x="187600" y="8179"/>
                      </a:cubicBezTo>
                      <a:cubicBezTo>
                        <a:pt x="181466" y="8179"/>
                        <a:pt x="179421" y="11757"/>
                        <a:pt x="179421" y="18402"/>
                      </a:cubicBezTo>
                      <a:lnTo>
                        <a:pt x="179421" y="19936"/>
                      </a:lnTo>
                      <a:cubicBezTo>
                        <a:pt x="179421" y="27092"/>
                        <a:pt x="181466" y="30159"/>
                        <a:pt x="188111" y="30159"/>
                      </a:cubicBezTo>
                      <a:cubicBezTo>
                        <a:pt x="190156" y="30159"/>
                        <a:pt x="192711" y="29648"/>
                        <a:pt x="194245" y="29137"/>
                      </a:cubicBezTo>
                      <a:cubicBezTo>
                        <a:pt x="194756" y="29137"/>
                        <a:pt x="194756" y="28626"/>
                        <a:pt x="194756" y="28626"/>
                      </a:cubicBezTo>
                      <a:cubicBezTo>
                        <a:pt x="194756" y="28626"/>
                        <a:pt x="194756" y="28115"/>
                        <a:pt x="194756" y="27603"/>
                      </a:cubicBezTo>
                      <a:lnTo>
                        <a:pt x="194245" y="26581"/>
                      </a:lnTo>
                      <a:cubicBezTo>
                        <a:pt x="194245" y="26070"/>
                        <a:pt x="193734" y="26070"/>
                        <a:pt x="193734" y="26070"/>
                      </a:cubicBezTo>
                      <a:cubicBezTo>
                        <a:pt x="193734" y="26070"/>
                        <a:pt x="193223" y="26070"/>
                        <a:pt x="193223" y="26070"/>
                      </a:cubicBezTo>
                      <a:cubicBezTo>
                        <a:pt x="192200" y="26581"/>
                        <a:pt x="190156" y="27092"/>
                        <a:pt x="188622" y="27092"/>
                      </a:cubicBezTo>
                      <a:cubicBezTo>
                        <a:pt x="184533" y="27092"/>
                        <a:pt x="183510" y="25559"/>
                        <a:pt x="183510" y="21469"/>
                      </a:cubicBezTo>
                      <a:lnTo>
                        <a:pt x="194245" y="21469"/>
                      </a:lnTo>
                      <a:cubicBezTo>
                        <a:pt x="195267" y="21469"/>
                        <a:pt x="195267" y="20958"/>
                        <a:pt x="195267" y="20447"/>
                      </a:cubicBezTo>
                      <a:lnTo>
                        <a:pt x="195267" y="16358"/>
                      </a:lnTo>
                      <a:close/>
                      <a:moveTo>
                        <a:pt x="174820" y="8690"/>
                      </a:moveTo>
                      <a:cubicBezTo>
                        <a:pt x="174820" y="8179"/>
                        <a:pt x="174309" y="8179"/>
                        <a:pt x="173798" y="8179"/>
                      </a:cubicBezTo>
                      <a:lnTo>
                        <a:pt x="172265" y="8179"/>
                      </a:lnTo>
                      <a:cubicBezTo>
                        <a:pt x="171753" y="8179"/>
                        <a:pt x="171753" y="8179"/>
                        <a:pt x="171242" y="8690"/>
                      </a:cubicBezTo>
                      <a:lnTo>
                        <a:pt x="170731" y="10223"/>
                      </a:lnTo>
                      <a:lnTo>
                        <a:pt x="170731" y="10223"/>
                      </a:lnTo>
                      <a:cubicBezTo>
                        <a:pt x="169709" y="8690"/>
                        <a:pt x="167664" y="7668"/>
                        <a:pt x="165108" y="7668"/>
                      </a:cubicBezTo>
                      <a:cubicBezTo>
                        <a:pt x="159485" y="7668"/>
                        <a:pt x="156929" y="10223"/>
                        <a:pt x="156929" y="17380"/>
                      </a:cubicBezTo>
                      <a:lnTo>
                        <a:pt x="156929" y="18913"/>
                      </a:lnTo>
                      <a:cubicBezTo>
                        <a:pt x="156929" y="26070"/>
                        <a:pt x="159485" y="28626"/>
                        <a:pt x="165108" y="28626"/>
                      </a:cubicBezTo>
                      <a:cubicBezTo>
                        <a:pt x="167664" y="28626"/>
                        <a:pt x="169198" y="28115"/>
                        <a:pt x="170220" y="26581"/>
                      </a:cubicBezTo>
                      <a:lnTo>
                        <a:pt x="170220" y="26581"/>
                      </a:lnTo>
                      <a:lnTo>
                        <a:pt x="170220" y="28115"/>
                      </a:lnTo>
                      <a:cubicBezTo>
                        <a:pt x="170220" y="30159"/>
                        <a:pt x="169709" y="31182"/>
                        <a:pt x="169198" y="31693"/>
                      </a:cubicBezTo>
                      <a:cubicBezTo>
                        <a:pt x="168175" y="32204"/>
                        <a:pt x="167153" y="32715"/>
                        <a:pt x="165619" y="32715"/>
                      </a:cubicBezTo>
                      <a:cubicBezTo>
                        <a:pt x="164086" y="32715"/>
                        <a:pt x="162041" y="32204"/>
                        <a:pt x="160508" y="32204"/>
                      </a:cubicBezTo>
                      <a:cubicBezTo>
                        <a:pt x="159997" y="32204"/>
                        <a:pt x="159485" y="32204"/>
                        <a:pt x="159485" y="32715"/>
                      </a:cubicBezTo>
                      <a:lnTo>
                        <a:pt x="158974" y="33737"/>
                      </a:lnTo>
                      <a:cubicBezTo>
                        <a:pt x="158974" y="34249"/>
                        <a:pt x="158974" y="34760"/>
                        <a:pt x="159485" y="34760"/>
                      </a:cubicBezTo>
                      <a:cubicBezTo>
                        <a:pt x="161019" y="35271"/>
                        <a:pt x="163063" y="35782"/>
                        <a:pt x="165619" y="35782"/>
                      </a:cubicBezTo>
                      <a:cubicBezTo>
                        <a:pt x="168687" y="35782"/>
                        <a:pt x="170731" y="35271"/>
                        <a:pt x="172265" y="33737"/>
                      </a:cubicBezTo>
                      <a:cubicBezTo>
                        <a:pt x="173798" y="32204"/>
                        <a:pt x="174309" y="29648"/>
                        <a:pt x="174309" y="26581"/>
                      </a:cubicBezTo>
                      <a:lnTo>
                        <a:pt x="174309" y="8690"/>
                      </a:lnTo>
                      <a:close/>
                      <a:moveTo>
                        <a:pt x="166131" y="10735"/>
                      </a:moveTo>
                      <a:cubicBezTo>
                        <a:pt x="169198" y="10735"/>
                        <a:pt x="170731" y="12268"/>
                        <a:pt x="170731" y="15335"/>
                      </a:cubicBezTo>
                      <a:lnTo>
                        <a:pt x="170731" y="20958"/>
                      </a:lnTo>
                      <a:cubicBezTo>
                        <a:pt x="170731" y="24025"/>
                        <a:pt x="169198" y="25559"/>
                        <a:pt x="166131" y="25559"/>
                      </a:cubicBezTo>
                      <a:cubicBezTo>
                        <a:pt x="162552" y="25559"/>
                        <a:pt x="161530" y="24536"/>
                        <a:pt x="161530" y="18913"/>
                      </a:cubicBezTo>
                      <a:lnTo>
                        <a:pt x="161530" y="17891"/>
                      </a:lnTo>
                      <a:cubicBezTo>
                        <a:pt x="161530" y="12268"/>
                        <a:pt x="162552" y="10735"/>
                        <a:pt x="166131" y="10735"/>
                      </a:cubicBezTo>
                      <a:moveTo>
                        <a:pt x="149773" y="22492"/>
                      </a:moveTo>
                      <a:cubicBezTo>
                        <a:pt x="149773" y="25047"/>
                        <a:pt x="148751" y="26070"/>
                        <a:pt x="145684" y="26070"/>
                      </a:cubicBezTo>
                      <a:lnTo>
                        <a:pt x="144150" y="26070"/>
                      </a:lnTo>
                      <a:cubicBezTo>
                        <a:pt x="142106" y="26070"/>
                        <a:pt x="141083" y="25047"/>
                        <a:pt x="141083" y="23003"/>
                      </a:cubicBezTo>
                      <a:lnTo>
                        <a:pt x="141083" y="22492"/>
                      </a:lnTo>
                      <a:cubicBezTo>
                        <a:pt x="141083" y="19936"/>
                        <a:pt x="142106" y="19425"/>
                        <a:pt x="145172" y="19425"/>
                      </a:cubicBezTo>
                      <a:lnTo>
                        <a:pt x="147217" y="19425"/>
                      </a:lnTo>
                      <a:cubicBezTo>
                        <a:pt x="147728" y="19425"/>
                        <a:pt x="148751" y="19425"/>
                        <a:pt x="149262" y="19425"/>
                      </a:cubicBezTo>
                      <a:lnTo>
                        <a:pt x="149262" y="22492"/>
                      </a:lnTo>
                      <a:close/>
                      <a:moveTo>
                        <a:pt x="150284" y="28115"/>
                      </a:moveTo>
                      <a:cubicBezTo>
                        <a:pt x="150284" y="28626"/>
                        <a:pt x="150796" y="28626"/>
                        <a:pt x="151307" y="28626"/>
                      </a:cubicBezTo>
                      <a:lnTo>
                        <a:pt x="152840" y="28626"/>
                      </a:lnTo>
                      <a:cubicBezTo>
                        <a:pt x="153351" y="28626"/>
                        <a:pt x="153351" y="28626"/>
                        <a:pt x="153351" y="28115"/>
                      </a:cubicBezTo>
                      <a:lnTo>
                        <a:pt x="153351" y="14824"/>
                      </a:lnTo>
                      <a:cubicBezTo>
                        <a:pt x="153351" y="9712"/>
                        <a:pt x="150796" y="7668"/>
                        <a:pt x="145684" y="7668"/>
                      </a:cubicBezTo>
                      <a:cubicBezTo>
                        <a:pt x="143639" y="7668"/>
                        <a:pt x="141083" y="8179"/>
                        <a:pt x="139550" y="8690"/>
                      </a:cubicBezTo>
                      <a:cubicBezTo>
                        <a:pt x="139038" y="8690"/>
                        <a:pt x="139038" y="9201"/>
                        <a:pt x="139038" y="9201"/>
                      </a:cubicBezTo>
                      <a:cubicBezTo>
                        <a:pt x="139038" y="9201"/>
                        <a:pt x="139038" y="9712"/>
                        <a:pt x="139038" y="10223"/>
                      </a:cubicBezTo>
                      <a:lnTo>
                        <a:pt x="139038" y="11246"/>
                      </a:lnTo>
                      <a:cubicBezTo>
                        <a:pt x="139038" y="11757"/>
                        <a:pt x="139038" y="11757"/>
                        <a:pt x="139550" y="11757"/>
                      </a:cubicBezTo>
                      <a:cubicBezTo>
                        <a:pt x="139550" y="11757"/>
                        <a:pt x="140061" y="11757"/>
                        <a:pt x="140572" y="11757"/>
                      </a:cubicBezTo>
                      <a:cubicBezTo>
                        <a:pt x="142106" y="11246"/>
                        <a:pt x="143639" y="11246"/>
                        <a:pt x="145172" y="11246"/>
                      </a:cubicBezTo>
                      <a:cubicBezTo>
                        <a:pt x="148240" y="11246"/>
                        <a:pt x="149262" y="11757"/>
                        <a:pt x="149262" y="14824"/>
                      </a:cubicBezTo>
                      <a:lnTo>
                        <a:pt x="149262" y="16358"/>
                      </a:lnTo>
                      <a:cubicBezTo>
                        <a:pt x="148751" y="16358"/>
                        <a:pt x="147728" y="16358"/>
                        <a:pt x="146706" y="16358"/>
                      </a:cubicBezTo>
                      <a:lnTo>
                        <a:pt x="145684" y="16358"/>
                      </a:lnTo>
                      <a:cubicBezTo>
                        <a:pt x="142106" y="16358"/>
                        <a:pt x="140572" y="16869"/>
                        <a:pt x="139038" y="17891"/>
                      </a:cubicBezTo>
                      <a:cubicBezTo>
                        <a:pt x="137505" y="18913"/>
                        <a:pt x="136994" y="20447"/>
                        <a:pt x="136994" y="23003"/>
                      </a:cubicBezTo>
                      <a:lnTo>
                        <a:pt x="136994" y="23514"/>
                      </a:lnTo>
                      <a:cubicBezTo>
                        <a:pt x="136994" y="27092"/>
                        <a:pt x="139038" y="29648"/>
                        <a:pt x="143128" y="29648"/>
                      </a:cubicBezTo>
                      <a:lnTo>
                        <a:pt x="144661" y="29648"/>
                      </a:lnTo>
                      <a:cubicBezTo>
                        <a:pt x="147217" y="29648"/>
                        <a:pt x="148751" y="29137"/>
                        <a:pt x="149773" y="27603"/>
                      </a:cubicBezTo>
                      <a:lnTo>
                        <a:pt x="149773" y="27603"/>
                      </a:lnTo>
                      <a:lnTo>
                        <a:pt x="150284" y="28115"/>
                      </a:lnTo>
                      <a:close/>
                      <a:moveTo>
                        <a:pt x="133416" y="15846"/>
                      </a:moveTo>
                      <a:cubicBezTo>
                        <a:pt x="133416" y="9712"/>
                        <a:pt x="130860" y="7668"/>
                        <a:pt x="126259" y="7668"/>
                      </a:cubicBezTo>
                      <a:cubicBezTo>
                        <a:pt x="123703" y="7668"/>
                        <a:pt x="121659" y="8179"/>
                        <a:pt x="120636" y="9201"/>
                      </a:cubicBezTo>
                      <a:lnTo>
                        <a:pt x="120636" y="511"/>
                      </a:lnTo>
                      <a:cubicBezTo>
                        <a:pt x="120636" y="0"/>
                        <a:pt x="120636" y="0"/>
                        <a:pt x="119614" y="0"/>
                      </a:cubicBezTo>
                      <a:lnTo>
                        <a:pt x="117569" y="0"/>
                      </a:lnTo>
                      <a:cubicBezTo>
                        <a:pt x="117058" y="0"/>
                        <a:pt x="116547" y="0"/>
                        <a:pt x="116547" y="511"/>
                      </a:cubicBezTo>
                      <a:lnTo>
                        <a:pt x="116547" y="27603"/>
                      </a:lnTo>
                      <a:cubicBezTo>
                        <a:pt x="116547" y="28115"/>
                        <a:pt x="117058" y="28115"/>
                        <a:pt x="117569" y="28115"/>
                      </a:cubicBezTo>
                      <a:lnTo>
                        <a:pt x="119614" y="28115"/>
                      </a:lnTo>
                      <a:cubicBezTo>
                        <a:pt x="120125" y="28115"/>
                        <a:pt x="120636" y="28115"/>
                        <a:pt x="120636" y="27603"/>
                      </a:cubicBezTo>
                      <a:lnTo>
                        <a:pt x="120636" y="15335"/>
                      </a:lnTo>
                      <a:cubicBezTo>
                        <a:pt x="120636" y="12268"/>
                        <a:pt x="122170" y="10735"/>
                        <a:pt x="124726" y="10735"/>
                      </a:cubicBezTo>
                      <a:cubicBezTo>
                        <a:pt x="127793" y="10735"/>
                        <a:pt x="129326" y="11757"/>
                        <a:pt x="129326" y="15846"/>
                      </a:cubicBezTo>
                      <a:lnTo>
                        <a:pt x="129326" y="28115"/>
                      </a:lnTo>
                      <a:cubicBezTo>
                        <a:pt x="129326" y="28626"/>
                        <a:pt x="129837" y="28626"/>
                        <a:pt x="130349" y="28626"/>
                      </a:cubicBezTo>
                      <a:lnTo>
                        <a:pt x="132393" y="28626"/>
                      </a:lnTo>
                      <a:cubicBezTo>
                        <a:pt x="132905" y="28626"/>
                        <a:pt x="133416" y="28626"/>
                        <a:pt x="133416" y="28115"/>
                      </a:cubicBezTo>
                      <a:lnTo>
                        <a:pt x="133416" y="15846"/>
                      </a:lnTo>
                      <a:close/>
                      <a:moveTo>
                        <a:pt x="95078" y="28115"/>
                      </a:moveTo>
                      <a:cubicBezTo>
                        <a:pt x="95078" y="28626"/>
                        <a:pt x="95589" y="28626"/>
                        <a:pt x="96100" y="28626"/>
                      </a:cubicBezTo>
                      <a:lnTo>
                        <a:pt x="98145" y="28626"/>
                      </a:lnTo>
                      <a:cubicBezTo>
                        <a:pt x="98656" y="28626"/>
                        <a:pt x="99167" y="28626"/>
                        <a:pt x="99167" y="28115"/>
                      </a:cubicBezTo>
                      <a:lnTo>
                        <a:pt x="99167" y="15335"/>
                      </a:lnTo>
                      <a:cubicBezTo>
                        <a:pt x="99167" y="11757"/>
                        <a:pt x="100701" y="10735"/>
                        <a:pt x="103256" y="10735"/>
                      </a:cubicBezTo>
                      <a:cubicBezTo>
                        <a:pt x="106324" y="10735"/>
                        <a:pt x="107857" y="12268"/>
                        <a:pt x="107857" y="15846"/>
                      </a:cubicBezTo>
                      <a:lnTo>
                        <a:pt x="107857" y="28115"/>
                      </a:lnTo>
                      <a:cubicBezTo>
                        <a:pt x="107857" y="28626"/>
                        <a:pt x="108368" y="28626"/>
                        <a:pt x="108879" y="28626"/>
                      </a:cubicBezTo>
                      <a:lnTo>
                        <a:pt x="110924" y="28626"/>
                      </a:lnTo>
                      <a:cubicBezTo>
                        <a:pt x="111435" y="28626"/>
                        <a:pt x="111946" y="28626"/>
                        <a:pt x="111946" y="28115"/>
                      </a:cubicBezTo>
                      <a:lnTo>
                        <a:pt x="111946" y="16358"/>
                      </a:lnTo>
                      <a:cubicBezTo>
                        <a:pt x="111946" y="10223"/>
                        <a:pt x="109390" y="8179"/>
                        <a:pt x="104790" y="8179"/>
                      </a:cubicBezTo>
                      <a:cubicBezTo>
                        <a:pt x="101723" y="8179"/>
                        <a:pt x="100189" y="9201"/>
                        <a:pt x="98656" y="10735"/>
                      </a:cubicBezTo>
                      <a:lnTo>
                        <a:pt x="98656" y="10735"/>
                      </a:lnTo>
                      <a:lnTo>
                        <a:pt x="98656" y="9201"/>
                      </a:lnTo>
                      <a:cubicBezTo>
                        <a:pt x="98656" y="8690"/>
                        <a:pt x="98145" y="8690"/>
                        <a:pt x="97634" y="8690"/>
                      </a:cubicBezTo>
                      <a:lnTo>
                        <a:pt x="96100" y="8690"/>
                      </a:lnTo>
                      <a:cubicBezTo>
                        <a:pt x="95589" y="8690"/>
                        <a:pt x="95589" y="8690"/>
                        <a:pt x="95589" y="9201"/>
                      </a:cubicBezTo>
                      <a:lnTo>
                        <a:pt x="95589" y="28115"/>
                      </a:lnTo>
                      <a:close/>
                      <a:moveTo>
                        <a:pt x="78209" y="17380"/>
                      </a:moveTo>
                      <a:cubicBezTo>
                        <a:pt x="78209" y="13291"/>
                        <a:pt x="78720" y="11246"/>
                        <a:pt x="82298" y="11246"/>
                      </a:cubicBezTo>
                      <a:cubicBezTo>
                        <a:pt x="85365" y="11246"/>
                        <a:pt x="86388" y="12779"/>
                        <a:pt x="86388" y="16869"/>
                      </a:cubicBezTo>
                      <a:cubicBezTo>
                        <a:pt x="86388" y="17380"/>
                        <a:pt x="86388" y="17380"/>
                        <a:pt x="85877" y="17380"/>
                      </a:cubicBezTo>
                      <a:lnTo>
                        <a:pt x="78209" y="17380"/>
                      </a:lnTo>
                      <a:close/>
                      <a:moveTo>
                        <a:pt x="90477" y="16358"/>
                      </a:moveTo>
                      <a:cubicBezTo>
                        <a:pt x="90477" y="10223"/>
                        <a:pt x="87921" y="8179"/>
                        <a:pt x="82810" y="8179"/>
                      </a:cubicBezTo>
                      <a:cubicBezTo>
                        <a:pt x="76676" y="8179"/>
                        <a:pt x="74631" y="11757"/>
                        <a:pt x="74631" y="18402"/>
                      </a:cubicBezTo>
                      <a:lnTo>
                        <a:pt x="74631" y="19936"/>
                      </a:lnTo>
                      <a:cubicBezTo>
                        <a:pt x="74631" y="27092"/>
                        <a:pt x="76676" y="30159"/>
                        <a:pt x="83321" y="30159"/>
                      </a:cubicBezTo>
                      <a:cubicBezTo>
                        <a:pt x="85365" y="30159"/>
                        <a:pt x="87921" y="29648"/>
                        <a:pt x="89455" y="29137"/>
                      </a:cubicBezTo>
                      <a:cubicBezTo>
                        <a:pt x="89966" y="29137"/>
                        <a:pt x="89966" y="28626"/>
                        <a:pt x="89966" y="28626"/>
                      </a:cubicBezTo>
                      <a:cubicBezTo>
                        <a:pt x="89966" y="28626"/>
                        <a:pt x="89966" y="28115"/>
                        <a:pt x="89966" y="27603"/>
                      </a:cubicBezTo>
                      <a:lnTo>
                        <a:pt x="89455" y="26581"/>
                      </a:lnTo>
                      <a:cubicBezTo>
                        <a:pt x="89455" y="26070"/>
                        <a:pt x="88944" y="26070"/>
                        <a:pt x="88944" y="26070"/>
                      </a:cubicBezTo>
                      <a:cubicBezTo>
                        <a:pt x="88944" y="26070"/>
                        <a:pt x="88433" y="26070"/>
                        <a:pt x="88433" y="26070"/>
                      </a:cubicBezTo>
                      <a:cubicBezTo>
                        <a:pt x="87410" y="26581"/>
                        <a:pt x="85365" y="27092"/>
                        <a:pt x="83832" y="27092"/>
                      </a:cubicBezTo>
                      <a:cubicBezTo>
                        <a:pt x="79743" y="27092"/>
                        <a:pt x="78720" y="25559"/>
                        <a:pt x="78720" y="21469"/>
                      </a:cubicBezTo>
                      <a:lnTo>
                        <a:pt x="89455" y="21469"/>
                      </a:lnTo>
                      <a:cubicBezTo>
                        <a:pt x="90477" y="21469"/>
                        <a:pt x="90477" y="20958"/>
                        <a:pt x="90477" y="20447"/>
                      </a:cubicBezTo>
                      <a:lnTo>
                        <a:pt x="90477" y="16358"/>
                      </a:lnTo>
                      <a:close/>
                      <a:moveTo>
                        <a:pt x="55206" y="8179"/>
                      </a:moveTo>
                      <a:cubicBezTo>
                        <a:pt x="54695" y="8179"/>
                        <a:pt x="54695" y="8179"/>
                        <a:pt x="54695" y="8690"/>
                      </a:cubicBezTo>
                      <a:cubicBezTo>
                        <a:pt x="54695" y="9201"/>
                        <a:pt x="54695" y="9712"/>
                        <a:pt x="54695" y="9712"/>
                      </a:cubicBezTo>
                      <a:cubicBezTo>
                        <a:pt x="56229" y="15335"/>
                        <a:pt x="58273" y="21980"/>
                        <a:pt x="60318" y="27092"/>
                      </a:cubicBezTo>
                      <a:cubicBezTo>
                        <a:pt x="60829" y="28115"/>
                        <a:pt x="61341" y="28626"/>
                        <a:pt x="62363" y="28626"/>
                      </a:cubicBezTo>
                      <a:lnTo>
                        <a:pt x="64407" y="28626"/>
                      </a:lnTo>
                      <a:cubicBezTo>
                        <a:pt x="65430" y="28626"/>
                        <a:pt x="65941" y="28115"/>
                        <a:pt x="66452" y="27092"/>
                      </a:cubicBezTo>
                      <a:cubicBezTo>
                        <a:pt x="68497" y="21980"/>
                        <a:pt x="70542" y="15335"/>
                        <a:pt x="72075" y="9712"/>
                      </a:cubicBezTo>
                      <a:cubicBezTo>
                        <a:pt x="72075" y="9201"/>
                        <a:pt x="72586" y="8690"/>
                        <a:pt x="72586" y="8690"/>
                      </a:cubicBezTo>
                      <a:cubicBezTo>
                        <a:pt x="72586" y="8179"/>
                        <a:pt x="72586" y="8179"/>
                        <a:pt x="72075" y="8179"/>
                      </a:cubicBezTo>
                      <a:lnTo>
                        <a:pt x="69519" y="8179"/>
                      </a:lnTo>
                      <a:cubicBezTo>
                        <a:pt x="69008" y="8179"/>
                        <a:pt x="68497" y="8179"/>
                        <a:pt x="68497" y="8690"/>
                      </a:cubicBezTo>
                      <a:cubicBezTo>
                        <a:pt x="66963" y="13802"/>
                        <a:pt x="65430" y="19425"/>
                        <a:pt x="63896" y="25047"/>
                      </a:cubicBezTo>
                      <a:lnTo>
                        <a:pt x="63385" y="25047"/>
                      </a:lnTo>
                      <a:cubicBezTo>
                        <a:pt x="61341" y="19425"/>
                        <a:pt x="59807" y="14313"/>
                        <a:pt x="58785" y="8690"/>
                      </a:cubicBezTo>
                      <a:cubicBezTo>
                        <a:pt x="58785" y="8179"/>
                        <a:pt x="58273" y="8179"/>
                        <a:pt x="57762" y="8179"/>
                      </a:cubicBezTo>
                      <a:lnTo>
                        <a:pt x="55206" y="8179"/>
                      </a:lnTo>
                      <a:close/>
                      <a:moveTo>
                        <a:pt x="47539" y="22492"/>
                      </a:moveTo>
                      <a:cubicBezTo>
                        <a:pt x="47539" y="25047"/>
                        <a:pt x="46516" y="26070"/>
                        <a:pt x="43450" y="26070"/>
                      </a:cubicBezTo>
                      <a:lnTo>
                        <a:pt x="41916" y="26070"/>
                      </a:lnTo>
                      <a:cubicBezTo>
                        <a:pt x="39871" y="26070"/>
                        <a:pt x="38849" y="25047"/>
                        <a:pt x="38849" y="23003"/>
                      </a:cubicBezTo>
                      <a:lnTo>
                        <a:pt x="38849" y="22492"/>
                      </a:lnTo>
                      <a:cubicBezTo>
                        <a:pt x="38849" y="19936"/>
                        <a:pt x="39871" y="19425"/>
                        <a:pt x="42938" y="19425"/>
                      </a:cubicBezTo>
                      <a:lnTo>
                        <a:pt x="44983" y="19425"/>
                      </a:lnTo>
                      <a:cubicBezTo>
                        <a:pt x="45494" y="19425"/>
                        <a:pt x="46516" y="19425"/>
                        <a:pt x="47028" y="19425"/>
                      </a:cubicBezTo>
                      <a:lnTo>
                        <a:pt x="47028" y="22492"/>
                      </a:lnTo>
                      <a:close/>
                      <a:moveTo>
                        <a:pt x="48050" y="28115"/>
                      </a:moveTo>
                      <a:cubicBezTo>
                        <a:pt x="48050" y="28626"/>
                        <a:pt x="48561" y="28626"/>
                        <a:pt x="49072" y="28626"/>
                      </a:cubicBezTo>
                      <a:lnTo>
                        <a:pt x="50606" y="28626"/>
                      </a:lnTo>
                      <a:cubicBezTo>
                        <a:pt x="51117" y="28626"/>
                        <a:pt x="51117" y="28626"/>
                        <a:pt x="51117" y="28115"/>
                      </a:cubicBezTo>
                      <a:lnTo>
                        <a:pt x="51117" y="14824"/>
                      </a:lnTo>
                      <a:cubicBezTo>
                        <a:pt x="51117" y="9712"/>
                        <a:pt x="48561" y="7668"/>
                        <a:pt x="43450" y="7668"/>
                      </a:cubicBezTo>
                      <a:cubicBezTo>
                        <a:pt x="41405" y="7668"/>
                        <a:pt x="38849" y="8179"/>
                        <a:pt x="37315" y="8690"/>
                      </a:cubicBezTo>
                      <a:cubicBezTo>
                        <a:pt x="36804" y="8690"/>
                        <a:pt x="36804" y="9201"/>
                        <a:pt x="36804" y="9201"/>
                      </a:cubicBezTo>
                      <a:cubicBezTo>
                        <a:pt x="36804" y="9201"/>
                        <a:pt x="36804" y="9712"/>
                        <a:pt x="36804" y="10223"/>
                      </a:cubicBezTo>
                      <a:lnTo>
                        <a:pt x="36804" y="11246"/>
                      </a:lnTo>
                      <a:cubicBezTo>
                        <a:pt x="36804" y="11757"/>
                        <a:pt x="36804" y="11757"/>
                        <a:pt x="37315" y="11757"/>
                      </a:cubicBezTo>
                      <a:cubicBezTo>
                        <a:pt x="37315" y="11757"/>
                        <a:pt x="37826" y="11757"/>
                        <a:pt x="38338" y="11757"/>
                      </a:cubicBezTo>
                      <a:cubicBezTo>
                        <a:pt x="39871" y="11246"/>
                        <a:pt x="41405" y="11246"/>
                        <a:pt x="42938" y="11246"/>
                      </a:cubicBezTo>
                      <a:cubicBezTo>
                        <a:pt x="46005" y="11246"/>
                        <a:pt x="47028" y="11757"/>
                        <a:pt x="47028" y="14824"/>
                      </a:cubicBezTo>
                      <a:lnTo>
                        <a:pt x="47028" y="16358"/>
                      </a:lnTo>
                      <a:cubicBezTo>
                        <a:pt x="46516" y="16358"/>
                        <a:pt x="45494" y="16358"/>
                        <a:pt x="44472" y="16358"/>
                      </a:cubicBezTo>
                      <a:lnTo>
                        <a:pt x="43450" y="16358"/>
                      </a:lnTo>
                      <a:cubicBezTo>
                        <a:pt x="39871" y="16358"/>
                        <a:pt x="38338" y="16869"/>
                        <a:pt x="36804" y="17891"/>
                      </a:cubicBezTo>
                      <a:cubicBezTo>
                        <a:pt x="35271" y="18913"/>
                        <a:pt x="34760" y="20447"/>
                        <a:pt x="34760" y="23003"/>
                      </a:cubicBezTo>
                      <a:lnTo>
                        <a:pt x="34760" y="23514"/>
                      </a:lnTo>
                      <a:cubicBezTo>
                        <a:pt x="34760" y="27092"/>
                        <a:pt x="36804" y="29648"/>
                        <a:pt x="40894" y="29648"/>
                      </a:cubicBezTo>
                      <a:lnTo>
                        <a:pt x="42427" y="29648"/>
                      </a:lnTo>
                      <a:cubicBezTo>
                        <a:pt x="44983" y="29648"/>
                        <a:pt x="46516" y="29137"/>
                        <a:pt x="47539" y="27603"/>
                      </a:cubicBezTo>
                      <a:lnTo>
                        <a:pt x="47539" y="27603"/>
                      </a:lnTo>
                      <a:lnTo>
                        <a:pt x="48050" y="28115"/>
                      </a:lnTo>
                      <a:close/>
                      <a:moveTo>
                        <a:pt x="32204" y="28626"/>
                      </a:moveTo>
                      <a:cubicBezTo>
                        <a:pt x="32715" y="28626"/>
                        <a:pt x="32715" y="28626"/>
                        <a:pt x="32715" y="28115"/>
                      </a:cubicBezTo>
                      <a:lnTo>
                        <a:pt x="32715" y="26581"/>
                      </a:lnTo>
                      <a:cubicBezTo>
                        <a:pt x="32715" y="26070"/>
                        <a:pt x="32715" y="25559"/>
                        <a:pt x="32204" y="25559"/>
                      </a:cubicBezTo>
                      <a:lnTo>
                        <a:pt x="30159" y="25559"/>
                      </a:lnTo>
                      <a:cubicBezTo>
                        <a:pt x="28625" y="25559"/>
                        <a:pt x="28114" y="25559"/>
                        <a:pt x="27603" y="24536"/>
                      </a:cubicBezTo>
                      <a:cubicBezTo>
                        <a:pt x="27092" y="24025"/>
                        <a:pt x="27092" y="23514"/>
                        <a:pt x="27092" y="21469"/>
                      </a:cubicBezTo>
                      <a:lnTo>
                        <a:pt x="27092" y="11246"/>
                      </a:lnTo>
                      <a:lnTo>
                        <a:pt x="31692" y="11246"/>
                      </a:lnTo>
                      <a:cubicBezTo>
                        <a:pt x="32204" y="11246"/>
                        <a:pt x="32204" y="10735"/>
                        <a:pt x="32204" y="10735"/>
                      </a:cubicBezTo>
                      <a:lnTo>
                        <a:pt x="32204" y="8690"/>
                      </a:lnTo>
                      <a:cubicBezTo>
                        <a:pt x="32204" y="8179"/>
                        <a:pt x="32204" y="8179"/>
                        <a:pt x="31692" y="8179"/>
                      </a:cubicBezTo>
                      <a:lnTo>
                        <a:pt x="27092" y="8179"/>
                      </a:lnTo>
                      <a:lnTo>
                        <a:pt x="27092" y="3578"/>
                      </a:lnTo>
                      <a:cubicBezTo>
                        <a:pt x="27092" y="3067"/>
                        <a:pt x="27092" y="2556"/>
                        <a:pt x="26070" y="2556"/>
                      </a:cubicBezTo>
                      <a:lnTo>
                        <a:pt x="24025" y="2556"/>
                      </a:lnTo>
                      <a:cubicBezTo>
                        <a:pt x="23514" y="2556"/>
                        <a:pt x="23003" y="2556"/>
                        <a:pt x="23003" y="3578"/>
                      </a:cubicBezTo>
                      <a:lnTo>
                        <a:pt x="23003" y="8179"/>
                      </a:lnTo>
                      <a:lnTo>
                        <a:pt x="20447" y="8690"/>
                      </a:lnTo>
                      <a:cubicBezTo>
                        <a:pt x="19935" y="8690"/>
                        <a:pt x="19935" y="8690"/>
                        <a:pt x="19935" y="9201"/>
                      </a:cubicBezTo>
                      <a:lnTo>
                        <a:pt x="19935" y="10735"/>
                      </a:lnTo>
                      <a:cubicBezTo>
                        <a:pt x="19935" y="11246"/>
                        <a:pt x="19935" y="11246"/>
                        <a:pt x="20447" y="11246"/>
                      </a:cubicBezTo>
                      <a:lnTo>
                        <a:pt x="23003" y="11246"/>
                      </a:lnTo>
                      <a:lnTo>
                        <a:pt x="23003" y="21980"/>
                      </a:lnTo>
                      <a:cubicBezTo>
                        <a:pt x="23003" y="24536"/>
                        <a:pt x="23514" y="26070"/>
                        <a:pt x="24025" y="27092"/>
                      </a:cubicBezTo>
                      <a:cubicBezTo>
                        <a:pt x="25047" y="28115"/>
                        <a:pt x="26581" y="28626"/>
                        <a:pt x="29137" y="28626"/>
                      </a:cubicBezTo>
                      <a:lnTo>
                        <a:pt x="32204" y="28626"/>
                      </a:lnTo>
                      <a:close/>
                      <a:moveTo>
                        <a:pt x="8690" y="29137"/>
                      </a:moveTo>
                      <a:cubicBezTo>
                        <a:pt x="15335" y="29137"/>
                        <a:pt x="17891" y="27092"/>
                        <a:pt x="17891" y="20958"/>
                      </a:cubicBezTo>
                      <a:lnTo>
                        <a:pt x="17891" y="20447"/>
                      </a:lnTo>
                      <a:cubicBezTo>
                        <a:pt x="17891" y="15335"/>
                        <a:pt x="15846" y="14313"/>
                        <a:pt x="11757" y="13291"/>
                      </a:cubicBezTo>
                      <a:lnTo>
                        <a:pt x="8690" y="12779"/>
                      </a:lnTo>
                      <a:cubicBezTo>
                        <a:pt x="6134" y="12268"/>
                        <a:pt x="4600" y="11757"/>
                        <a:pt x="4600" y="8690"/>
                      </a:cubicBezTo>
                      <a:lnTo>
                        <a:pt x="4600" y="8179"/>
                      </a:lnTo>
                      <a:cubicBezTo>
                        <a:pt x="4600" y="5623"/>
                        <a:pt x="6134" y="4089"/>
                        <a:pt x="9201" y="4089"/>
                      </a:cubicBezTo>
                      <a:cubicBezTo>
                        <a:pt x="11246" y="4089"/>
                        <a:pt x="12779" y="4601"/>
                        <a:pt x="14313" y="5112"/>
                      </a:cubicBezTo>
                      <a:cubicBezTo>
                        <a:pt x="14313" y="5112"/>
                        <a:pt x="14824" y="5112"/>
                        <a:pt x="14824" y="5112"/>
                      </a:cubicBezTo>
                      <a:cubicBezTo>
                        <a:pt x="15335" y="5112"/>
                        <a:pt x="15335" y="5112"/>
                        <a:pt x="15335" y="4601"/>
                      </a:cubicBezTo>
                      <a:lnTo>
                        <a:pt x="15335" y="3578"/>
                      </a:lnTo>
                      <a:cubicBezTo>
                        <a:pt x="15335" y="3067"/>
                        <a:pt x="15846" y="2556"/>
                        <a:pt x="15846" y="2045"/>
                      </a:cubicBezTo>
                      <a:cubicBezTo>
                        <a:pt x="15846" y="1533"/>
                        <a:pt x="15846" y="1533"/>
                        <a:pt x="15335" y="1533"/>
                      </a:cubicBezTo>
                      <a:cubicBezTo>
                        <a:pt x="13801" y="1022"/>
                        <a:pt x="11757" y="511"/>
                        <a:pt x="8690" y="511"/>
                      </a:cubicBezTo>
                      <a:cubicBezTo>
                        <a:pt x="3067" y="511"/>
                        <a:pt x="0" y="3067"/>
                        <a:pt x="0" y="7668"/>
                      </a:cubicBezTo>
                      <a:lnTo>
                        <a:pt x="0" y="8179"/>
                      </a:lnTo>
                      <a:cubicBezTo>
                        <a:pt x="0" y="12268"/>
                        <a:pt x="2044" y="14313"/>
                        <a:pt x="6134" y="15335"/>
                      </a:cubicBezTo>
                      <a:lnTo>
                        <a:pt x="9201" y="15846"/>
                      </a:lnTo>
                      <a:cubicBezTo>
                        <a:pt x="12779" y="16869"/>
                        <a:pt x="13290" y="17380"/>
                        <a:pt x="13290" y="19936"/>
                      </a:cubicBezTo>
                      <a:lnTo>
                        <a:pt x="13290" y="20447"/>
                      </a:lnTo>
                      <a:cubicBezTo>
                        <a:pt x="13290" y="23514"/>
                        <a:pt x="12268" y="25047"/>
                        <a:pt x="8179" y="25047"/>
                      </a:cubicBezTo>
                      <a:cubicBezTo>
                        <a:pt x="5623" y="25047"/>
                        <a:pt x="3578" y="24536"/>
                        <a:pt x="1533" y="24025"/>
                      </a:cubicBezTo>
                      <a:cubicBezTo>
                        <a:pt x="1022" y="24025"/>
                        <a:pt x="1022" y="24025"/>
                        <a:pt x="1022" y="24025"/>
                      </a:cubicBezTo>
                      <a:cubicBezTo>
                        <a:pt x="1022" y="24025"/>
                        <a:pt x="511" y="24025"/>
                        <a:pt x="511" y="24536"/>
                      </a:cubicBezTo>
                      <a:lnTo>
                        <a:pt x="0" y="26070"/>
                      </a:lnTo>
                      <a:cubicBezTo>
                        <a:pt x="0" y="26581"/>
                        <a:pt x="0" y="27092"/>
                        <a:pt x="0" y="27092"/>
                      </a:cubicBezTo>
                      <a:cubicBezTo>
                        <a:pt x="0" y="27603"/>
                        <a:pt x="0" y="27603"/>
                        <a:pt x="511" y="27603"/>
                      </a:cubicBezTo>
                      <a:cubicBezTo>
                        <a:pt x="3067" y="28626"/>
                        <a:pt x="6134" y="29137"/>
                        <a:pt x="8690" y="29137"/>
                      </a:cubicBezTo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2" name="Freihandform: Form 121">
                  <a:extLst>
                    <a:ext uri="{FF2B5EF4-FFF2-40B4-BE49-F238E27FC236}">
                      <a16:creationId xmlns:a16="http://schemas.microsoft.com/office/drawing/2014/main" id="{F7B3902F-CCE4-45F9-A00F-B75A6B473A74}"/>
                    </a:ext>
                  </a:extLst>
                </p:cNvPr>
                <p:cNvSpPr/>
                <p:nvPr/>
              </p:nvSpPr>
              <p:spPr>
                <a:xfrm>
                  <a:off x="7205856" y="1097648"/>
                  <a:ext cx="168686" cy="35782"/>
                </a:xfrm>
                <a:custGeom>
                  <a:avLst/>
                  <a:gdLst>
                    <a:gd name="connsiteX0" fmla="*/ 168687 w 168686"/>
                    <a:gd name="connsiteY0" fmla="*/ 1022 h 35782"/>
                    <a:gd name="connsiteX1" fmla="*/ 167664 w 168686"/>
                    <a:gd name="connsiteY1" fmla="*/ 511 h 35782"/>
                    <a:gd name="connsiteX2" fmla="*/ 165620 w 168686"/>
                    <a:gd name="connsiteY2" fmla="*/ 511 h 35782"/>
                    <a:gd name="connsiteX3" fmla="*/ 164597 w 168686"/>
                    <a:gd name="connsiteY3" fmla="*/ 1022 h 35782"/>
                    <a:gd name="connsiteX4" fmla="*/ 164597 w 168686"/>
                    <a:gd name="connsiteY4" fmla="*/ 9201 h 35782"/>
                    <a:gd name="connsiteX5" fmla="*/ 164597 w 168686"/>
                    <a:gd name="connsiteY5" fmla="*/ 9201 h 35782"/>
                    <a:gd name="connsiteX6" fmla="*/ 159997 w 168686"/>
                    <a:gd name="connsiteY6" fmla="*/ 7668 h 35782"/>
                    <a:gd name="connsiteX7" fmla="*/ 151307 w 168686"/>
                    <a:gd name="connsiteY7" fmla="*/ 17380 h 35782"/>
                    <a:gd name="connsiteX8" fmla="*/ 151307 w 168686"/>
                    <a:gd name="connsiteY8" fmla="*/ 18913 h 35782"/>
                    <a:gd name="connsiteX9" fmla="*/ 159997 w 168686"/>
                    <a:gd name="connsiteY9" fmla="*/ 29137 h 35782"/>
                    <a:gd name="connsiteX10" fmla="*/ 168176 w 168686"/>
                    <a:gd name="connsiteY10" fmla="*/ 21469 h 35782"/>
                    <a:gd name="connsiteX11" fmla="*/ 168176 w 168686"/>
                    <a:gd name="connsiteY11" fmla="*/ 1022 h 35782"/>
                    <a:gd name="connsiteX12" fmla="*/ 164597 w 168686"/>
                    <a:gd name="connsiteY12" fmla="*/ 21469 h 35782"/>
                    <a:gd name="connsiteX13" fmla="*/ 159997 w 168686"/>
                    <a:gd name="connsiteY13" fmla="*/ 26070 h 35782"/>
                    <a:gd name="connsiteX14" fmla="*/ 155396 w 168686"/>
                    <a:gd name="connsiteY14" fmla="*/ 18913 h 35782"/>
                    <a:gd name="connsiteX15" fmla="*/ 155396 w 168686"/>
                    <a:gd name="connsiteY15" fmla="*/ 17891 h 35782"/>
                    <a:gd name="connsiteX16" fmla="*/ 159997 w 168686"/>
                    <a:gd name="connsiteY16" fmla="*/ 11246 h 35782"/>
                    <a:gd name="connsiteX17" fmla="*/ 164597 w 168686"/>
                    <a:gd name="connsiteY17" fmla="*/ 16358 h 35782"/>
                    <a:gd name="connsiteX18" fmla="*/ 164597 w 168686"/>
                    <a:gd name="connsiteY18" fmla="*/ 21469 h 35782"/>
                    <a:gd name="connsiteX19" fmla="*/ 145173 w 168686"/>
                    <a:gd name="connsiteY19" fmla="*/ 1022 h 35782"/>
                    <a:gd name="connsiteX20" fmla="*/ 144150 w 168686"/>
                    <a:gd name="connsiteY20" fmla="*/ 511 h 35782"/>
                    <a:gd name="connsiteX21" fmla="*/ 142106 w 168686"/>
                    <a:gd name="connsiteY21" fmla="*/ 511 h 35782"/>
                    <a:gd name="connsiteX22" fmla="*/ 141083 w 168686"/>
                    <a:gd name="connsiteY22" fmla="*/ 1022 h 35782"/>
                    <a:gd name="connsiteX23" fmla="*/ 141083 w 168686"/>
                    <a:gd name="connsiteY23" fmla="*/ 24025 h 35782"/>
                    <a:gd name="connsiteX24" fmla="*/ 146195 w 168686"/>
                    <a:gd name="connsiteY24" fmla="*/ 29137 h 35782"/>
                    <a:gd name="connsiteX25" fmla="*/ 148240 w 168686"/>
                    <a:gd name="connsiteY25" fmla="*/ 29137 h 35782"/>
                    <a:gd name="connsiteX26" fmla="*/ 148751 w 168686"/>
                    <a:gd name="connsiteY26" fmla="*/ 28626 h 35782"/>
                    <a:gd name="connsiteX27" fmla="*/ 148751 w 168686"/>
                    <a:gd name="connsiteY27" fmla="*/ 26581 h 35782"/>
                    <a:gd name="connsiteX28" fmla="*/ 148240 w 168686"/>
                    <a:gd name="connsiteY28" fmla="*/ 26070 h 35782"/>
                    <a:gd name="connsiteX29" fmla="*/ 146706 w 168686"/>
                    <a:gd name="connsiteY29" fmla="*/ 26070 h 35782"/>
                    <a:gd name="connsiteX30" fmla="*/ 145173 w 168686"/>
                    <a:gd name="connsiteY30" fmla="*/ 24025 h 35782"/>
                    <a:gd name="connsiteX31" fmla="*/ 145173 w 168686"/>
                    <a:gd name="connsiteY31" fmla="*/ 1022 h 35782"/>
                    <a:gd name="connsiteX32" fmla="*/ 124726 w 168686"/>
                    <a:gd name="connsiteY32" fmla="*/ 17380 h 35782"/>
                    <a:gd name="connsiteX33" fmla="*/ 128815 w 168686"/>
                    <a:gd name="connsiteY33" fmla="*/ 11246 h 35782"/>
                    <a:gd name="connsiteX34" fmla="*/ 132905 w 168686"/>
                    <a:gd name="connsiteY34" fmla="*/ 16869 h 35782"/>
                    <a:gd name="connsiteX35" fmla="*/ 132394 w 168686"/>
                    <a:gd name="connsiteY35" fmla="*/ 17380 h 35782"/>
                    <a:gd name="connsiteX36" fmla="*/ 124726 w 168686"/>
                    <a:gd name="connsiteY36" fmla="*/ 17380 h 35782"/>
                    <a:gd name="connsiteX37" fmla="*/ 136483 w 168686"/>
                    <a:gd name="connsiteY37" fmla="*/ 16358 h 35782"/>
                    <a:gd name="connsiteX38" fmla="*/ 128815 w 168686"/>
                    <a:gd name="connsiteY38" fmla="*/ 8179 h 35782"/>
                    <a:gd name="connsiteX39" fmla="*/ 120636 w 168686"/>
                    <a:gd name="connsiteY39" fmla="*/ 18402 h 35782"/>
                    <a:gd name="connsiteX40" fmla="*/ 120636 w 168686"/>
                    <a:gd name="connsiteY40" fmla="*/ 19936 h 35782"/>
                    <a:gd name="connsiteX41" fmla="*/ 129326 w 168686"/>
                    <a:gd name="connsiteY41" fmla="*/ 30159 h 35782"/>
                    <a:gd name="connsiteX42" fmla="*/ 135460 w 168686"/>
                    <a:gd name="connsiteY42" fmla="*/ 29137 h 35782"/>
                    <a:gd name="connsiteX43" fmla="*/ 135972 w 168686"/>
                    <a:gd name="connsiteY43" fmla="*/ 28626 h 35782"/>
                    <a:gd name="connsiteX44" fmla="*/ 135972 w 168686"/>
                    <a:gd name="connsiteY44" fmla="*/ 27603 h 35782"/>
                    <a:gd name="connsiteX45" fmla="*/ 135460 w 168686"/>
                    <a:gd name="connsiteY45" fmla="*/ 26581 h 35782"/>
                    <a:gd name="connsiteX46" fmla="*/ 134949 w 168686"/>
                    <a:gd name="connsiteY46" fmla="*/ 26070 h 35782"/>
                    <a:gd name="connsiteX47" fmla="*/ 134438 w 168686"/>
                    <a:gd name="connsiteY47" fmla="*/ 26070 h 35782"/>
                    <a:gd name="connsiteX48" fmla="*/ 129838 w 168686"/>
                    <a:gd name="connsiteY48" fmla="*/ 27092 h 35782"/>
                    <a:gd name="connsiteX49" fmla="*/ 124726 w 168686"/>
                    <a:gd name="connsiteY49" fmla="*/ 21469 h 35782"/>
                    <a:gd name="connsiteX50" fmla="*/ 135460 w 168686"/>
                    <a:gd name="connsiteY50" fmla="*/ 21469 h 35782"/>
                    <a:gd name="connsiteX51" fmla="*/ 136483 w 168686"/>
                    <a:gd name="connsiteY51" fmla="*/ 20447 h 35782"/>
                    <a:gd name="connsiteX52" fmla="*/ 136483 w 168686"/>
                    <a:gd name="connsiteY52" fmla="*/ 16358 h 35782"/>
                    <a:gd name="connsiteX53" fmla="*/ 113480 w 168686"/>
                    <a:gd name="connsiteY53" fmla="*/ 11246 h 35782"/>
                    <a:gd name="connsiteX54" fmla="*/ 117569 w 168686"/>
                    <a:gd name="connsiteY54" fmla="*/ 11246 h 35782"/>
                    <a:gd name="connsiteX55" fmla="*/ 118081 w 168686"/>
                    <a:gd name="connsiteY55" fmla="*/ 10735 h 35782"/>
                    <a:gd name="connsiteX56" fmla="*/ 118081 w 168686"/>
                    <a:gd name="connsiteY56" fmla="*/ 8690 h 35782"/>
                    <a:gd name="connsiteX57" fmla="*/ 117569 w 168686"/>
                    <a:gd name="connsiteY57" fmla="*/ 8179 h 35782"/>
                    <a:gd name="connsiteX58" fmla="*/ 113480 w 168686"/>
                    <a:gd name="connsiteY58" fmla="*/ 8179 h 35782"/>
                    <a:gd name="connsiteX59" fmla="*/ 113480 w 168686"/>
                    <a:gd name="connsiteY59" fmla="*/ 7156 h 35782"/>
                    <a:gd name="connsiteX60" fmla="*/ 114503 w 168686"/>
                    <a:gd name="connsiteY60" fmla="*/ 4089 h 35782"/>
                    <a:gd name="connsiteX61" fmla="*/ 117058 w 168686"/>
                    <a:gd name="connsiteY61" fmla="*/ 3578 h 35782"/>
                    <a:gd name="connsiteX62" fmla="*/ 119614 w 168686"/>
                    <a:gd name="connsiteY62" fmla="*/ 3578 h 35782"/>
                    <a:gd name="connsiteX63" fmla="*/ 120636 w 168686"/>
                    <a:gd name="connsiteY63" fmla="*/ 3067 h 35782"/>
                    <a:gd name="connsiteX64" fmla="*/ 120636 w 168686"/>
                    <a:gd name="connsiteY64" fmla="*/ 2556 h 35782"/>
                    <a:gd name="connsiteX65" fmla="*/ 120636 w 168686"/>
                    <a:gd name="connsiteY65" fmla="*/ 1022 h 35782"/>
                    <a:gd name="connsiteX66" fmla="*/ 120125 w 168686"/>
                    <a:gd name="connsiteY66" fmla="*/ 511 h 35782"/>
                    <a:gd name="connsiteX67" fmla="*/ 116547 w 168686"/>
                    <a:gd name="connsiteY67" fmla="*/ 0 h 35782"/>
                    <a:gd name="connsiteX68" fmla="*/ 111435 w 168686"/>
                    <a:gd name="connsiteY68" fmla="*/ 2045 h 35782"/>
                    <a:gd name="connsiteX69" fmla="*/ 109902 w 168686"/>
                    <a:gd name="connsiteY69" fmla="*/ 7156 h 35782"/>
                    <a:gd name="connsiteX70" fmla="*/ 109902 w 168686"/>
                    <a:gd name="connsiteY70" fmla="*/ 8690 h 35782"/>
                    <a:gd name="connsiteX71" fmla="*/ 107346 w 168686"/>
                    <a:gd name="connsiteY71" fmla="*/ 9201 h 35782"/>
                    <a:gd name="connsiteX72" fmla="*/ 106835 w 168686"/>
                    <a:gd name="connsiteY72" fmla="*/ 9712 h 35782"/>
                    <a:gd name="connsiteX73" fmla="*/ 106835 w 168686"/>
                    <a:gd name="connsiteY73" fmla="*/ 11246 h 35782"/>
                    <a:gd name="connsiteX74" fmla="*/ 107346 w 168686"/>
                    <a:gd name="connsiteY74" fmla="*/ 11757 h 35782"/>
                    <a:gd name="connsiteX75" fmla="*/ 109902 w 168686"/>
                    <a:gd name="connsiteY75" fmla="*/ 11757 h 35782"/>
                    <a:gd name="connsiteX76" fmla="*/ 109902 w 168686"/>
                    <a:gd name="connsiteY76" fmla="*/ 28115 h 35782"/>
                    <a:gd name="connsiteX77" fmla="*/ 110924 w 168686"/>
                    <a:gd name="connsiteY77" fmla="*/ 28626 h 35782"/>
                    <a:gd name="connsiteX78" fmla="*/ 112969 w 168686"/>
                    <a:gd name="connsiteY78" fmla="*/ 28626 h 35782"/>
                    <a:gd name="connsiteX79" fmla="*/ 113991 w 168686"/>
                    <a:gd name="connsiteY79" fmla="*/ 28115 h 35782"/>
                    <a:gd name="connsiteX80" fmla="*/ 113991 w 168686"/>
                    <a:gd name="connsiteY80" fmla="*/ 11246 h 35782"/>
                    <a:gd name="connsiteX81" fmla="*/ 101723 w 168686"/>
                    <a:gd name="connsiteY81" fmla="*/ 1022 h 35782"/>
                    <a:gd name="connsiteX82" fmla="*/ 100701 w 168686"/>
                    <a:gd name="connsiteY82" fmla="*/ 511 h 35782"/>
                    <a:gd name="connsiteX83" fmla="*/ 98656 w 168686"/>
                    <a:gd name="connsiteY83" fmla="*/ 511 h 35782"/>
                    <a:gd name="connsiteX84" fmla="*/ 97634 w 168686"/>
                    <a:gd name="connsiteY84" fmla="*/ 1022 h 35782"/>
                    <a:gd name="connsiteX85" fmla="*/ 97634 w 168686"/>
                    <a:gd name="connsiteY85" fmla="*/ 24025 h 35782"/>
                    <a:gd name="connsiteX86" fmla="*/ 102745 w 168686"/>
                    <a:gd name="connsiteY86" fmla="*/ 29137 h 35782"/>
                    <a:gd name="connsiteX87" fmla="*/ 104790 w 168686"/>
                    <a:gd name="connsiteY87" fmla="*/ 29137 h 35782"/>
                    <a:gd name="connsiteX88" fmla="*/ 105301 w 168686"/>
                    <a:gd name="connsiteY88" fmla="*/ 28626 h 35782"/>
                    <a:gd name="connsiteX89" fmla="*/ 105301 w 168686"/>
                    <a:gd name="connsiteY89" fmla="*/ 26581 h 35782"/>
                    <a:gd name="connsiteX90" fmla="*/ 104790 w 168686"/>
                    <a:gd name="connsiteY90" fmla="*/ 26070 h 35782"/>
                    <a:gd name="connsiteX91" fmla="*/ 103768 w 168686"/>
                    <a:gd name="connsiteY91" fmla="*/ 26070 h 35782"/>
                    <a:gd name="connsiteX92" fmla="*/ 102234 w 168686"/>
                    <a:gd name="connsiteY92" fmla="*/ 24025 h 35782"/>
                    <a:gd name="connsiteX93" fmla="*/ 102234 w 168686"/>
                    <a:gd name="connsiteY93" fmla="*/ 1022 h 35782"/>
                    <a:gd name="connsiteX94" fmla="*/ 81276 w 168686"/>
                    <a:gd name="connsiteY94" fmla="*/ 17380 h 35782"/>
                    <a:gd name="connsiteX95" fmla="*/ 85366 w 168686"/>
                    <a:gd name="connsiteY95" fmla="*/ 11246 h 35782"/>
                    <a:gd name="connsiteX96" fmla="*/ 89455 w 168686"/>
                    <a:gd name="connsiteY96" fmla="*/ 16869 h 35782"/>
                    <a:gd name="connsiteX97" fmla="*/ 88944 w 168686"/>
                    <a:gd name="connsiteY97" fmla="*/ 17380 h 35782"/>
                    <a:gd name="connsiteX98" fmla="*/ 81276 w 168686"/>
                    <a:gd name="connsiteY98" fmla="*/ 17380 h 35782"/>
                    <a:gd name="connsiteX99" fmla="*/ 93033 w 168686"/>
                    <a:gd name="connsiteY99" fmla="*/ 16358 h 35782"/>
                    <a:gd name="connsiteX100" fmla="*/ 85366 w 168686"/>
                    <a:gd name="connsiteY100" fmla="*/ 8179 h 35782"/>
                    <a:gd name="connsiteX101" fmla="*/ 77187 w 168686"/>
                    <a:gd name="connsiteY101" fmla="*/ 18402 h 35782"/>
                    <a:gd name="connsiteX102" fmla="*/ 77187 w 168686"/>
                    <a:gd name="connsiteY102" fmla="*/ 19936 h 35782"/>
                    <a:gd name="connsiteX103" fmla="*/ 85877 w 168686"/>
                    <a:gd name="connsiteY103" fmla="*/ 30159 h 35782"/>
                    <a:gd name="connsiteX104" fmla="*/ 92011 w 168686"/>
                    <a:gd name="connsiteY104" fmla="*/ 29137 h 35782"/>
                    <a:gd name="connsiteX105" fmla="*/ 92522 w 168686"/>
                    <a:gd name="connsiteY105" fmla="*/ 28626 h 35782"/>
                    <a:gd name="connsiteX106" fmla="*/ 92522 w 168686"/>
                    <a:gd name="connsiteY106" fmla="*/ 27603 h 35782"/>
                    <a:gd name="connsiteX107" fmla="*/ 92011 w 168686"/>
                    <a:gd name="connsiteY107" fmla="*/ 26581 h 35782"/>
                    <a:gd name="connsiteX108" fmla="*/ 91500 w 168686"/>
                    <a:gd name="connsiteY108" fmla="*/ 26070 h 35782"/>
                    <a:gd name="connsiteX109" fmla="*/ 90989 w 168686"/>
                    <a:gd name="connsiteY109" fmla="*/ 26070 h 35782"/>
                    <a:gd name="connsiteX110" fmla="*/ 86388 w 168686"/>
                    <a:gd name="connsiteY110" fmla="*/ 27092 h 35782"/>
                    <a:gd name="connsiteX111" fmla="*/ 81276 w 168686"/>
                    <a:gd name="connsiteY111" fmla="*/ 21469 h 35782"/>
                    <a:gd name="connsiteX112" fmla="*/ 92011 w 168686"/>
                    <a:gd name="connsiteY112" fmla="*/ 21469 h 35782"/>
                    <a:gd name="connsiteX113" fmla="*/ 93033 w 168686"/>
                    <a:gd name="connsiteY113" fmla="*/ 20447 h 35782"/>
                    <a:gd name="connsiteX114" fmla="*/ 93033 w 168686"/>
                    <a:gd name="connsiteY114" fmla="*/ 16358 h 35782"/>
                    <a:gd name="connsiteX115" fmla="*/ 64919 w 168686"/>
                    <a:gd name="connsiteY115" fmla="*/ 11246 h 35782"/>
                    <a:gd name="connsiteX116" fmla="*/ 69519 w 168686"/>
                    <a:gd name="connsiteY116" fmla="*/ 17891 h 35782"/>
                    <a:gd name="connsiteX117" fmla="*/ 69519 w 168686"/>
                    <a:gd name="connsiteY117" fmla="*/ 19425 h 35782"/>
                    <a:gd name="connsiteX118" fmla="*/ 64919 w 168686"/>
                    <a:gd name="connsiteY118" fmla="*/ 26070 h 35782"/>
                    <a:gd name="connsiteX119" fmla="*/ 60318 w 168686"/>
                    <a:gd name="connsiteY119" fmla="*/ 21469 h 35782"/>
                    <a:gd name="connsiteX120" fmla="*/ 60318 w 168686"/>
                    <a:gd name="connsiteY120" fmla="*/ 15846 h 35782"/>
                    <a:gd name="connsiteX121" fmla="*/ 64919 w 168686"/>
                    <a:gd name="connsiteY121" fmla="*/ 11246 h 35782"/>
                    <a:gd name="connsiteX122" fmla="*/ 60318 w 168686"/>
                    <a:gd name="connsiteY122" fmla="*/ 27603 h 35782"/>
                    <a:gd name="connsiteX123" fmla="*/ 60318 w 168686"/>
                    <a:gd name="connsiteY123" fmla="*/ 27603 h 35782"/>
                    <a:gd name="connsiteX124" fmla="*/ 65430 w 168686"/>
                    <a:gd name="connsiteY124" fmla="*/ 29137 h 35782"/>
                    <a:gd name="connsiteX125" fmla="*/ 73609 w 168686"/>
                    <a:gd name="connsiteY125" fmla="*/ 19425 h 35782"/>
                    <a:gd name="connsiteX126" fmla="*/ 73609 w 168686"/>
                    <a:gd name="connsiteY126" fmla="*/ 17380 h 35782"/>
                    <a:gd name="connsiteX127" fmla="*/ 65941 w 168686"/>
                    <a:gd name="connsiteY127" fmla="*/ 7668 h 35782"/>
                    <a:gd name="connsiteX128" fmla="*/ 59807 w 168686"/>
                    <a:gd name="connsiteY128" fmla="*/ 10223 h 35782"/>
                    <a:gd name="connsiteX129" fmla="*/ 59807 w 168686"/>
                    <a:gd name="connsiteY129" fmla="*/ 10223 h 35782"/>
                    <a:gd name="connsiteX130" fmla="*/ 59296 w 168686"/>
                    <a:gd name="connsiteY130" fmla="*/ 8690 h 35782"/>
                    <a:gd name="connsiteX131" fmla="*/ 58785 w 168686"/>
                    <a:gd name="connsiteY131" fmla="*/ 8179 h 35782"/>
                    <a:gd name="connsiteX132" fmla="*/ 57251 w 168686"/>
                    <a:gd name="connsiteY132" fmla="*/ 8179 h 35782"/>
                    <a:gd name="connsiteX133" fmla="*/ 56740 w 168686"/>
                    <a:gd name="connsiteY133" fmla="*/ 8690 h 35782"/>
                    <a:gd name="connsiteX134" fmla="*/ 56740 w 168686"/>
                    <a:gd name="connsiteY134" fmla="*/ 35271 h 35782"/>
                    <a:gd name="connsiteX135" fmla="*/ 57762 w 168686"/>
                    <a:gd name="connsiteY135" fmla="*/ 35782 h 35782"/>
                    <a:gd name="connsiteX136" fmla="*/ 59807 w 168686"/>
                    <a:gd name="connsiteY136" fmla="*/ 35782 h 35782"/>
                    <a:gd name="connsiteX137" fmla="*/ 60830 w 168686"/>
                    <a:gd name="connsiteY137" fmla="*/ 35271 h 35782"/>
                    <a:gd name="connsiteX138" fmla="*/ 60830 w 168686"/>
                    <a:gd name="connsiteY138" fmla="*/ 27603 h 35782"/>
                    <a:gd name="connsiteX139" fmla="*/ 47539 w 168686"/>
                    <a:gd name="connsiteY139" fmla="*/ 22492 h 35782"/>
                    <a:gd name="connsiteX140" fmla="*/ 43450 w 168686"/>
                    <a:gd name="connsiteY140" fmla="*/ 26070 h 35782"/>
                    <a:gd name="connsiteX141" fmla="*/ 41916 w 168686"/>
                    <a:gd name="connsiteY141" fmla="*/ 26070 h 35782"/>
                    <a:gd name="connsiteX142" fmla="*/ 38849 w 168686"/>
                    <a:gd name="connsiteY142" fmla="*/ 23003 h 35782"/>
                    <a:gd name="connsiteX143" fmla="*/ 38849 w 168686"/>
                    <a:gd name="connsiteY143" fmla="*/ 22492 h 35782"/>
                    <a:gd name="connsiteX144" fmla="*/ 42939 w 168686"/>
                    <a:gd name="connsiteY144" fmla="*/ 19425 h 35782"/>
                    <a:gd name="connsiteX145" fmla="*/ 44983 w 168686"/>
                    <a:gd name="connsiteY145" fmla="*/ 19425 h 35782"/>
                    <a:gd name="connsiteX146" fmla="*/ 47028 w 168686"/>
                    <a:gd name="connsiteY146" fmla="*/ 19425 h 35782"/>
                    <a:gd name="connsiteX147" fmla="*/ 47028 w 168686"/>
                    <a:gd name="connsiteY147" fmla="*/ 22492 h 35782"/>
                    <a:gd name="connsiteX148" fmla="*/ 48050 w 168686"/>
                    <a:gd name="connsiteY148" fmla="*/ 28115 h 35782"/>
                    <a:gd name="connsiteX149" fmla="*/ 49072 w 168686"/>
                    <a:gd name="connsiteY149" fmla="*/ 28626 h 35782"/>
                    <a:gd name="connsiteX150" fmla="*/ 50606 w 168686"/>
                    <a:gd name="connsiteY150" fmla="*/ 28626 h 35782"/>
                    <a:gd name="connsiteX151" fmla="*/ 51117 w 168686"/>
                    <a:gd name="connsiteY151" fmla="*/ 28115 h 35782"/>
                    <a:gd name="connsiteX152" fmla="*/ 51117 w 168686"/>
                    <a:gd name="connsiteY152" fmla="*/ 14824 h 35782"/>
                    <a:gd name="connsiteX153" fmla="*/ 43450 w 168686"/>
                    <a:gd name="connsiteY153" fmla="*/ 7668 h 35782"/>
                    <a:gd name="connsiteX154" fmla="*/ 37316 w 168686"/>
                    <a:gd name="connsiteY154" fmla="*/ 8690 h 35782"/>
                    <a:gd name="connsiteX155" fmla="*/ 36804 w 168686"/>
                    <a:gd name="connsiteY155" fmla="*/ 9201 h 35782"/>
                    <a:gd name="connsiteX156" fmla="*/ 36804 w 168686"/>
                    <a:gd name="connsiteY156" fmla="*/ 10223 h 35782"/>
                    <a:gd name="connsiteX157" fmla="*/ 36804 w 168686"/>
                    <a:gd name="connsiteY157" fmla="*/ 11246 h 35782"/>
                    <a:gd name="connsiteX158" fmla="*/ 37316 w 168686"/>
                    <a:gd name="connsiteY158" fmla="*/ 11757 h 35782"/>
                    <a:gd name="connsiteX159" fmla="*/ 38338 w 168686"/>
                    <a:gd name="connsiteY159" fmla="*/ 11757 h 35782"/>
                    <a:gd name="connsiteX160" fmla="*/ 42939 w 168686"/>
                    <a:gd name="connsiteY160" fmla="*/ 11246 h 35782"/>
                    <a:gd name="connsiteX161" fmla="*/ 47028 w 168686"/>
                    <a:gd name="connsiteY161" fmla="*/ 14824 h 35782"/>
                    <a:gd name="connsiteX162" fmla="*/ 47028 w 168686"/>
                    <a:gd name="connsiteY162" fmla="*/ 16358 h 35782"/>
                    <a:gd name="connsiteX163" fmla="*/ 44472 w 168686"/>
                    <a:gd name="connsiteY163" fmla="*/ 16358 h 35782"/>
                    <a:gd name="connsiteX164" fmla="*/ 43450 w 168686"/>
                    <a:gd name="connsiteY164" fmla="*/ 16358 h 35782"/>
                    <a:gd name="connsiteX165" fmla="*/ 36804 w 168686"/>
                    <a:gd name="connsiteY165" fmla="*/ 17891 h 35782"/>
                    <a:gd name="connsiteX166" fmla="*/ 34760 w 168686"/>
                    <a:gd name="connsiteY166" fmla="*/ 23003 h 35782"/>
                    <a:gd name="connsiteX167" fmla="*/ 34760 w 168686"/>
                    <a:gd name="connsiteY167" fmla="*/ 23514 h 35782"/>
                    <a:gd name="connsiteX168" fmla="*/ 40894 w 168686"/>
                    <a:gd name="connsiteY168" fmla="*/ 29648 h 35782"/>
                    <a:gd name="connsiteX169" fmla="*/ 42427 w 168686"/>
                    <a:gd name="connsiteY169" fmla="*/ 29648 h 35782"/>
                    <a:gd name="connsiteX170" fmla="*/ 47539 w 168686"/>
                    <a:gd name="connsiteY170" fmla="*/ 27603 h 35782"/>
                    <a:gd name="connsiteX171" fmla="*/ 47539 w 168686"/>
                    <a:gd name="connsiteY171" fmla="*/ 27603 h 35782"/>
                    <a:gd name="connsiteX172" fmla="*/ 48050 w 168686"/>
                    <a:gd name="connsiteY172" fmla="*/ 28115 h 35782"/>
                    <a:gd name="connsiteX173" fmla="*/ 31693 w 168686"/>
                    <a:gd name="connsiteY173" fmla="*/ 28626 h 35782"/>
                    <a:gd name="connsiteX174" fmla="*/ 32204 w 168686"/>
                    <a:gd name="connsiteY174" fmla="*/ 28115 h 35782"/>
                    <a:gd name="connsiteX175" fmla="*/ 32204 w 168686"/>
                    <a:gd name="connsiteY175" fmla="*/ 26581 h 35782"/>
                    <a:gd name="connsiteX176" fmla="*/ 31693 w 168686"/>
                    <a:gd name="connsiteY176" fmla="*/ 25559 h 35782"/>
                    <a:gd name="connsiteX177" fmla="*/ 29648 w 168686"/>
                    <a:gd name="connsiteY177" fmla="*/ 25559 h 35782"/>
                    <a:gd name="connsiteX178" fmla="*/ 27092 w 168686"/>
                    <a:gd name="connsiteY178" fmla="*/ 24536 h 35782"/>
                    <a:gd name="connsiteX179" fmla="*/ 26581 w 168686"/>
                    <a:gd name="connsiteY179" fmla="*/ 21469 h 35782"/>
                    <a:gd name="connsiteX180" fmla="*/ 26581 w 168686"/>
                    <a:gd name="connsiteY180" fmla="*/ 11246 h 35782"/>
                    <a:gd name="connsiteX181" fmla="*/ 31181 w 168686"/>
                    <a:gd name="connsiteY181" fmla="*/ 11246 h 35782"/>
                    <a:gd name="connsiteX182" fmla="*/ 31693 w 168686"/>
                    <a:gd name="connsiteY182" fmla="*/ 10735 h 35782"/>
                    <a:gd name="connsiteX183" fmla="*/ 31693 w 168686"/>
                    <a:gd name="connsiteY183" fmla="*/ 8690 h 35782"/>
                    <a:gd name="connsiteX184" fmla="*/ 31181 w 168686"/>
                    <a:gd name="connsiteY184" fmla="*/ 8179 h 35782"/>
                    <a:gd name="connsiteX185" fmla="*/ 26581 w 168686"/>
                    <a:gd name="connsiteY185" fmla="*/ 8179 h 35782"/>
                    <a:gd name="connsiteX186" fmla="*/ 26581 w 168686"/>
                    <a:gd name="connsiteY186" fmla="*/ 3578 h 35782"/>
                    <a:gd name="connsiteX187" fmla="*/ 25559 w 168686"/>
                    <a:gd name="connsiteY187" fmla="*/ 2556 h 35782"/>
                    <a:gd name="connsiteX188" fmla="*/ 24025 w 168686"/>
                    <a:gd name="connsiteY188" fmla="*/ 2556 h 35782"/>
                    <a:gd name="connsiteX189" fmla="*/ 23003 w 168686"/>
                    <a:gd name="connsiteY189" fmla="*/ 3578 h 35782"/>
                    <a:gd name="connsiteX190" fmla="*/ 23003 w 168686"/>
                    <a:gd name="connsiteY190" fmla="*/ 8179 h 35782"/>
                    <a:gd name="connsiteX191" fmla="*/ 20447 w 168686"/>
                    <a:gd name="connsiteY191" fmla="*/ 8690 h 35782"/>
                    <a:gd name="connsiteX192" fmla="*/ 19936 w 168686"/>
                    <a:gd name="connsiteY192" fmla="*/ 9201 h 35782"/>
                    <a:gd name="connsiteX193" fmla="*/ 19936 w 168686"/>
                    <a:gd name="connsiteY193" fmla="*/ 10735 h 35782"/>
                    <a:gd name="connsiteX194" fmla="*/ 20447 w 168686"/>
                    <a:gd name="connsiteY194" fmla="*/ 11246 h 35782"/>
                    <a:gd name="connsiteX195" fmla="*/ 23003 w 168686"/>
                    <a:gd name="connsiteY195" fmla="*/ 11246 h 35782"/>
                    <a:gd name="connsiteX196" fmla="*/ 23003 w 168686"/>
                    <a:gd name="connsiteY196" fmla="*/ 21980 h 35782"/>
                    <a:gd name="connsiteX197" fmla="*/ 24025 w 168686"/>
                    <a:gd name="connsiteY197" fmla="*/ 27092 h 35782"/>
                    <a:gd name="connsiteX198" fmla="*/ 29137 w 168686"/>
                    <a:gd name="connsiteY198" fmla="*/ 28626 h 35782"/>
                    <a:gd name="connsiteX199" fmla="*/ 31693 w 168686"/>
                    <a:gd name="connsiteY199" fmla="*/ 28626 h 35782"/>
                    <a:gd name="connsiteX200" fmla="*/ 8690 w 168686"/>
                    <a:gd name="connsiteY200" fmla="*/ 29137 h 35782"/>
                    <a:gd name="connsiteX201" fmla="*/ 17891 w 168686"/>
                    <a:gd name="connsiteY201" fmla="*/ 20958 h 35782"/>
                    <a:gd name="connsiteX202" fmla="*/ 17891 w 168686"/>
                    <a:gd name="connsiteY202" fmla="*/ 20447 h 35782"/>
                    <a:gd name="connsiteX203" fmla="*/ 11757 w 168686"/>
                    <a:gd name="connsiteY203" fmla="*/ 13291 h 35782"/>
                    <a:gd name="connsiteX204" fmla="*/ 8690 w 168686"/>
                    <a:gd name="connsiteY204" fmla="*/ 12779 h 35782"/>
                    <a:gd name="connsiteX205" fmla="*/ 4601 w 168686"/>
                    <a:gd name="connsiteY205" fmla="*/ 8690 h 35782"/>
                    <a:gd name="connsiteX206" fmla="*/ 4601 w 168686"/>
                    <a:gd name="connsiteY206" fmla="*/ 8179 h 35782"/>
                    <a:gd name="connsiteX207" fmla="*/ 9201 w 168686"/>
                    <a:gd name="connsiteY207" fmla="*/ 4089 h 35782"/>
                    <a:gd name="connsiteX208" fmla="*/ 14313 w 168686"/>
                    <a:gd name="connsiteY208" fmla="*/ 5112 h 35782"/>
                    <a:gd name="connsiteX209" fmla="*/ 14824 w 168686"/>
                    <a:gd name="connsiteY209" fmla="*/ 5112 h 35782"/>
                    <a:gd name="connsiteX210" fmla="*/ 15335 w 168686"/>
                    <a:gd name="connsiteY210" fmla="*/ 4601 h 35782"/>
                    <a:gd name="connsiteX211" fmla="*/ 15335 w 168686"/>
                    <a:gd name="connsiteY211" fmla="*/ 3578 h 35782"/>
                    <a:gd name="connsiteX212" fmla="*/ 15846 w 168686"/>
                    <a:gd name="connsiteY212" fmla="*/ 2045 h 35782"/>
                    <a:gd name="connsiteX213" fmla="*/ 15335 w 168686"/>
                    <a:gd name="connsiteY213" fmla="*/ 1533 h 35782"/>
                    <a:gd name="connsiteX214" fmla="*/ 8690 w 168686"/>
                    <a:gd name="connsiteY214" fmla="*/ 511 h 35782"/>
                    <a:gd name="connsiteX215" fmla="*/ 0 w 168686"/>
                    <a:gd name="connsiteY215" fmla="*/ 7668 h 35782"/>
                    <a:gd name="connsiteX216" fmla="*/ 0 w 168686"/>
                    <a:gd name="connsiteY216" fmla="*/ 8179 h 35782"/>
                    <a:gd name="connsiteX217" fmla="*/ 6134 w 168686"/>
                    <a:gd name="connsiteY217" fmla="*/ 15335 h 35782"/>
                    <a:gd name="connsiteX218" fmla="*/ 9201 w 168686"/>
                    <a:gd name="connsiteY218" fmla="*/ 15846 h 35782"/>
                    <a:gd name="connsiteX219" fmla="*/ 13290 w 168686"/>
                    <a:gd name="connsiteY219" fmla="*/ 19936 h 35782"/>
                    <a:gd name="connsiteX220" fmla="*/ 13290 w 168686"/>
                    <a:gd name="connsiteY220" fmla="*/ 20447 h 35782"/>
                    <a:gd name="connsiteX221" fmla="*/ 8179 w 168686"/>
                    <a:gd name="connsiteY221" fmla="*/ 25048 h 35782"/>
                    <a:gd name="connsiteX222" fmla="*/ 1534 w 168686"/>
                    <a:gd name="connsiteY222" fmla="*/ 24025 h 35782"/>
                    <a:gd name="connsiteX223" fmla="*/ 1022 w 168686"/>
                    <a:gd name="connsiteY223" fmla="*/ 24025 h 35782"/>
                    <a:gd name="connsiteX224" fmla="*/ 511 w 168686"/>
                    <a:gd name="connsiteY224" fmla="*/ 24536 h 35782"/>
                    <a:gd name="connsiteX225" fmla="*/ 0 w 168686"/>
                    <a:gd name="connsiteY225" fmla="*/ 26070 h 35782"/>
                    <a:gd name="connsiteX226" fmla="*/ 0 w 168686"/>
                    <a:gd name="connsiteY226" fmla="*/ 27092 h 35782"/>
                    <a:gd name="connsiteX227" fmla="*/ 511 w 168686"/>
                    <a:gd name="connsiteY227" fmla="*/ 27603 h 35782"/>
                    <a:gd name="connsiteX228" fmla="*/ 8690 w 168686"/>
                    <a:gd name="connsiteY228" fmla="*/ 29137 h 3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</a:cxnLst>
                  <a:rect l="l" t="t" r="r" b="b"/>
                  <a:pathLst>
                    <a:path w="168686" h="35782">
                      <a:moveTo>
                        <a:pt x="168687" y="1022"/>
                      </a:moveTo>
                      <a:cubicBezTo>
                        <a:pt x="168687" y="511"/>
                        <a:pt x="168687" y="511"/>
                        <a:pt x="167664" y="511"/>
                      </a:cubicBezTo>
                      <a:lnTo>
                        <a:pt x="165620" y="511"/>
                      </a:lnTo>
                      <a:cubicBezTo>
                        <a:pt x="165108" y="511"/>
                        <a:pt x="164597" y="511"/>
                        <a:pt x="164597" y="1022"/>
                      </a:cubicBezTo>
                      <a:lnTo>
                        <a:pt x="164597" y="9201"/>
                      </a:lnTo>
                      <a:lnTo>
                        <a:pt x="164597" y="9201"/>
                      </a:lnTo>
                      <a:cubicBezTo>
                        <a:pt x="163575" y="8179"/>
                        <a:pt x="162041" y="7668"/>
                        <a:pt x="159997" y="7668"/>
                      </a:cubicBezTo>
                      <a:cubicBezTo>
                        <a:pt x="154374" y="7668"/>
                        <a:pt x="151307" y="10223"/>
                        <a:pt x="151307" y="17380"/>
                      </a:cubicBezTo>
                      <a:lnTo>
                        <a:pt x="151307" y="18913"/>
                      </a:lnTo>
                      <a:cubicBezTo>
                        <a:pt x="151307" y="26070"/>
                        <a:pt x="153351" y="29137"/>
                        <a:pt x="159997" y="29137"/>
                      </a:cubicBezTo>
                      <a:cubicBezTo>
                        <a:pt x="165620" y="29137"/>
                        <a:pt x="168176" y="26581"/>
                        <a:pt x="168176" y="21469"/>
                      </a:cubicBezTo>
                      <a:lnTo>
                        <a:pt x="168176" y="1022"/>
                      </a:lnTo>
                      <a:close/>
                      <a:moveTo>
                        <a:pt x="164597" y="21469"/>
                      </a:moveTo>
                      <a:cubicBezTo>
                        <a:pt x="164597" y="25048"/>
                        <a:pt x="163575" y="26070"/>
                        <a:pt x="159997" y="26070"/>
                      </a:cubicBezTo>
                      <a:cubicBezTo>
                        <a:pt x="156418" y="26070"/>
                        <a:pt x="155396" y="24536"/>
                        <a:pt x="155396" y="18913"/>
                      </a:cubicBezTo>
                      <a:lnTo>
                        <a:pt x="155396" y="17891"/>
                      </a:lnTo>
                      <a:cubicBezTo>
                        <a:pt x="155396" y="12779"/>
                        <a:pt x="156418" y="11246"/>
                        <a:pt x="159997" y="11246"/>
                      </a:cubicBezTo>
                      <a:cubicBezTo>
                        <a:pt x="163064" y="11246"/>
                        <a:pt x="164597" y="12779"/>
                        <a:pt x="164597" y="16358"/>
                      </a:cubicBezTo>
                      <a:lnTo>
                        <a:pt x="164597" y="21469"/>
                      </a:lnTo>
                      <a:close/>
                      <a:moveTo>
                        <a:pt x="145173" y="1022"/>
                      </a:moveTo>
                      <a:cubicBezTo>
                        <a:pt x="145173" y="511"/>
                        <a:pt x="145173" y="511"/>
                        <a:pt x="144150" y="511"/>
                      </a:cubicBezTo>
                      <a:lnTo>
                        <a:pt x="142106" y="511"/>
                      </a:lnTo>
                      <a:cubicBezTo>
                        <a:pt x="141595" y="511"/>
                        <a:pt x="141083" y="511"/>
                        <a:pt x="141083" y="1022"/>
                      </a:cubicBezTo>
                      <a:lnTo>
                        <a:pt x="141083" y="24025"/>
                      </a:lnTo>
                      <a:cubicBezTo>
                        <a:pt x="141083" y="27603"/>
                        <a:pt x="142617" y="29137"/>
                        <a:pt x="146195" y="29137"/>
                      </a:cubicBezTo>
                      <a:lnTo>
                        <a:pt x="148240" y="29137"/>
                      </a:lnTo>
                      <a:cubicBezTo>
                        <a:pt x="148751" y="29137"/>
                        <a:pt x="148751" y="29137"/>
                        <a:pt x="148751" y="28626"/>
                      </a:cubicBezTo>
                      <a:lnTo>
                        <a:pt x="148751" y="26581"/>
                      </a:lnTo>
                      <a:cubicBezTo>
                        <a:pt x="148751" y="26070"/>
                        <a:pt x="148751" y="26070"/>
                        <a:pt x="148240" y="26070"/>
                      </a:cubicBezTo>
                      <a:lnTo>
                        <a:pt x="146706" y="26070"/>
                      </a:lnTo>
                      <a:cubicBezTo>
                        <a:pt x="145173" y="26070"/>
                        <a:pt x="145173" y="25559"/>
                        <a:pt x="145173" y="24025"/>
                      </a:cubicBezTo>
                      <a:lnTo>
                        <a:pt x="145173" y="1022"/>
                      </a:lnTo>
                      <a:close/>
                      <a:moveTo>
                        <a:pt x="124726" y="17380"/>
                      </a:moveTo>
                      <a:cubicBezTo>
                        <a:pt x="124726" y="13291"/>
                        <a:pt x="125237" y="11246"/>
                        <a:pt x="128815" y="11246"/>
                      </a:cubicBezTo>
                      <a:cubicBezTo>
                        <a:pt x="131882" y="11246"/>
                        <a:pt x="132905" y="12779"/>
                        <a:pt x="132905" y="16869"/>
                      </a:cubicBezTo>
                      <a:cubicBezTo>
                        <a:pt x="132905" y="17380"/>
                        <a:pt x="132905" y="17380"/>
                        <a:pt x="132394" y="17380"/>
                      </a:cubicBezTo>
                      <a:lnTo>
                        <a:pt x="124726" y="17380"/>
                      </a:lnTo>
                      <a:close/>
                      <a:moveTo>
                        <a:pt x="136483" y="16358"/>
                      </a:moveTo>
                      <a:cubicBezTo>
                        <a:pt x="136483" y="10223"/>
                        <a:pt x="133927" y="8179"/>
                        <a:pt x="128815" y="8179"/>
                      </a:cubicBezTo>
                      <a:cubicBezTo>
                        <a:pt x="122681" y="8179"/>
                        <a:pt x="120636" y="11757"/>
                        <a:pt x="120636" y="18402"/>
                      </a:cubicBezTo>
                      <a:lnTo>
                        <a:pt x="120636" y="19936"/>
                      </a:lnTo>
                      <a:cubicBezTo>
                        <a:pt x="120636" y="27092"/>
                        <a:pt x="122681" y="30159"/>
                        <a:pt x="129326" y="30159"/>
                      </a:cubicBezTo>
                      <a:cubicBezTo>
                        <a:pt x="131371" y="30159"/>
                        <a:pt x="133927" y="29648"/>
                        <a:pt x="135460" y="29137"/>
                      </a:cubicBezTo>
                      <a:cubicBezTo>
                        <a:pt x="135972" y="29137"/>
                        <a:pt x="135972" y="28626"/>
                        <a:pt x="135972" y="28626"/>
                      </a:cubicBezTo>
                      <a:cubicBezTo>
                        <a:pt x="135972" y="28626"/>
                        <a:pt x="135972" y="28115"/>
                        <a:pt x="135972" y="27603"/>
                      </a:cubicBezTo>
                      <a:lnTo>
                        <a:pt x="135460" y="26581"/>
                      </a:lnTo>
                      <a:cubicBezTo>
                        <a:pt x="135460" y="26070"/>
                        <a:pt x="134949" y="26070"/>
                        <a:pt x="134949" y="26070"/>
                      </a:cubicBezTo>
                      <a:cubicBezTo>
                        <a:pt x="134949" y="26070"/>
                        <a:pt x="134438" y="26070"/>
                        <a:pt x="134438" y="26070"/>
                      </a:cubicBezTo>
                      <a:cubicBezTo>
                        <a:pt x="133416" y="26581"/>
                        <a:pt x="131371" y="27092"/>
                        <a:pt x="129838" y="27092"/>
                      </a:cubicBezTo>
                      <a:cubicBezTo>
                        <a:pt x="125748" y="27092"/>
                        <a:pt x="124726" y="25559"/>
                        <a:pt x="124726" y="21469"/>
                      </a:cubicBezTo>
                      <a:lnTo>
                        <a:pt x="135460" y="21469"/>
                      </a:lnTo>
                      <a:cubicBezTo>
                        <a:pt x="136483" y="21469"/>
                        <a:pt x="136483" y="20958"/>
                        <a:pt x="136483" y="20447"/>
                      </a:cubicBezTo>
                      <a:lnTo>
                        <a:pt x="136483" y="16358"/>
                      </a:lnTo>
                      <a:close/>
                      <a:moveTo>
                        <a:pt x="113480" y="11246"/>
                      </a:moveTo>
                      <a:lnTo>
                        <a:pt x="117569" y="11246"/>
                      </a:lnTo>
                      <a:cubicBezTo>
                        <a:pt x="118081" y="11246"/>
                        <a:pt x="118081" y="11246"/>
                        <a:pt x="118081" y="10735"/>
                      </a:cubicBezTo>
                      <a:lnTo>
                        <a:pt x="118081" y="8690"/>
                      </a:lnTo>
                      <a:cubicBezTo>
                        <a:pt x="118081" y="8179"/>
                        <a:pt x="118081" y="8179"/>
                        <a:pt x="117569" y="8179"/>
                      </a:cubicBezTo>
                      <a:lnTo>
                        <a:pt x="113480" y="8179"/>
                      </a:lnTo>
                      <a:lnTo>
                        <a:pt x="113480" y="7156"/>
                      </a:lnTo>
                      <a:cubicBezTo>
                        <a:pt x="113480" y="5623"/>
                        <a:pt x="113991" y="4601"/>
                        <a:pt x="114503" y="4089"/>
                      </a:cubicBezTo>
                      <a:cubicBezTo>
                        <a:pt x="115014" y="3578"/>
                        <a:pt x="116036" y="3578"/>
                        <a:pt x="117058" y="3578"/>
                      </a:cubicBezTo>
                      <a:cubicBezTo>
                        <a:pt x="118081" y="3578"/>
                        <a:pt x="118592" y="3578"/>
                        <a:pt x="119614" y="3578"/>
                      </a:cubicBezTo>
                      <a:cubicBezTo>
                        <a:pt x="120125" y="3578"/>
                        <a:pt x="120636" y="3578"/>
                        <a:pt x="120636" y="3067"/>
                      </a:cubicBezTo>
                      <a:lnTo>
                        <a:pt x="120636" y="2556"/>
                      </a:lnTo>
                      <a:cubicBezTo>
                        <a:pt x="120636" y="2045"/>
                        <a:pt x="120636" y="1022"/>
                        <a:pt x="120636" y="1022"/>
                      </a:cubicBezTo>
                      <a:cubicBezTo>
                        <a:pt x="120636" y="511"/>
                        <a:pt x="120636" y="511"/>
                        <a:pt x="120125" y="511"/>
                      </a:cubicBezTo>
                      <a:cubicBezTo>
                        <a:pt x="119614" y="511"/>
                        <a:pt x="118081" y="0"/>
                        <a:pt x="116547" y="0"/>
                      </a:cubicBezTo>
                      <a:cubicBezTo>
                        <a:pt x="113991" y="0"/>
                        <a:pt x="112458" y="511"/>
                        <a:pt x="111435" y="2045"/>
                      </a:cubicBezTo>
                      <a:cubicBezTo>
                        <a:pt x="110413" y="3067"/>
                        <a:pt x="109902" y="4601"/>
                        <a:pt x="109902" y="7156"/>
                      </a:cubicBezTo>
                      <a:lnTo>
                        <a:pt x="109902" y="8690"/>
                      </a:lnTo>
                      <a:lnTo>
                        <a:pt x="107346" y="9201"/>
                      </a:lnTo>
                      <a:cubicBezTo>
                        <a:pt x="106835" y="9201"/>
                        <a:pt x="106835" y="9712"/>
                        <a:pt x="106835" y="9712"/>
                      </a:cubicBezTo>
                      <a:lnTo>
                        <a:pt x="106835" y="11246"/>
                      </a:lnTo>
                      <a:cubicBezTo>
                        <a:pt x="106835" y="11757"/>
                        <a:pt x="106835" y="11757"/>
                        <a:pt x="107346" y="11757"/>
                      </a:cubicBezTo>
                      <a:lnTo>
                        <a:pt x="109902" y="11757"/>
                      </a:lnTo>
                      <a:lnTo>
                        <a:pt x="109902" y="28115"/>
                      </a:lnTo>
                      <a:cubicBezTo>
                        <a:pt x="109902" y="28626"/>
                        <a:pt x="110413" y="28626"/>
                        <a:pt x="110924" y="28626"/>
                      </a:cubicBezTo>
                      <a:lnTo>
                        <a:pt x="112969" y="28626"/>
                      </a:lnTo>
                      <a:cubicBezTo>
                        <a:pt x="113480" y="28626"/>
                        <a:pt x="113991" y="28626"/>
                        <a:pt x="113991" y="28115"/>
                      </a:cubicBezTo>
                      <a:lnTo>
                        <a:pt x="113991" y="11246"/>
                      </a:lnTo>
                      <a:close/>
                      <a:moveTo>
                        <a:pt x="101723" y="1022"/>
                      </a:moveTo>
                      <a:cubicBezTo>
                        <a:pt x="101723" y="511"/>
                        <a:pt x="101723" y="511"/>
                        <a:pt x="100701" y="511"/>
                      </a:cubicBezTo>
                      <a:lnTo>
                        <a:pt x="98656" y="511"/>
                      </a:lnTo>
                      <a:cubicBezTo>
                        <a:pt x="98145" y="511"/>
                        <a:pt x="97634" y="511"/>
                        <a:pt x="97634" y="1022"/>
                      </a:cubicBezTo>
                      <a:lnTo>
                        <a:pt x="97634" y="24025"/>
                      </a:lnTo>
                      <a:cubicBezTo>
                        <a:pt x="97634" y="27603"/>
                        <a:pt x="99167" y="29137"/>
                        <a:pt x="102745" y="29137"/>
                      </a:cubicBezTo>
                      <a:lnTo>
                        <a:pt x="104790" y="29137"/>
                      </a:lnTo>
                      <a:cubicBezTo>
                        <a:pt x="105301" y="29137"/>
                        <a:pt x="105301" y="29137"/>
                        <a:pt x="105301" y="28626"/>
                      </a:cubicBezTo>
                      <a:lnTo>
                        <a:pt x="105301" y="26581"/>
                      </a:lnTo>
                      <a:cubicBezTo>
                        <a:pt x="105301" y="26070"/>
                        <a:pt x="105301" y="26070"/>
                        <a:pt x="104790" y="26070"/>
                      </a:cubicBezTo>
                      <a:lnTo>
                        <a:pt x="103768" y="26070"/>
                      </a:lnTo>
                      <a:cubicBezTo>
                        <a:pt x="102234" y="26070"/>
                        <a:pt x="102234" y="25559"/>
                        <a:pt x="102234" y="24025"/>
                      </a:cubicBezTo>
                      <a:lnTo>
                        <a:pt x="102234" y="1022"/>
                      </a:lnTo>
                      <a:close/>
                      <a:moveTo>
                        <a:pt x="81276" y="17380"/>
                      </a:moveTo>
                      <a:cubicBezTo>
                        <a:pt x="81276" y="13291"/>
                        <a:pt x="81787" y="11246"/>
                        <a:pt x="85366" y="11246"/>
                      </a:cubicBezTo>
                      <a:cubicBezTo>
                        <a:pt x="88433" y="11246"/>
                        <a:pt x="89455" y="12779"/>
                        <a:pt x="89455" y="16869"/>
                      </a:cubicBezTo>
                      <a:cubicBezTo>
                        <a:pt x="89455" y="17380"/>
                        <a:pt x="89455" y="17380"/>
                        <a:pt x="88944" y="17380"/>
                      </a:cubicBezTo>
                      <a:lnTo>
                        <a:pt x="81276" y="17380"/>
                      </a:lnTo>
                      <a:close/>
                      <a:moveTo>
                        <a:pt x="93033" y="16358"/>
                      </a:moveTo>
                      <a:cubicBezTo>
                        <a:pt x="93033" y="10223"/>
                        <a:pt x="90477" y="8179"/>
                        <a:pt x="85366" y="8179"/>
                      </a:cubicBezTo>
                      <a:cubicBezTo>
                        <a:pt x="79232" y="8179"/>
                        <a:pt x="77187" y="11757"/>
                        <a:pt x="77187" y="18402"/>
                      </a:cubicBezTo>
                      <a:lnTo>
                        <a:pt x="77187" y="19936"/>
                      </a:lnTo>
                      <a:cubicBezTo>
                        <a:pt x="77187" y="27092"/>
                        <a:pt x="79232" y="30159"/>
                        <a:pt x="85877" y="30159"/>
                      </a:cubicBezTo>
                      <a:cubicBezTo>
                        <a:pt x="87922" y="30159"/>
                        <a:pt x="90477" y="29648"/>
                        <a:pt x="92011" y="29137"/>
                      </a:cubicBezTo>
                      <a:cubicBezTo>
                        <a:pt x="92522" y="29137"/>
                        <a:pt x="92522" y="28626"/>
                        <a:pt x="92522" y="28626"/>
                      </a:cubicBezTo>
                      <a:cubicBezTo>
                        <a:pt x="92522" y="28626"/>
                        <a:pt x="92522" y="28115"/>
                        <a:pt x="92522" y="27603"/>
                      </a:cubicBezTo>
                      <a:lnTo>
                        <a:pt x="92011" y="26581"/>
                      </a:lnTo>
                      <a:cubicBezTo>
                        <a:pt x="92011" y="26070"/>
                        <a:pt x="91500" y="26070"/>
                        <a:pt x="91500" y="26070"/>
                      </a:cubicBezTo>
                      <a:cubicBezTo>
                        <a:pt x="91500" y="26070"/>
                        <a:pt x="90989" y="26070"/>
                        <a:pt x="90989" y="26070"/>
                      </a:cubicBezTo>
                      <a:cubicBezTo>
                        <a:pt x="89966" y="26581"/>
                        <a:pt x="87922" y="27092"/>
                        <a:pt x="86388" y="27092"/>
                      </a:cubicBezTo>
                      <a:cubicBezTo>
                        <a:pt x="82299" y="27092"/>
                        <a:pt x="81276" y="25559"/>
                        <a:pt x="81276" y="21469"/>
                      </a:cubicBezTo>
                      <a:lnTo>
                        <a:pt x="92011" y="21469"/>
                      </a:lnTo>
                      <a:cubicBezTo>
                        <a:pt x="93033" y="21469"/>
                        <a:pt x="93033" y="20958"/>
                        <a:pt x="93033" y="20447"/>
                      </a:cubicBezTo>
                      <a:lnTo>
                        <a:pt x="93033" y="16358"/>
                      </a:lnTo>
                      <a:close/>
                      <a:moveTo>
                        <a:pt x="64919" y="11246"/>
                      </a:moveTo>
                      <a:cubicBezTo>
                        <a:pt x="68497" y="11246"/>
                        <a:pt x="69519" y="12779"/>
                        <a:pt x="69519" y="17891"/>
                      </a:cubicBezTo>
                      <a:lnTo>
                        <a:pt x="69519" y="19425"/>
                      </a:lnTo>
                      <a:cubicBezTo>
                        <a:pt x="69519" y="24536"/>
                        <a:pt x="68497" y="26070"/>
                        <a:pt x="64919" y="26070"/>
                      </a:cubicBezTo>
                      <a:cubicBezTo>
                        <a:pt x="61852" y="26070"/>
                        <a:pt x="60318" y="25048"/>
                        <a:pt x="60318" y="21469"/>
                      </a:cubicBezTo>
                      <a:lnTo>
                        <a:pt x="60318" y="15846"/>
                      </a:lnTo>
                      <a:cubicBezTo>
                        <a:pt x="60318" y="12268"/>
                        <a:pt x="61341" y="11246"/>
                        <a:pt x="64919" y="11246"/>
                      </a:cubicBezTo>
                      <a:moveTo>
                        <a:pt x="60318" y="27603"/>
                      </a:moveTo>
                      <a:lnTo>
                        <a:pt x="60318" y="27603"/>
                      </a:lnTo>
                      <a:cubicBezTo>
                        <a:pt x="61341" y="28626"/>
                        <a:pt x="62874" y="29137"/>
                        <a:pt x="65430" y="29137"/>
                      </a:cubicBezTo>
                      <a:cubicBezTo>
                        <a:pt x="71564" y="29137"/>
                        <a:pt x="73609" y="25559"/>
                        <a:pt x="73609" y="19425"/>
                      </a:cubicBezTo>
                      <a:lnTo>
                        <a:pt x="73609" y="17380"/>
                      </a:lnTo>
                      <a:cubicBezTo>
                        <a:pt x="73609" y="10223"/>
                        <a:pt x="71053" y="7668"/>
                        <a:pt x="65941" y="7668"/>
                      </a:cubicBezTo>
                      <a:cubicBezTo>
                        <a:pt x="62874" y="7668"/>
                        <a:pt x="60830" y="8690"/>
                        <a:pt x="59807" y="10223"/>
                      </a:cubicBezTo>
                      <a:lnTo>
                        <a:pt x="59807" y="10223"/>
                      </a:lnTo>
                      <a:lnTo>
                        <a:pt x="59296" y="8690"/>
                      </a:lnTo>
                      <a:cubicBezTo>
                        <a:pt x="59296" y="8179"/>
                        <a:pt x="58785" y="8179"/>
                        <a:pt x="58785" y="8179"/>
                      </a:cubicBezTo>
                      <a:lnTo>
                        <a:pt x="57251" y="8179"/>
                      </a:lnTo>
                      <a:cubicBezTo>
                        <a:pt x="56740" y="8179"/>
                        <a:pt x="56740" y="8179"/>
                        <a:pt x="56740" y="8690"/>
                      </a:cubicBezTo>
                      <a:lnTo>
                        <a:pt x="56740" y="35271"/>
                      </a:lnTo>
                      <a:cubicBezTo>
                        <a:pt x="56740" y="35782"/>
                        <a:pt x="56740" y="35782"/>
                        <a:pt x="57762" y="35782"/>
                      </a:cubicBezTo>
                      <a:lnTo>
                        <a:pt x="59807" y="35782"/>
                      </a:lnTo>
                      <a:cubicBezTo>
                        <a:pt x="60318" y="35782"/>
                        <a:pt x="60830" y="35782"/>
                        <a:pt x="60830" y="35271"/>
                      </a:cubicBezTo>
                      <a:lnTo>
                        <a:pt x="60830" y="27603"/>
                      </a:lnTo>
                      <a:close/>
                      <a:moveTo>
                        <a:pt x="47539" y="22492"/>
                      </a:moveTo>
                      <a:cubicBezTo>
                        <a:pt x="47539" y="25048"/>
                        <a:pt x="46517" y="26070"/>
                        <a:pt x="43450" y="26070"/>
                      </a:cubicBezTo>
                      <a:lnTo>
                        <a:pt x="41916" y="26070"/>
                      </a:lnTo>
                      <a:cubicBezTo>
                        <a:pt x="39871" y="26070"/>
                        <a:pt x="38849" y="25048"/>
                        <a:pt x="38849" y="23003"/>
                      </a:cubicBezTo>
                      <a:lnTo>
                        <a:pt x="38849" y="22492"/>
                      </a:lnTo>
                      <a:cubicBezTo>
                        <a:pt x="38849" y="19936"/>
                        <a:pt x="39871" y="19425"/>
                        <a:pt x="42939" y="19425"/>
                      </a:cubicBezTo>
                      <a:lnTo>
                        <a:pt x="44983" y="19425"/>
                      </a:lnTo>
                      <a:cubicBezTo>
                        <a:pt x="45494" y="19425"/>
                        <a:pt x="46517" y="19425"/>
                        <a:pt x="47028" y="19425"/>
                      </a:cubicBezTo>
                      <a:lnTo>
                        <a:pt x="47028" y="22492"/>
                      </a:lnTo>
                      <a:close/>
                      <a:moveTo>
                        <a:pt x="48050" y="28115"/>
                      </a:moveTo>
                      <a:cubicBezTo>
                        <a:pt x="48050" y="28626"/>
                        <a:pt x="48561" y="28626"/>
                        <a:pt x="49072" y="28626"/>
                      </a:cubicBezTo>
                      <a:lnTo>
                        <a:pt x="50606" y="28626"/>
                      </a:lnTo>
                      <a:cubicBezTo>
                        <a:pt x="51117" y="28626"/>
                        <a:pt x="51117" y="28626"/>
                        <a:pt x="51117" y="28115"/>
                      </a:cubicBezTo>
                      <a:lnTo>
                        <a:pt x="51117" y="14824"/>
                      </a:lnTo>
                      <a:cubicBezTo>
                        <a:pt x="51117" y="9712"/>
                        <a:pt x="48561" y="7668"/>
                        <a:pt x="43450" y="7668"/>
                      </a:cubicBezTo>
                      <a:cubicBezTo>
                        <a:pt x="41405" y="7668"/>
                        <a:pt x="38849" y="8179"/>
                        <a:pt x="37316" y="8690"/>
                      </a:cubicBezTo>
                      <a:cubicBezTo>
                        <a:pt x="36804" y="8690"/>
                        <a:pt x="36804" y="9201"/>
                        <a:pt x="36804" y="9201"/>
                      </a:cubicBezTo>
                      <a:cubicBezTo>
                        <a:pt x="36804" y="9201"/>
                        <a:pt x="36804" y="9712"/>
                        <a:pt x="36804" y="10223"/>
                      </a:cubicBezTo>
                      <a:lnTo>
                        <a:pt x="36804" y="11246"/>
                      </a:lnTo>
                      <a:cubicBezTo>
                        <a:pt x="36804" y="11757"/>
                        <a:pt x="36804" y="11757"/>
                        <a:pt x="37316" y="11757"/>
                      </a:cubicBezTo>
                      <a:cubicBezTo>
                        <a:pt x="37316" y="11757"/>
                        <a:pt x="37827" y="11757"/>
                        <a:pt x="38338" y="11757"/>
                      </a:cubicBezTo>
                      <a:cubicBezTo>
                        <a:pt x="39871" y="11246"/>
                        <a:pt x="41405" y="11246"/>
                        <a:pt x="42939" y="11246"/>
                      </a:cubicBezTo>
                      <a:cubicBezTo>
                        <a:pt x="46005" y="11246"/>
                        <a:pt x="47028" y="11757"/>
                        <a:pt x="47028" y="14824"/>
                      </a:cubicBezTo>
                      <a:lnTo>
                        <a:pt x="47028" y="16358"/>
                      </a:lnTo>
                      <a:cubicBezTo>
                        <a:pt x="46517" y="16358"/>
                        <a:pt x="45494" y="16358"/>
                        <a:pt x="44472" y="16358"/>
                      </a:cubicBezTo>
                      <a:lnTo>
                        <a:pt x="43450" y="16358"/>
                      </a:lnTo>
                      <a:cubicBezTo>
                        <a:pt x="39871" y="16358"/>
                        <a:pt x="38338" y="16869"/>
                        <a:pt x="36804" y="17891"/>
                      </a:cubicBezTo>
                      <a:cubicBezTo>
                        <a:pt x="35271" y="18913"/>
                        <a:pt x="34760" y="20447"/>
                        <a:pt x="34760" y="23003"/>
                      </a:cubicBezTo>
                      <a:lnTo>
                        <a:pt x="34760" y="23514"/>
                      </a:lnTo>
                      <a:cubicBezTo>
                        <a:pt x="34760" y="27092"/>
                        <a:pt x="36804" y="29648"/>
                        <a:pt x="40894" y="29648"/>
                      </a:cubicBezTo>
                      <a:lnTo>
                        <a:pt x="42427" y="29648"/>
                      </a:lnTo>
                      <a:cubicBezTo>
                        <a:pt x="44983" y="29648"/>
                        <a:pt x="46517" y="29137"/>
                        <a:pt x="47539" y="27603"/>
                      </a:cubicBezTo>
                      <a:lnTo>
                        <a:pt x="47539" y="27603"/>
                      </a:lnTo>
                      <a:lnTo>
                        <a:pt x="48050" y="28115"/>
                      </a:lnTo>
                      <a:close/>
                      <a:moveTo>
                        <a:pt x="31693" y="28626"/>
                      </a:moveTo>
                      <a:cubicBezTo>
                        <a:pt x="32204" y="28626"/>
                        <a:pt x="32204" y="28626"/>
                        <a:pt x="32204" y="28115"/>
                      </a:cubicBezTo>
                      <a:lnTo>
                        <a:pt x="32204" y="26581"/>
                      </a:lnTo>
                      <a:cubicBezTo>
                        <a:pt x="32204" y="26070"/>
                        <a:pt x="32204" y="25559"/>
                        <a:pt x="31693" y="25559"/>
                      </a:cubicBezTo>
                      <a:lnTo>
                        <a:pt x="29648" y="25559"/>
                      </a:lnTo>
                      <a:cubicBezTo>
                        <a:pt x="28114" y="25559"/>
                        <a:pt x="27603" y="25559"/>
                        <a:pt x="27092" y="24536"/>
                      </a:cubicBezTo>
                      <a:cubicBezTo>
                        <a:pt x="26581" y="24025"/>
                        <a:pt x="26581" y="23514"/>
                        <a:pt x="26581" y="21469"/>
                      </a:cubicBezTo>
                      <a:lnTo>
                        <a:pt x="26581" y="11246"/>
                      </a:lnTo>
                      <a:lnTo>
                        <a:pt x="31181" y="11246"/>
                      </a:lnTo>
                      <a:cubicBezTo>
                        <a:pt x="31693" y="11246"/>
                        <a:pt x="31693" y="10735"/>
                        <a:pt x="31693" y="10735"/>
                      </a:cubicBezTo>
                      <a:lnTo>
                        <a:pt x="31693" y="8690"/>
                      </a:lnTo>
                      <a:cubicBezTo>
                        <a:pt x="31693" y="8179"/>
                        <a:pt x="31693" y="8179"/>
                        <a:pt x="31181" y="8179"/>
                      </a:cubicBezTo>
                      <a:lnTo>
                        <a:pt x="26581" y="8179"/>
                      </a:lnTo>
                      <a:lnTo>
                        <a:pt x="26581" y="3578"/>
                      </a:lnTo>
                      <a:cubicBezTo>
                        <a:pt x="26581" y="3067"/>
                        <a:pt x="26581" y="2556"/>
                        <a:pt x="25559" y="2556"/>
                      </a:cubicBezTo>
                      <a:lnTo>
                        <a:pt x="24025" y="2556"/>
                      </a:lnTo>
                      <a:cubicBezTo>
                        <a:pt x="23514" y="2556"/>
                        <a:pt x="23003" y="2556"/>
                        <a:pt x="23003" y="3578"/>
                      </a:cubicBezTo>
                      <a:lnTo>
                        <a:pt x="23003" y="8179"/>
                      </a:lnTo>
                      <a:lnTo>
                        <a:pt x="20447" y="8690"/>
                      </a:lnTo>
                      <a:cubicBezTo>
                        <a:pt x="19936" y="8690"/>
                        <a:pt x="19936" y="8690"/>
                        <a:pt x="19936" y="9201"/>
                      </a:cubicBezTo>
                      <a:lnTo>
                        <a:pt x="19936" y="10735"/>
                      </a:lnTo>
                      <a:cubicBezTo>
                        <a:pt x="19936" y="11246"/>
                        <a:pt x="19936" y="11246"/>
                        <a:pt x="20447" y="11246"/>
                      </a:cubicBezTo>
                      <a:lnTo>
                        <a:pt x="23003" y="11246"/>
                      </a:lnTo>
                      <a:lnTo>
                        <a:pt x="23003" y="21980"/>
                      </a:lnTo>
                      <a:cubicBezTo>
                        <a:pt x="23003" y="24536"/>
                        <a:pt x="23514" y="26070"/>
                        <a:pt x="24025" y="27092"/>
                      </a:cubicBezTo>
                      <a:cubicBezTo>
                        <a:pt x="25048" y="28115"/>
                        <a:pt x="26581" y="28626"/>
                        <a:pt x="29137" y="28626"/>
                      </a:cubicBezTo>
                      <a:lnTo>
                        <a:pt x="31693" y="28626"/>
                      </a:lnTo>
                      <a:close/>
                      <a:moveTo>
                        <a:pt x="8690" y="29137"/>
                      </a:moveTo>
                      <a:cubicBezTo>
                        <a:pt x="15335" y="29137"/>
                        <a:pt x="17891" y="27092"/>
                        <a:pt x="17891" y="20958"/>
                      </a:cubicBezTo>
                      <a:lnTo>
                        <a:pt x="17891" y="20447"/>
                      </a:lnTo>
                      <a:cubicBezTo>
                        <a:pt x="17891" y="15335"/>
                        <a:pt x="15846" y="14313"/>
                        <a:pt x="11757" y="13291"/>
                      </a:cubicBezTo>
                      <a:lnTo>
                        <a:pt x="8690" y="12779"/>
                      </a:lnTo>
                      <a:cubicBezTo>
                        <a:pt x="6134" y="12268"/>
                        <a:pt x="4601" y="11757"/>
                        <a:pt x="4601" y="8690"/>
                      </a:cubicBezTo>
                      <a:lnTo>
                        <a:pt x="4601" y="8179"/>
                      </a:lnTo>
                      <a:cubicBezTo>
                        <a:pt x="4601" y="5623"/>
                        <a:pt x="6134" y="4089"/>
                        <a:pt x="9201" y="4089"/>
                      </a:cubicBezTo>
                      <a:cubicBezTo>
                        <a:pt x="11246" y="4089"/>
                        <a:pt x="12779" y="4601"/>
                        <a:pt x="14313" y="5112"/>
                      </a:cubicBezTo>
                      <a:cubicBezTo>
                        <a:pt x="14313" y="5112"/>
                        <a:pt x="14824" y="5112"/>
                        <a:pt x="14824" y="5112"/>
                      </a:cubicBezTo>
                      <a:cubicBezTo>
                        <a:pt x="15335" y="5112"/>
                        <a:pt x="15335" y="5112"/>
                        <a:pt x="15335" y="4601"/>
                      </a:cubicBezTo>
                      <a:lnTo>
                        <a:pt x="15335" y="3578"/>
                      </a:lnTo>
                      <a:cubicBezTo>
                        <a:pt x="15335" y="3067"/>
                        <a:pt x="15846" y="2556"/>
                        <a:pt x="15846" y="2045"/>
                      </a:cubicBezTo>
                      <a:cubicBezTo>
                        <a:pt x="15846" y="1533"/>
                        <a:pt x="15846" y="1533"/>
                        <a:pt x="15335" y="1533"/>
                      </a:cubicBezTo>
                      <a:cubicBezTo>
                        <a:pt x="13802" y="1022"/>
                        <a:pt x="11757" y="511"/>
                        <a:pt x="8690" y="511"/>
                      </a:cubicBezTo>
                      <a:cubicBezTo>
                        <a:pt x="3067" y="511"/>
                        <a:pt x="0" y="3067"/>
                        <a:pt x="0" y="7668"/>
                      </a:cubicBezTo>
                      <a:lnTo>
                        <a:pt x="0" y="8179"/>
                      </a:lnTo>
                      <a:cubicBezTo>
                        <a:pt x="0" y="12268"/>
                        <a:pt x="2045" y="14313"/>
                        <a:pt x="6134" y="15335"/>
                      </a:cubicBezTo>
                      <a:lnTo>
                        <a:pt x="9201" y="15846"/>
                      </a:lnTo>
                      <a:cubicBezTo>
                        <a:pt x="12779" y="16869"/>
                        <a:pt x="13290" y="17380"/>
                        <a:pt x="13290" y="19936"/>
                      </a:cubicBezTo>
                      <a:lnTo>
                        <a:pt x="13290" y="20447"/>
                      </a:lnTo>
                      <a:cubicBezTo>
                        <a:pt x="13290" y="23514"/>
                        <a:pt x="12268" y="25048"/>
                        <a:pt x="8179" y="25048"/>
                      </a:cubicBezTo>
                      <a:cubicBezTo>
                        <a:pt x="5623" y="25048"/>
                        <a:pt x="3578" y="24536"/>
                        <a:pt x="1534" y="24025"/>
                      </a:cubicBezTo>
                      <a:cubicBezTo>
                        <a:pt x="1022" y="24025"/>
                        <a:pt x="1022" y="24025"/>
                        <a:pt x="1022" y="24025"/>
                      </a:cubicBezTo>
                      <a:cubicBezTo>
                        <a:pt x="1022" y="24025"/>
                        <a:pt x="511" y="24025"/>
                        <a:pt x="511" y="24536"/>
                      </a:cubicBezTo>
                      <a:lnTo>
                        <a:pt x="0" y="26070"/>
                      </a:lnTo>
                      <a:cubicBezTo>
                        <a:pt x="0" y="26581"/>
                        <a:pt x="0" y="27092"/>
                        <a:pt x="0" y="27092"/>
                      </a:cubicBezTo>
                      <a:cubicBezTo>
                        <a:pt x="0" y="27603"/>
                        <a:pt x="0" y="27603"/>
                        <a:pt x="511" y="27603"/>
                      </a:cubicBezTo>
                      <a:cubicBezTo>
                        <a:pt x="3067" y="28626"/>
                        <a:pt x="6134" y="29137"/>
                        <a:pt x="8690" y="29137"/>
                      </a:cubicBezTo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3" name="Freihandform: Form 122">
                  <a:extLst>
                    <a:ext uri="{FF2B5EF4-FFF2-40B4-BE49-F238E27FC236}">
                      <a16:creationId xmlns:a16="http://schemas.microsoft.com/office/drawing/2014/main" id="{3DCEFCE1-B80D-4A7B-A9DD-B2990458F019}"/>
                    </a:ext>
                  </a:extLst>
                </p:cNvPr>
                <p:cNvSpPr/>
                <p:nvPr/>
              </p:nvSpPr>
              <p:spPr>
                <a:xfrm>
                  <a:off x="7086753" y="3993449"/>
                  <a:ext cx="178909" cy="36293"/>
                </a:xfrm>
                <a:custGeom>
                  <a:avLst/>
                  <a:gdLst>
                    <a:gd name="connsiteX0" fmla="*/ 161530 w 178909"/>
                    <a:gd name="connsiteY0" fmla="*/ 28115 h 36293"/>
                    <a:gd name="connsiteX1" fmla="*/ 162552 w 178909"/>
                    <a:gd name="connsiteY1" fmla="*/ 28626 h 36293"/>
                    <a:gd name="connsiteX2" fmla="*/ 164597 w 178909"/>
                    <a:gd name="connsiteY2" fmla="*/ 28626 h 36293"/>
                    <a:gd name="connsiteX3" fmla="*/ 165620 w 178909"/>
                    <a:gd name="connsiteY3" fmla="*/ 28115 h 36293"/>
                    <a:gd name="connsiteX4" fmla="*/ 165620 w 178909"/>
                    <a:gd name="connsiteY4" fmla="*/ 15846 h 36293"/>
                    <a:gd name="connsiteX5" fmla="*/ 170220 w 178909"/>
                    <a:gd name="connsiteY5" fmla="*/ 11246 h 36293"/>
                    <a:gd name="connsiteX6" fmla="*/ 174821 w 178909"/>
                    <a:gd name="connsiteY6" fmla="*/ 16357 h 36293"/>
                    <a:gd name="connsiteX7" fmla="*/ 174821 w 178909"/>
                    <a:gd name="connsiteY7" fmla="*/ 28626 h 36293"/>
                    <a:gd name="connsiteX8" fmla="*/ 175843 w 178909"/>
                    <a:gd name="connsiteY8" fmla="*/ 29137 h 36293"/>
                    <a:gd name="connsiteX9" fmla="*/ 177888 w 178909"/>
                    <a:gd name="connsiteY9" fmla="*/ 29137 h 36293"/>
                    <a:gd name="connsiteX10" fmla="*/ 178910 w 178909"/>
                    <a:gd name="connsiteY10" fmla="*/ 28626 h 36293"/>
                    <a:gd name="connsiteX11" fmla="*/ 178910 w 178909"/>
                    <a:gd name="connsiteY11" fmla="*/ 16869 h 36293"/>
                    <a:gd name="connsiteX12" fmla="*/ 171754 w 178909"/>
                    <a:gd name="connsiteY12" fmla="*/ 8690 h 36293"/>
                    <a:gd name="connsiteX13" fmla="*/ 165620 w 178909"/>
                    <a:gd name="connsiteY13" fmla="*/ 11246 h 36293"/>
                    <a:gd name="connsiteX14" fmla="*/ 165620 w 178909"/>
                    <a:gd name="connsiteY14" fmla="*/ 11246 h 36293"/>
                    <a:gd name="connsiteX15" fmla="*/ 165620 w 178909"/>
                    <a:gd name="connsiteY15" fmla="*/ 9712 h 36293"/>
                    <a:gd name="connsiteX16" fmla="*/ 164597 w 178909"/>
                    <a:gd name="connsiteY16" fmla="*/ 9201 h 36293"/>
                    <a:gd name="connsiteX17" fmla="*/ 163064 w 178909"/>
                    <a:gd name="connsiteY17" fmla="*/ 9201 h 36293"/>
                    <a:gd name="connsiteX18" fmla="*/ 162552 w 178909"/>
                    <a:gd name="connsiteY18" fmla="*/ 9712 h 36293"/>
                    <a:gd name="connsiteX19" fmla="*/ 162552 w 178909"/>
                    <a:gd name="connsiteY19" fmla="*/ 28115 h 36293"/>
                    <a:gd name="connsiteX20" fmla="*/ 144661 w 178909"/>
                    <a:gd name="connsiteY20" fmla="*/ 17380 h 36293"/>
                    <a:gd name="connsiteX21" fmla="*/ 148751 w 178909"/>
                    <a:gd name="connsiteY21" fmla="*/ 11246 h 36293"/>
                    <a:gd name="connsiteX22" fmla="*/ 152840 w 178909"/>
                    <a:gd name="connsiteY22" fmla="*/ 16869 h 36293"/>
                    <a:gd name="connsiteX23" fmla="*/ 152329 w 178909"/>
                    <a:gd name="connsiteY23" fmla="*/ 17380 h 36293"/>
                    <a:gd name="connsiteX24" fmla="*/ 144661 w 178909"/>
                    <a:gd name="connsiteY24" fmla="*/ 17380 h 36293"/>
                    <a:gd name="connsiteX25" fmla="*/ 156930 w 178909"/>
                    <a:gd name="connsiteY25" fmla="*/ 16357 h 36293"/>
                    <a:gd name="connsiteX26" fmla="*/ 149262 w 178909"/>
                    <a:gd name="connsiteY26" fmla="*/ 7668 h 36293"/>
                    <a:gd name="connsiteX27" fmla="*/ 141083 w 178909"/>
                    <a:gd name="connsiteY27" fmla="*/ 17891 h 36293"/>
                    <a:gd name="connsiteX28" fmla="*/ 141083 w 178909"/>
                    <a:gd name="connsiteY28" fmla="*/ 19425 h 36293"/>
                    <a:gd name="connsiteX29" fmla="*/ 149773 w 178909"/>
                    <a:gd name="connsiteY29" fmla="*/ 29648 h 36293"/>
                    <a:gd name="connsiteX30" fmla="*/ 155907 w 178909"/>
                    <a:gd name="connsiteY30" fmla="*/ 28626 h 36293"/>
                    <a:gd name="connsiteX31" fmla="*/ 156418 w 178909"/>
                    <a:gd name="connsiteY31" fmla="*/ 28115 h 36293"/>
                    <a:gd name="connsiteX32" fmla="*/ 156418 w 178909"/>
                    <a:gd name="connsiteY32" fmla="*/ 27092 h 36293"/>
                    <a:gd name="connsiteX33" fmla="*/ 155907 w 178909"/>
                    <a:gd name="connsiteY33" fmla="*/ 26070 h 36293"/>
                    <a:gd name="connsiteX34" fmla="*/ 155396 w 178909"/>
                    <a:gd name="connsiteY34" fmla="*/ 25559 h 36293"/>
                    <a:gd name="connsiteX35" fmla="*/ 154885 w 178909"/>
                    <a:gd name="connsiteY35" fmla="*/ 25559 h 36293"/>
                    <a:gd name="connsiteX36" fmla="*/ 150284 w 178909"/>
                    <a:gd name="connsiteY36" fmla="*/ 26581 h 36293"/>
                    <a:gd name="connsiteX37" fmla="*/ 145173 w 178909"/>
                    <a:gd name="connsiteY37" fmla="*/ 20958 h 36293"/>
                    <a:gd name="connsiteX38" fmla="*/ 155907 w 178909"/>
                    <a:gd name="connsiteY38" fmla="*/ 20958 h 36293"/>
                    <a:gd name="connsiteX39" fmla="*/ 156930 w 178909"/>
                    <a:gd name="connsiteY39" fmla="*/ 19936 h 36293"/>
                    <a:gd name="connsiteX40" fmla="*/ 156930 w 178909"/>
                    <a:gd name="connsiteY40" fmla="*/ 16357 h 36293"/>
                    <a:gd name="connsiteX41" fmla="*/ 136483 w 178909"/>
                    <a:gd name="connsiteY41" fmla="*/ 9201 h 36293"/>
                    <a:gd name="connsiteX42" fmla="*/ 135460 w 178909"/>
                    <a:gd name="connsiteY42" fmla="*/ 8690 h 36293"/>
                    <a:gd name="connsiteX43" fmla="*/ 133927 w 178909"/>
                    <a:gd name="connsiteY43" fmla="*/ 8690 h 36293"/>
                    <a:gd name="connsiteX44" fmla="*/ 132905 w 178909"/>
                    <a:gd name="connsiteY44" fmla="*/ 9201 h 36293"/>
                    <a:gd name="connsiteX45" fmla="*/ 132393 w 178909"/>
                    <a:gd name="connsiteY45" fmla="*/ 10735 h 36293"/>
                    <a:gd name="connsiteX46" fmla="*/ 132393 w 178909"/>
                    <a:gd name="connsiteY46" fmla="*/ 10735 h 36293"/>
                    <a:gd name="connsiteX47" fmla="*/ 126770 w 178909"/>
                    <a:gd name="connsiteY47" fmla="*/ 8179 h 36293"/>
                    <a:gd name="connsiteX48" fmla="*/ 118592 w 178909"/>
                    <a:gd name="connsiteY48" fmla="*/ 17891 h 36293"/>
                    <a:gd name="connsiteX49" fmla="*/ 118592 w 178909"/>
                    <a:gd name="connsiteY49" fmla="*/ 19425 h 36293"/>
                    <a:gd name="connsiteX50" fmla="*/ 126770 w 178909"/>
                    <a:gd name="connsiteY50" fmla="*/ 29137 h 36293"/>
                    <a:gd name="connsiteX51" fmla="*/ 131882 w 178909"/>
                    <a:gd name="connsiteY51" fmla="*/ 27092 h 36293"/>
                    <a:gd name="connsiteX52" fmla="*/ 131882 w 178909"/>
                    <a:gd name="connsiteY52" fmla="*/ 27092 h 36293"/>
                    <a:gd name="connsiteX53" fmla="*/ 131882 w 178909"/>
                    <a:gd name="connsiteY53" fmla="*/ 28626 h 36293"/>
                    <a:gd name="connsiteX54" fmla="*/ 130860 w 178909"/>
                    <a:gd name="connsiteY54" fmla="*/ 32204 h 36293"/>
                    <a:gd name="connsiteX55" fmla="*/ 127282 w 178909"/>
                    <a:gd name="connsiteY55" fmla="*/ 33226 h 36293"/>
                    <a:gd name="connsiteX56" fmla="*/ 122170 w 178909"/>
                    <a:gd name="connsiteY56" fmla="*/ 32715 h 36293"/>
                    <a:gd name="connsiteX57" fmla="*/ 121148 w 178909"/>
                    <a:gd name="connsiteY57" fmla="*/ 33226 h 36293"/>
                    <a:gd name="connsiteX58" fmla="*/ 120636 w 178909"/>
                    <a:gd name="connsiteY58" fmla="*/ 34248 h 36293"/>
                    <a:gd name="connsiteX59" fmla="*/ 121148 w 178909"/>
                    <a:gd name="connsiteY59" fmla="*/ 35271 h 36293"/>
                    <a:gd name="connsiteX60" fmla="*/ 127282 w 178909"/>
                    <a:gd name="connsiteY60" fmla="*/ 36293 h 36293"/>
                    <a:gd name="connsiteX61" fmla="*/ 133927 w 178909"/>
                    <a:gd name="connsiteY61" fmla="*/ 34248 h 36293"/>
                    <a:gd name="connsiteX62" fmla="*/ 135972 w 178909"/>
                    <a:gd name="connsiteY62" fmla="*/ 27092 h 36293"/>
                    <a:gd name="connsiteX63" fmla="*/ 135972 w 178909"/>
                    <a:gd name="connsiteY63" fmla="*/ 9201 h 36293"/>
                    <a:gd name="connsiteX64" fmla="*/ 127793 w 178909"/>
                    <a:gd name="connsiteY64" fmla="*/ 11246 h 36293"/>
                    <a:gd name="connsiteX65" fmla="*/ 132393 w 178909"/>
                    <a:gd name="connsiteY65" fmla="*/ 15846 h 36293"/>
                    <a:gd name="connsiteX66" fmla="*/ 132393 w 178909"/>
                    <a:gd name="connsiteY66" fmla="*/ 21469 h 36293"/>
                    <a:gd name="connsiteX67" fmla="*/ 127793 w 178909"/>
                    <a:gd name="connsiteY67" fmla="*/ 26070 h 36293"/>
                    <a:gd name="connsiteX68" fmla="*/ 123192 w 178909"/>
                    <a:gd name="connsiteY68" fmla="*/ 19425 h 36293"/>
                    <a:gd name="connsiteX69" fmla="*/ 123192 w 178909"/>
                    <a:gd name="connsiteY69" fmla="*/ 18402 h 36293"/>
                    <a:gd name="connsiteX70" fmla="*/ 127793 w 178909"/>
                    <a:gd name="connsiteY70" fmla="*/ 11246 h 36293"/>
                    <a:gd name="connsiteX71" fmla="*/ 98656 w 178909"/>
                    <a:gd name="connsiteY71" fmla="*/ 28115 h 36293"/>
                    <a:gd name="connsiteX72" fmla="*/ 99678 w 178909"/>
                    <a:gd name="connsiteY72" fmla="*/ 28626 h 36293"/>
                    <a:gd name="connsiteX73" fmla="*/ 101723 w 178909"/>
                    <a:gd name="connsiteY73" fmla="*/ 28626 h 36293"/>
                    <a:gd name="connsiteX74" fmla="*/ 102745 w 178909"/>
                    <a:gd name="connsiteY74" fmla="*/ 28115 h 36293"/>
                    <a:gd name="connsiteX75" fmla="*/ 102745 w 178909"/>
                    <a:gd name="connsiteY75" fmla="*/ 15846 h 36293"/>
                    <a:gd name="connsiteX76" fmla="*/ 106835 w 178909"/>
                    <a:gd name="connsiteY76" fmla="*/ 11246 h 36293"/>
                    <a:gd name="connsiteX77" fmla="*/ 111435 w 178909"/>
                    <a:gd name="connsiteY77" fmla="*/ 16357 h 36293"/>
                    <a:gd name="connsiteX78" fmla="*/ 111435 w 178909"/>
                    <a:gd name="connsiteY78" fmla="*/ 28626 h 36293"/>
                    <a:gd name="connsiteX79" fmla="*/ 112458 w 178909"/>
                    <a:gd name="connsiteY79" fmla="*/ 29137 h 36293"/>
                    <a:gd name="connsiteX80" fmla="*/ 114502 w 178909"/>
                    <a:gd name="connsiteY80" fmla="*/ 29137 h 36293"/>
                    <a:gd name="connsiteX81" fmla="*/ 115525 w 178909"/>
                    <a:gd name="connsiteY81" fmla="*/ 28626 h 36293"/>
                    <a:gd name="connsiteX82" fmla="*/ 115525 w 178909"/>
                    <a:gd name="connsiteY82" fmla="*/ 16869 h 36293"/>
                    <a:gd name="connsiteX83" fmla="*/ 108368 w 178909"/>
                    <a:gd name="connsiteY83" fmla="*/ 8690 h 36293"/>
                    <a:gd name="connsiteX84" fmla="*/ 102234 w 178909"/>
                    <a:gd name="connsiteY84" fmla="*/ 11246 h 36293"/>
                    <a:gd name="connsiteX85" fmla="*/ 102234 w 178909"/>
                    <a:gd name="connsiteY85" fmla="*/ 11246 h 36293"/>
                    <a:gd name="connsiteX86" fmla="*/ 102234 w 178909"/>
                    <a:gd name="connsiteY86" fmla="*/ 9712 h 36293"/>
                    <a:gd name="connsiteX87" fmla="*/ 101212 w 178909"/>
                    <a:gd name="connsiteY87" fmla="*/ 9201 h 36293"/>
                    <a:gd name="connsiteX88" fmla="*/ 99678 w 178909"/>
                    <a:gd name="connsiteY88" fmla="*/ 9201 h 36293"/>
                    <a:gd name="connsiteX89" fmla="*/ 99167 w 178909"/>
                    <a:gd name="connsiteY89" fmla="*/ 9712 h 36293"/>
                    <a:gd name="connsiteX90" fmla="*/ 99167 w 178909"/>
                    <a:gd name="connsiteY90" fmla="*/ 28115 h 36293"/>
                    <a:gd name="connsiteX91" fmla="*/ 88433 w 178909"/>
                    <a:gd name="connsiteY91" fmla="*/ 3067 h 36293"/>
                    <a:gd name="connsiteX92" fmla="*/ 90988 w 178909"/>
                    <a:gd name="connsiteY92" fmla="*/ 5623 h 36293"/>
                    <a:gd name="connsiteX93" fmla="*/ 90988 w 178909"/>
                    <a:gd name="connsiteY93" fmla="*/ 5623 h 36293"/>
                    <a:gd name="connsiteX94" fmla="*/ 93544 w 178909"/>
                    <a:gd name="connsiteY94" fmla="*/ 3067 h 36293"/>
                    <a:gd name="connsiteX95" fmla="*/ 93544 w 178909"/>
                    <a:gd name="connsiteY95" fmla="*/ 2556 h 36293"/>
                    <a:gd name="connsiteX96" fmla="*/ 90988 w 178909"/>
                    <a:gd name="connsiteY96" fmla="*/ 0 h 36293"/>
                    <a:gd name="connsiteX97" fmla="*/ 90988 w 178909"/>
                    <a:gd name="connsiteY97" fmla="*/ 0 h 36293"/>
                    <a:gd name="connsiteX98" fmla="*/ 88433 w 178909"/>
                    <a:gd name="connsiteY98" fmla="*/ 3067 h 36293"/>
                    <a:gd name="connsiteX99" fmla="*/ 88433 w 178909"/>
                    <a:gd name="connsiteY99" fmla="*/ 3067 h 36293"/>
                    <a:gd name="connsiteX100" fmla="*/ 93033 w 178909"/>
                    <a:gd name="connsiteY100" fmla="*/ 9201 h 36293"/>
                    <a:gd name="connsiteX101" fmla="*/ 92011 w 178909"/>
                    <a:gd name="connsiteY101" fmla="*/ 8690 h 36293"/>
                    <a:gd name="connsiteX102" fmla="*/ 89966 w 178909"/>
                    <a:gd name="connsiteY102" fmla="*/ 8690 h 36293"/>
                    <a:gd name="connsiteX103" fmla="*/ 88944 w 178909"/>
                    <a:gd name="connsiteY103" fmla="*/ 9201 h 36293"/>
                    <a:gd name="connsiteX104" fmla="*/ 88944 w 178909"/>
                    <a:gd name="connsiteY104" fmla="*/ 28115 h 36293"/>
                    <a:gd name="connsiteX105" fmla="*/ 89966 w 178909"/>
                    <a:gd name="connsiteY105" fmla="*/ 28626 h 36293"/>
                    <a:gd name="connsiteX106" fmla="*/ 92011 w 178909"/>
                    <a:gd name="connsiteY106" fmla="*/ 28626 h 36293"/>
                    <a:gd name="connsiteX107" fmla="*/ 93033 w 178909"/>
                    <a:gd name="connsiteY107" fmla="*/ 28115 h 36293"/>
                    <a:gd name="connsiteX108" fmla="*/ 93033 w 178909"/>
                    <a:gd name="connsiteY108" fmla="*/ 9201 h 36293"/>
                    <a:gd name="connsiteX109" fmla="*/ 75653 w 178909"/>
                    <a:gd name="connsiteY109" fmla="*/ 11246 h 36293"/>
                    <a:gd name="connsiteX110" fmla="*/ 80254 w 178909"/>
                    <a:gd name="connsiteY110" fmla="*/ 17891 h 36293"/>
                    <a:gd name="connsiteX111" fmla="*/ 80254 w 178909"/>
                    <a:gd name="connsiteY111" fmla="*/ 19425 h 36293"/>
                    <a:gd name="connsiteX112" fmla="*/ 75653 w 178909"/>
                    <a:gd name="connsiteY112" fmla="*/ 26070 h 36293"/>
                    <a:gd name="connsiteX113" fmla="*/ 71053 w 178909"/>
                    <a:gd name="connsiteY113" fmla="*/ 21469 h 36293"/>
                    <a:gd name="connsiteX114" fmla="*/ 71053 w 178909"/>
                    <a:gd name="connsiteY114" fmla="*/ 15846 h 36293"/>
                    <a:gd name="connsiteX115" fmla="*/ 75653 w 178909"/>
                    <a:gd name="connsiteY115" fmla="*/ 11246 h 36293"/>
                    <a:gd name="connsiteX116" fmla="*/ 71053 w 178909"/>
                    <a:gd name="connsiteY116" fmla="*/ 27603 h 36293"/>
                    <a:gd name="connsiteX117" fmla="*/ 71053 w 178909"/>
                    <a:gd name="connsiteY117" fmla="*/ 27603 h 36293"/>
                    <a:gd name="connsiteX118" fmla="*/ 76165 w 178909"/>
                    <a:gd name="connsiteY118" fmla="*/ 29137 h 36293"/>
                    <a:gd name="connsiteX119" fmla="*/ 84343 w 178909"/>
                    <a:gd name="connsiteY119" fmla="*/ 19425 h 36293"/>
                    <a:gd name="connsiteX120" fmla="*/ 84343 w 178909"/>
                    <a:gd name="connsiteY120" fmla="*/ 17380 h 36293"/>
                    <a:gd name="connsiteX121" fmla="*/ 76676 w 178909"/>
                    <a:gd name="connsiteY121" fmla="*/ 7668 h 36293"/>
                    <a:gd name="connsiteX122" fmla="*/ 70542 w 178909"/>
                    <a:gd name="connsiteY122" fmla="*/ 10223 h 36293"/>
                    <a:gd name="connsiteX123" fmla="*/ 70542 w 178909"/>
                    <a:gd name="connsiteY123" fmla="*/ 10223 h 36293"/>
                    <a:gd name="connsiteX124" fmla="*/ 70031 w 178909"/>
                    <a:gd name="connsiteY124" fmla="*/ 8690 h 36293"/>
                    <a:gd name="connsiteX125" fmla="*/ 69519 w 178909"/>
                    <a:gd name="connsiteY125" fmla="*/ 8179 h 36293"/>
                    <a:gd name="connsiteX126" fmla="*/ 67986 w 178909"/>
                    <a:gd name="connsiteY126" fmla="*/ 8179 h 36293"/>
                    <a:gd name="connsiteX127" fmla="*/ 67475 w 178909"/>
                    <a:gd name="connsiteY127" fmla="*/ 8690 h 36293"/>
                    <a:gd name="connsiteX128" fmla="*/ 67475 w 178909"/>
                    <a:gd name="connsiteY128" fmla="*/ 35271 h 36293"/>
                    <a:gd name="connsiteX129" fmla="*/ 68497 w 178909"/>
                    <a:gd name="connsiteY129" fmla="*/ 35782 h 36293"/>
                    <a:gd name="connsiteX130" fmla="*/ 70542 w 178909"/>
                    <a:gd name="connsiteY130" fmla="*/ 35782 h 36293"/>
                    <a:gd name="connsiteX131" fmla="*/ 71564 w 178909"/>
                    <a:gd name="connsiteY131" fmla="*/ 35271 h 36293"/>
                    <a:gd name="connsiteX132" fmla="*/ 71564 w 178909"/>
                    <a:gd name="connsiteY132" fmla="*/ 27603 h 36293"/>
                    <a:gd name="connsiteX133" fmla="*/ 53673 w 178909"/>
                    <a:gd name="connsiteY133" fmla="*/ 11246 h 36293"/>
                    <a:gd name="connsiteX134" fmla="*/ 58274 w 178909"/>
                    <a:gd name="connsiteY134" fmla="*/ 17891 h 36293"/>
                    <a:gd name="connsiteX135" fmla="*/ 58274 w 178909"/>
                    <a:gd name="connsiteY135" fmla="*/ 19425 h 36293"/>
                    <a:gd name="connsiteX136" fmla="*/ 53673 w 178909"/>
                    <a:gd name="connsiteY136" fmla="*/ 26070 h 36293"/>
                    <a:gd name="connsiteX137" fmla="*/ 49072 w 178909"/>
                    <a:gd name="connsiteY137" fmla="*/ 21469 h 36293"/>
                    <a:gd name="connsiteX138" fmla="*/ 49072 w 178909"/>
                    <a:gd name="connsiteY138" fmla="*/ 15846 h 36293"/>
                    <a:gd name="connsiteX139" fmla="*/ 53673 w 178909"/>
                    <a:gd name="connsiteY139" fmla="*/ 11246 h 36293"/>
                    <a:gd name="connsiteX140" fmla="*/ 49072 w 178909"/>
                    <a:gd name="connsiteY140" fmla="*/ 27603 h 36293"/>
                    <a:gd name="connsiteX141" fmla="*/ 49072 w 178909"/>
                    <a:gd name="connsiteY141" fmla="*/ 27603 h 36293"/>
                    <a:gd name="connsiteX142" fmla="*/ 54184 w 178909"/>
                    <a:gd name="connsiteY142" fmla="*/ 29137 h 36293"/>
                    <a:gd name="connsiteX143" fmla="*/ 62363 w 178909"/>
                    <a:gd name="connsiteY143" fmla="*/ 19425 h 36293"/>
                    <a:gd name="connsiteX144" fmla="*/ 62363 w 178909"/>
                    <a:gd name="connsiteY144" fmla="*/ 17380 h 36293"/>
                    <a:gd name="connsiteX145" fmla="*/ 54695 w 178909"/>
                    <a:gd name="connsiteY145" fmla="*/ 7668 h 36293"/>
                    <a:gd name="connsiteX146" fmla="*/ 48561 w 178909"/>
                    <a:gd name="connsiteY146" fmla="*/ 10223 h 36293"/>
                    <a:gd name="connsiteX147" fmla="*/ 48561 w 178909"/>
                    <a:gd name="connsiteY147" fmla="*/ 10223 h 36293"/>
                    <a:gd name="connsiteX148" fmla="*/ 48050 w 178909"/>
                    <a:gd name="connsiteY148" fmla="*/ 8690 h 36293"/>
                    <a:gd name="connsiteX149" fmla="*/ 47539 w 178909"/>
                    <a:gd name="connsiteY149" fmla="*/ 8179 h 36293"/>
                    <a:gd name="connsiteX150" fmla="*/ 46005 w 178909"/>
                    <a:gd name="connsiteY150" fmla="*/ 8179 h 36293"/>
                    <a:gd name="connsiteX151" fmla="*/ 45494 w 178909"/>
                    <a:gd name="connsiteY151" fmla="*/ 8690 h 36293"/>
                    <a:gd name="connsiteX152" fmla="*/ 45494 w 178909"/>
                    <a:gd name="connsiteY152" fmla="*/ 35271 h 36293"/>
                    <a:gd name="connsiteX153" fmla="*/ 46517 w 178909"/>
                    <a:gd name="connsiteY153" fmla="*/ 35782 h 36293"/>
                    <a:gd name="connsiteX154" fmla="*/ 48561 w 178909"/>
                    <a:gd name="connsiteY154" fmla="*/ 35782 h 36293"/>
                    <a:gd name="connsiteX155" fmla="*/ 49584 w 178909"/>
                    <a:gd name="connsiteY155" fmla="*/ 35271 h 36293"/>
                    <a:gd name="connsiteX156" fmla="*/ 49584 w 178909"/>
                    <a:gd name="connsiteY156" fmla="*/ 27603 h 36293"/>
                    <a:gd name="connsiteX157" fmla="*/ 38338 w 178909"/>
                    <a:gd name="connsiteY157" fmla="*/ 2045 h 36293"/>
                    <a:gd name="connsiteX158" fmla="*/ 36293 w 178909"/>
                    <a:gd name="connsiteY158" fmla="*/ 0 h 36293"/>
                    <a:gd name="connsiteX159" fmla="*/ 35782 w 178909"/>
                    <a:gd name="connsiteY159" fmla="*/ 0 h 36293"/>
                    <a:gd name="connsiteX160" fmla="*/ 33737 w 178909"/>
                    <a:gd name="connsiteY160" fmla="*/ 2045 h 36293"/>
                    <a:gd name="connsiteX161" fmla="*/ 33737 w 178909"/>
                    <a:gd name="connsiteY161" fmla="*/ 2556 h 36293"/>
                    <a:gd name="connsiteX162" fmla="*/ 35782 w 178909"/>
                    <a:gd name="connsiteY162" fmla="*/ 4600 h 36293"/>
                    <a:gd name="connsiteX163" fmla="*/ 36293 w 178909"/>
                    <a:gd name="connsiteY163" fmla="*/ 4600 h 36293"/>
                    <a:gd name="connsiteX164" fmla="*/ 38338 w 178909"/>
                    <a:gd name="connsiteY164" fmla="*/ 2556 h 36293"/>
                    <a:gd name="connsiteX165" fmla="*/ 38338 w 178909"/>
                    <a:gd name="connsiteY165" fmla="*/ 2045 h 36293"/>
                    <a:gd name="connsiteX166" fmla="*/ 31181 w 178909"/>
                    <a:gd name="connsiteY166" fmla="*/ 2045 h 36293"/>
                    <a:gd name="connsiteX167" fmla="*/ 29137 w 178909"/>
                    <a:gd name="connsiteY167" fmla="*/ 0 h 36293"/>
                    <a:gd name="connsiteX168" fmla="*/ 28626 w 178909"/>
                    <a:gd name="connsiteY168" fmla="*/ 0 h 36293"/>
                    <a:gd name="connsiteX169" fmla="*/ 26581 w 178909"/>
                    <a:gd name="connsiteY169" fmla="*/ 2045 h 36293"/>
                    <a:gd name="connsiteX170" fmla="*/ 26581 w 178909"/>
                    <a:gd name="connsiteY170" fmla="*/ 2556 h 36293"/>
                    <a:gd name="connsiteX171" fmla="*/ 28626 w 178909"/>
                    <a:gd name="connsiteY171" fmla="*/ 4600 h 36293"/>
                    <a:gd name="connsiteX172" fmla="*/ 29137 w 178909"/>
                    <a:gd name="connsiteY172" fmla="*/ 4600 h 36293"/>
                    <a:gd name="connsiteX173" fmla="*/ 31181 w 178909"/>
                    <a:gd name="connsiteY173" fmla="*/ 2556 h 36293"/>
                    <a:gd name="connsiteX174" fmla="*/ 31181 w 178909"/>
                    <a:gd name="connsiteY174" fmla="*/ 2045 h 36293"/>
                    <a:gd name="connsiteX175" fmla="*/ 40894 w 178909"/>
                    <a:gd name="connsiteY175" fmla="*/ 17891 h 36293"/>
                    <a:gd name="connsiteX176" fmla="*/ 38849 w 178909"/>
                    <a:gd name="connsiteY176" fmla="*/ 10223 h 36293"/>
                    <a:gd name="connsiteX177" fmla="*/ 32204 w 178909"/>
                    <a:gd name="connsiteY177" fmla="*/ 8179 h 36293"/>
                    <a:gd name="connsiteX178" fmla="*/ 25559 w 178909"/>
                    <a:gd name="connsiteY178" fmla="*/ 10223 h 36293"/>
                    <a:gd name="connsiteX179" fmla="*/ 23514 w 178909"/>
                    <a:gd name="connsiteY179" fmla="*/ 17891 h 36293"/>
                    <a:gd name="connsiteX180" fmla="*/ 23514 w 178909"/>
                    <a:gd name="connsiteY180" fmla="*/ 19425 h 36293"/>
                    <a:gd name="connsiteX181" fmla="*/ 25559 w 178909"/>
                    <a:gd name="connsiteY181" fmla="*/ 27092 h 36293"/>
                    <a:gd name="connsiteX182" fmla="*/ 32204 w 178909"/>
                    <a:gd name="connsiteY182" fmla="*/ 29137 h 36293"/>
                    <a:gd name="connsiteX183" fmla="*/ 38849 w 178909"/>
                    <a:gd name="connsiteY183" fmla="*/ 27092 h 36293"/>
                    <a:gd name="connsiteX184" fmla="*/ 40894 w 178909"/>
                    <a:gd name="connsiteY184" fmla="*/ 19425 h 36293"/>
                    <a:gd name="connsiteX185" fmla="*/ 40894 w 178909"/>
                    <a:gd name="connsiteY185" fmla="*/ 17891 h 36293"/>
                    <a:gd name="connsiteX186" fmla="*/ 36804 w 178909"/>
                    <a:gd name="connsiteY186" fmla="*/ 18402 h 36293"/>
                    <a:gd name="connsiteX187" fmla="*/ 36804 w 178909"/>
                    <a:gd name="connsiteY187" fmla="*/ 19425 h 36293"/>
                    <a:gd name="connsiteX188" fmla="*/ 36293 w 178909"/>
                    <a:gd name="connsiteY188" fmla="*/ 24536 h 36293"/>
                    <a:gd name="connsiteX189" fmla="*/ 32204 w 178909"/>
                    <a:gd name="connsiteY189" fmla="*/ 26581 h 36293"/>
                    <a:gd name="connsiteX190" fmla="*/ 28114 w 178909"/>
                    <a:gd name="connsiteY190" fmla="*/ 24536 h 36293"/>
                    <a:gd name="connsiteX191" fmla="*/ 27603 w 178909"/>
                    <a:gd name="connsiteY191" fmla="*/ 19425 h 36293"/>
                    <a:gd name="connsiteX192" fmla="*/ 27603 w 178909"/>
                    <a:gd name="connsiteY192" fmla="*/ 18402 h 36293"/>
                    <a:gd name="connsiteX193" fmla="*/ 28114 w 178909"/>
                    <a:gd name="connsiteY193" fmla="*/ 13290 h 36293"/>
                    <a:gd name="connsiteX194" fmla="*/ 32204 w 178909"/>
                    <a:gd name="connsiteY194" fmla="*/ 11246 h 36293"/>
                    <a:gd name="connsiteX195" fmla="*/ 36293 w 178909"/>
                    <a:gd name="connsiteY195" fmla="*/ 13290 h 36293"/>
                    <a:gd name="connsiteX196" fmla="*/ 36804 w 178909"/>
                    <a:gd name="connsiteY196" fmla="*/ 18402 h 36293"/>
                    <a:gd name="connsiteX197" fmla="*/ 18913 w 178909"/>
                    <a:gd name="connsiteY197" fmla="*/ 2556 h 36293"/>
                    <a:gd name="connsiteX198" fmla="*/ 11757 w 178909"/>
                    <a:gd name="connsiteY198" fmla="*/ 1022 h 36293"/>
                    <a:gd name="connsiteX199" fmla="*/ 4089 w 178909"/>
                    <a:gd name="connsiteY199" fmla="*/ 3067 h 36293"/>
                    <a:gd name="connsiteX200" fmla="*/ 0 w 178909"/>
                    <a:gd name="connsiteY200" fmla="*/ 13801 h 36293"/>
                    <a:gd name="connsiteX201" fmla="*/ 0 w 178909"/>
                    <a:gd name="connsiteY201" fmla="*/ 15846 h 36293"/>
                    <a:gd name="connsiteX202" fmla="*/ 11246 w 178909"/>
                    <a:gd name="connsiteY202" fmla="*/ 29137 h 36293"/>
                    <a:gd name="connsiteX203" fmla="*/ 18913 w 178909"/>
                    <a:gd name="connsiteY203" fmla="*/ 28115 h 36293"/>
                    <a:gd name="connsiteX204" fmla="*/ 19936 w 178909"/>
                    <a:gd name="connsiteY204" fmla="*/ 26581 h 36293"/>
                    <a:gd name="connsiteX205" fmla="*/ 19936 w 178909"/>
                    <a:gd name="connsiteY205" fmla="*/ 14313 h 36293"/>
                    <a:gd name="connsiteX206" fmla="*/ 18913 w 178909"/>
                    <a:gd name="connsiteY206" fmla="*/ 13290 h 36293"/>
                    <a:gd name="connsiteX207" fmla="*/ 12268 w 178909"/>
                    <a:gd name="connsiteY207" fmla="*/ 13290 h 36293"/>
                    <a:gd name="connsiteX208" fmla="*/ 11246 w 178909"/>
                    <a:gd name="connsiteY208" fmla="*/ 14313 h 36293"/>
                    <a:gd name="connsiteX209" fmla="*/ 11246 w 178909"/>
                    <a:gd name="connsiteY209" fmla="*/ 16357 h 36293"/>
                    <a:gd name="connsiteX210" fmla="*/ 12268 w 178909"/>
                    <a:gd name="connsiteY210" fmla="*/ 17380 h 36293"/>
                    <a:gd name="connsiteX211" fmla="*/ 15846 w 178909"/>
                    <a:gd name="connsiteY211" fmla="*/ 17380 h 36293"/>
                    <a:gd name="connsiteX212" fmla="*/ 15846 w 178909"/>
                    <a:gd name="connsiteY212" fmla="*/ 25047 h 36293"/>
                    <a:gd name="connsiteX213" fmla="*/ 15335 w 178909"/>
                    <a:gd name="connsiteY213" fmla="*/ 25559 h 36293"/>
                    <a:gd name="connsiteX214" fmla="*/ 11246 w 178909"/>
                    <a:gd name="connsiteY214" fmla="*/ 25559 h 36293"/>
                    <a:gd name="connsiteX215" fmla="*/ 4089 w 178909"/>
                    <a:gd name="connsiteY215" fmla="*/ 15335 h 36293"/>
                    <a:gd name="connsiteX216" fmla="*/ 4089 w 178909"/>
                    <a:gd name="connsiteY216" fmla="*/ 14313 h 36293"/>
                    <a:gd name="connsiteX217" fmla="*/ 11246 w 178909"/>
                    <a:gd name="connsiteY217" fmla="*/ 4089 h 36293"/>
                    <a:gd name="connsiteX218" fmla="*/ 17380 w 178909"/>
                    <a:gd name="connsiteY218" fmla="*/ 5112 h 36293"/>
                    <a:gd name="connsiteX219" fmla="*/ 18402 w 178909"/>
                    <a:gd name="connsiteY219" fmla="*/ 4600 h 36293"/>
                    <a:gd name="connsiteX220" fmla="*/ 18913 w 178909"/>
                    <a:gd name="connsiteY220" fmla="*/ 3578 h 36293"/>
                    <a:gd name="connsiteX221" fmla="*/ 19424 w 178909"/>
                    <a:gd name="connsiteY221" fmla="*/ 2556 h 36293"/>
                    <a:gd name="connsiteX222" fmla="*/ 18913 w 178909"/>
                    <a:gd name="connsiteY222" fmla="*/ 2556 h 36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</a:cxnLst>
                  <a:rect l="l" t="t" r="r" b="b"/>
                  <a:pathLst>
                    <a:path w="178909" h="36293">
                      <a:moveTo>
                        <a:pt x="161530" y="28115"/>
                      </a:moveTo>
                      <a:cubicBezTo>
                        <a:pt x="161530" y="28626"/>
                        <a:pt x="162041" y="28626"/>
                        <a:pt x="162552" y="28626"/>
                      </a:cubicBezTo>
                      <a:lnTo>
                        <a:pt x="164597" y="28626"/>
                      </a:lnTo>
                      <a:cubicBezTo>
                        <a:pt x="165108" y="28626"/>
                        <a:pt x="165620" y="28626"/>
                        <a:pt x="165620" y="28115"/>
                      </a:cubicBezTo>
                      <a:lnTo>
                        <a:pt x="165620" y="15846"/>
                      </a:lnTo>
                      <a:cubicBezTo>
                        <a:pt x="165620" y="12268"/>
                        <a:pt x="167153" y="11246"/>
                        <a:pt x="170220" y="11246"/>
                      </a:cubicBezTo>
                      <a:cubicBezTo>
                        <a:pt x="173287" y="11246"/>
                        <a:pt x="174821" y="12779"/>
                        <a:pt x="174821" y="16357"/>
                      </a:cubicBezTo>
                      <a:lnTo>
                        <a:pt x="174821" y="28626"/>
                      </a:lnTo>
                      <a:cubicBezTo>
                        <a:pt x="174821" y="29137"/>
                        <a:pt x="175332" y="29137"/>
                        <a:pt x="175843" y="29137"/>
                      </a:cubicBezTo>
                      <a:lnTo>
                        <a:pt x="177888" y="29137"/>
                      </a:lnTo>
                      <a:cubicBezTo>
                        <a:pt x="178399" y="29137"/>
                        <a:pt x="178910" y="29137"/>
                        <a:pt x="178910" y="28626"/>
                      </a:cubicBezTo>
                      <a:lnTo>
                        <a:pt x="178910" y="16869"/>
                      </a:lnTo>
                      <a:cubicBezTo>
                        <a:pt x="178910" y="10735"/>
                        <a:pt x="176354" y="8690"/>
                        <a:pt x="171754" y="8690"/>
                      </a:cubicBezTo>
                      <a:cubicBezTo>
                        <a:pt x="168687" y="8690"/>
                        <a:pt x="167153" y="9712"/>
                        <a:pt x="165620" y="11246"/>
                      </a:cubicBezTo>
                      <a:lnTo>
                        <a:pt x="165620" y="11246"/>
                      </a:lnTo>
                      <a:lnTo>
                        <a:pt x="165620" y="9712"/>
                      </a:lnTo>
                      <a:cubicBezTo>
                        <a:pt x="165620" y="9201"/>
                        <a:pt x="165108" y="9201"/>
                        <a:pt x="164597" y="9201"/>
                      </a:cubicBezTo>
                      <a:lnTo>
                        <a:pt x="163064" y="9201"/>
                      </a:lnTo>
                      <a:cubicBezTo>
                        <a:pt x="162552" y="9201"/>
                        <a:pt x="162552" y="9201"/>
                        <a:pt x="162552" y="9712"/>
                      </a:cubicBezTo>
                      <a:lnTo>
                        <a:pt x="162552" y="28115"/>
                      </a:lnTo>
                      <a:close/>
                      <a:moveTo>
                        <a:pt x="144661" y="17380"/>
                      </a:moveTo>
                      <a:cubicBezTo>
                        <a:pt x="144661" y="13290"/>
                        <a:pt x="145173" y="11246"/>
                        <a:pt x="148751" y="11246"/>
                      </a:cubicBezTo>
                      <a:cubicBezTo>
                        <a:pt x="151818" y="11246"/>
                        <a:pt x="152840" y="12779"/>
                        <a:pt x="152840" y="16869"/>
                      </a:cubicBezTo>
                      <a:cubicBezTo>
                        <a:pt x="152840" y="17380"/>
                        <a:pt x="152840" y="17380"/>
                        <a:pt x="152329" y="17380"/>
                      </a:cubicBezTo>
                      <a:lnTo>
                        <a:pt x="144661" y="17380"/>
                      </a:lnTo>
                      <a:close/>
                      <a:moveTo>
                        <a:pt x="156930" y="16357"/>
                      </a:moveTo>
                      <a:cubicBezTo>
                        <a:pt x="156930" y="10223"/>
                        <a:pt x="154374" y="7668"/>
                        <a:pt x="149262" y="7668"/>
                      </a:cubicBezTo>
                      <a:cubicBezTo>
                        <a:pt x="143128" y="7668"/>
                        <a:pt x="141083" y="11246"/>
                        <a:pt x="141083" y="17891"/>
                      </a:cubicBezTo>
                      <a:lnTo>
                        <a:pt x="141083" y="19425"/>
                      </a:lnTo>
                      <a:cubicBezTo>
                        <a:pt x="141083" y="26581"/>
                        <a:pt x="143128" y="29648"/>
                        <a:pt x="149773" y="29648"/>
                      </a:cubicBezTo>
                      <a:cubicBezTo>
                        <a:pt x="151818" y="29648"/>
                        <a:pt x="154374" y="29137"/>
                        <a:pt x="155907" y="28626"/>
                      </a:cubicBezTo>
                      <a:cubicBezTo>
                        <a:pt x="156418" y="28626"/>
                        <a:pt x="156418" y="28115"/>
                        <a:pt x="156418" y="28115"/>
                      </a:cubicBezTo>
                      <a:cubicBezTo>
                        <a:pt x="156418" y="28115"/>
                        <a:pt x="156418" y="27603"/>
                        <a:pt x="156418" y="27092"/>
                      </a:cubicBezTo>
                      <a:lnTo>
                        <a:pt x="155907" y="26070"/>
                      </a:lnTo>
                      <a:cubicBezTo>
                        <a:pt x="155907" y="25559"/>
                        <a:pt x="155396" y="25559"/>
                        <a:pt x="155396" y="25559"/>
                      </a:cubicBezTo>
                      <a:cubicBezTo>
                        <a:pt x="155396" y="25559"/>
                        <a:pt x="154885" y="25559"/>
                        <a:pt x="154885" y="25559"/>
                      </a:cubicBezTo>
                      <a:cubicBezTo>
                        <a:pt x="153863" y="26070"/>
                        <a:pt x="151818" y="26581"/>
                        <a:pt x="150284" y="26581"/>
                      </a:cubicBezTo>
                      <a:cubicBezTo>
                        <a:pt x="146195" y="26581"/>
                        <a:pt x="145173" y="25047"/>
                        <a:pt x="145173" y="20958"/>
                      </a:cubicBezTo>
                      <a:lnTo>
                        <a:pt x="155907" y="20958"/>
                      </a:lnTo>
                      <a:cubicBezTo>
                        <a:pt x="156930" y="20958"/>
                        <a:pt x="156930" y="20447"/>
                        <a:pt x="156930" y="19936"/>
                      </a:cubicBezTo>
                      <a:lnTo>
                        <a:pt x="156930" y="16357"/>
                      </a:lnTo>
                      <a:close/>
                      <a:moveTo>
                        <a:pt x="136483" y="9201"/>
                      </a:moveTo>
                      <a:cubicBezTo>
                        <a:pt x="136483" y="8690"/>
                        <a:pt x="135972" y="8690"/>
                        <a:pt x="135460" y="8690"/>
                      </a:cubicBezTo>
                      <a:lnTo>
                        <a:pt x="133927" y="8690"/>
                      </a:lnTo>
                      <a:cubicBezTo>
                        <a:pt x="133416" y="8690"/>
                        <a:pt x="133416" y="8690"/>
                        <a:pt x="132905" y="9201"/>
                      </a:cubicBezTo>
                      <a:lnTo>
                        <a:pt x="132393" y="10735"/>
                      </a:lnTo>
                      <a:lnTo>
                        <a:pt x="132393" y="10735"/>
                      </a:lnTo>
                      <a:cubicBezTo>
                        <a:pt x="131371" y="9201"/>
                        <a:pt x="129326" y="8179"/>
                        <a:pt x="126770" y="8179"/>
                      </a:cubicBezTo>
                      <a:cubicBezTo>
                        <a:pt x="121148" y="8179"/>
                        <a:pt x="118592" y="10735"/>
                        <a:pt x="118592" y="17891"/>
                      </a:cubicBezTo>
                      <a:lnTo>
                        <a:pt x="118592" y="19425"/>
                      </a:lnTo>
                      <a:cubicBezTo>
                        <a:pt x="118592" y="26581"/>
                        <a:pt x="121148" y="29137"/>
                        <a:pt x="126770" y="29137"/>
                      </a:cubicBezTo>
                      <a:cubicBezTo>
                        <a:pt x="129326" y="29137"/>
                        <a:pt x="130860" y="28626"/>
                        <a:pt x="131882" y="27092"/>
                      </a:cubicBezTo>
                      <a:lnTo>
                        <a:pt x="131882" y="27092"/>
                      </a:lnTo>
                      <a:lnTo>
                        <a:pt x="131882" y="28626"/>
                      </a:lnTo>
                      <a:cubicBezTo>
                        <a:pt x="131882" y="30670"/>
                        <a:pt x="131371" y="31693"/>
                        <a:pt x="130860" y="32204"/>
                      </a:cubicBezTo>
                      <a:cubicBezTo>
                        <a:pt x="129838" y="32715"/>
                        <a:pt x="128815" y="33226"/>
                        <a:pt x="127282" y="33226"/>
                      </a:cubicBezTo>
                      <a:cubicBezTo>
                        <a:pt x="125748" y="33226"/>
                        <a:pt x="123704" y="32715"/>
                        <a:pt x="122170" y="32715"/>
                      </a:cubicBezTo>
                      <a:cubicBezTo>
                        <a:pt x="121659" y="32715"/>
                        <a:pt x="121148" y="32715"/>
                        <a:pt x="121148" y="33226"/>
                      </a:cubicBezTo>
                      <a:lnTo>
                        <a:pt x="120636" y="34248"/>
                      </a:lnTo>
                      <a:cubicBezTo>
                        <a:pt x="120636" y="34760"/>
                        <a:pt x="120636" y="35271"/>
                        <a:pt x="121148" y="35271"/>
                      </a:cubicBezTo>
                      <a:cubicBezTo>
                        <a:pt x="122681" y="35782"/>
                        <a:pt x="124726" y="36293"/>
                        <a:pt x="127282" y="36293"/>
                      </a:cubicBezTo>
                      <a:cubicBezTo>
                        <a:pt x="130349" y="36293"/>
                        <a:pt x="132393" y="35782"/>
                        <a:pt x="133927" y="34248"/>
                      </a:cubicBezTo>
                      <a:cubicBezTo>
                        <a:pt x="135460" y="32715"/>
                        <a:pt x="135972" y="30159"/>
                        <a:pt x="135972" y="27092"/>
                      </a:cubicBezTo>
                      <a:lnTo>
                        <a:pt x="135972" y="9201"/>
                      </a:lnTo>
                      <a:close/>
                      <a:moveTo>
                        <a:pt x="127793" y="11246"/>
                      </a:moveTo>
                      <a:cubicBezTo>
                        <a:pt x="130860" y="11246"/>
                        <a:pt x="132393" y="12779"/>
                        <a:pt x="132393" y="15846"/>
                      </a:cubicBezTo>
                      <a:lnTo>
                        <a:pt x="132393" y="21469"/>
                      </a:lnTo>
                      <a:cubicBezTo>
                        <a:pt x="132393" y="24536"/>
                        <a:pt x="130860" y="26070"/>
                        <a:pt x="127793" y="26070"/>
                      </a:cubicBezTo>
                      <a:cubicBezTo>
                        <a:pt x="124215" y="26070"/>
                        <a:pt x="123192" y="25047"/>
                        <a:pt x="123192" y="19425"/>
                      </a:cubicBezTo>
                      <a:lnTo>
                        <a:pt x="123192" y="18402"/>
                      </a:lnTo>
                      <a:cubicBezTo>
                        <a:pt x="123192" y="12779"/>
                        <a:pt x="124215" y="11246"/>
                        <a:pt x="127793" y="11246"/>
                      </a:cubicBezTo>
                      <a:moveTo>
                        <a:pt x="98656" y="28115"/>
                      </a:moveTo>
                      <a:cubicBezTo>
                        <a:pt x="98656" y="28626"/>
                        <a:pt x="99167" y="28626"/>
                        <a:pt x="99678" y="28626"/>
                      </a:cubicBezTo>
                      <a:lnTo>
                        <a:pt x="101723" y="28626"/>
                      </a:lnTo>
                      <a:cubicBezTo>
                        <a:pt x="102234" y="28626"/>
                        <a:pt x="102745" y="28626"/>
                        <a:pt x="102745" y="28115"/>
                      </a:cubicBezTo>
                      <a:lnTo>
                        <a:pt x="102745" y="15846"/>
                      </a:lnTo>
                      <a:cubicBezTo>
                        <a:pt x="102745" y="12268"/>
                        <a:pt x="104279" y="11246"/>
                        <a:pt x="106835" y="11246"/>
                      </a:cubicBezTo>
                      <a:cubicBezTo>
                        <a:pt x="109902" y="11246"/>
                        <a:pt x="111435" y="12779"/>
                        <a:pt x="111435" y="16357"/>
                      </a:cubicBezTo>
                      <a:lnTo>
                        <a:pt x="111435" y="28626"/>
                      </a:lnTo>
                      <a:cubicBezTo>
                        <a:pt x="111435" y="29137"/>
                        <a:pt x="111947" y="29137"/>
                        <a:pt x="112458" y="29137"/>
                      </a:cubicBezTo>
                      <a:lnTo>
                        <a:pt x="114502" y="29137"/>
                      </a:lnTo>
                      <a:cubicBezTo>
                        <a:pt x="115014" y="29137"/>
                        <a:pt x="115525" y="29137"/>
                        <a:pt x="115525" y="28626"/>
                      </a:cubicBezTo>
                      <a:lnTo>
                        <a:pt x="115525" y="16869"/>
                      </a:lnTo>
                      <a:cubicBezTo>
                        <a:pt x="115525" y="10735"/>
                        <a:pt x="112969" y="8690"/>
                        <a:pt x="108368" y="8690"/>
                      </a:cubicBezTo>
                      <a:cubicBezTo>
                        <a:pt x="105301" y="8690"/>
                        <a:pt x="103768" y="9712"/>
                        <a:pt x="102234" y="11246"/>
                      </a:cubicBezTo>
                      <a:lnTo>
                        <a:pt x="102234" y="11246"/>
                      </a:lnTo>
                      <a:lnTo>
                        <a:pt x="102234" y="9712"/>
                      </a:lnTo>
                      <a:cubicBezTo>
                        <a:pt x="102234" y="9201"/>
                        <a:pt x="101723" y="9201"/>
                        <a:pt x="101212" y="9201"/>
                      </a:cubicBezTo>
                      <a:lnTo>
                        <a:pt x="99678" y="9201"/>
                      </a:lnTo>
                      <a:cubicBezTo>
                        <a:pt x="99167" y="9201"/>
                        <a:pt x="99167" y="9201"/>
                        <a:pt x="99167" y="9712"/>
                      </a:cubicBezTo>
                      <a:lnTo>
                        <a:pt x="99167" y="28115"/>
                      </a:lnTo>
                      <a:close/>
                      <a:moveTo>
                        <a:pt x="88433" y="3067"/>
                      </a:moveTo>
                      <a:cubicBezTo>
                        <a:pt x="88433" y="4600"/>
                        <a:pt x="89455" y="5623"/>
                        <a:pt x="90988" y="5623"/>
                      </a:cubicBezTo>
                      <a:lnTo>
                        <a:pt x="90988" y="5623"/>
                      </a:lnTo>
                      <a:cubicBezTo>
                        <a:pt x="92522" y="5623"/>
                        <a:pt x="93544" y="5112"/>
                        <a:pt x="93544" y="3067"/>
                      </a:cubicBezTo>
                      <a:lnTo>
                        <a:pt x="93544" y="2556"/>
                      </a:lnTo>
                      <a:cubicBezTo>
                        <a:pt x="93544" y="1022"/>
                        <a:pt x="92522" y="0"/>
                        <a:pt x="90988" y="0"/>
                      </a:cubicBezTo>
                      <a:lnTo>
                        <a:pt x="90988" y="0"/>
                      </a:lnTo>
                      <a:cubicBezTo>
                        <a:pt x="89455" y="511"/>
                        <a:pt x="88433" y="1022"/>
                        <a:pt x="88433" y="3067"/>
                      </a:cubicBezTo>
                      <a:lnTo>
                        <a:pt x="88433" y="3067"/>
                      </a:lnTo>
                      <a:close/>
                      <a:moveTo>
                        <a:pt x="93033" y="9201"/>
                      </a:moveTo>
                      <a:cubicBezTo>
                        <a:pt x="93033" y="8690"/>
                        <a:pt x="93033" y="8690"/>
                        <a:pt x="92011" y="8690"/>
                      </a:cubicBezTo>
                      <a:lnTo>
                        <a:pt x="89966" y="8690"/>
                      </a:lnTo>
                      <a:cubicBezTo>
                        <a:pt x="89455" y="8690"/>
                        <a:pt x="88944" y="8690"/>
                        <a:pt x="88944" y="9201"/>
                      </a:cubicBezTo>
                      <a:lnTo>
                        <a:pt x="88944" y="28115"/>
                      </a:lnTo>
                      <a:cubicBezTo>
                        <a:pt x="88944" y="28626"/>
                        <a:pt x="88944" y="28626"/>
                        <a:pt x="89966" y="28626"/>
                      </a:cubicBezTo>
                      <a:lnTo>
                        <a:pt x="92011" y="28626"/>
                      </a:lnTo>
                      <a:cubicBezTo>
                        <a:pt x="92522" y="28626"/>
                        <a:pt x="93033" y="28626"/>
                        <a:pt x="93033" y="28115"/>
                      </a:cubicBezTo>
                      <a:lnTo>
                        <a:pt x="93033" y="9201"/>
                      </a:lnTo>
                      <a:close/>
                      <a:moveTo>
                        <a:pt x="75653" y="11246"/>
                      </a:moveTo>
                      <a:cubicBezTo>
                        <a:pt x="79232" y="11246"/>
                        <a:pt x="80254" y="12779"/>
                        <a:pt x="80254" y="17891"/>
                      </a:cubicBezTo>
                      <a:lnTo>
                        <a:pt x="80254" y="19425"/>
                      </a:lnTo>
                      <a:cubicBezTo>
                        <a:pt x="80254" y="24536"/>
                        <a:pt x="79232" y="26070"/>
                        <a:pt x="75653" y="26070"/>
                      </a:cubicBezTo>
                      <a:cubicBezTo>
                        <a:pt x="72586" y="26070"/>
                        <a:pt x="71053" y="25047"/>
                        <a:pt x="71053" y="21469"/>
                      </a:cubicBezTo>
                      <a:lnTo>
                        <a:pt x="71053" y="15846"/>
                      </a:lnTo>
                      <a:cubicBezTo>
                        <a:pt x="71053" y="12779"/>
                        <a:pt x="72075" y="11246"/>
                        <a:pt x="75653" y="11246"/>
                      </a:cubicBezTo>
                      <a:moveTo>
                        <a:pt x="71053" y="27603"/>
                      </a:moveTo>
                      <a:lnTo>
                        <a:pt x="71053" y="27603"/>
                      </a:lnTo>
                      <a:cubicBezTo>
                        <a:pt x="72075" y="28626"/>
                        <a:pt x="73609" y="29137"/>
                        <a:pt x="76165" y="29137"/>
                      </a:cubicBezTo>
                      <a:cubicBezTo>
                        <a:pt x="82299" y="29137"/>
                        <a:pt x="84343" y="25559"/>
                        <a:pt x="84343" y="19425"/>
                      </a:cubicBezTo>
                      <a:lnTo>
                        <a:pt x="84343" y="17380"/>
                      </a:lnTo>
                      <a:cubicBezTo>
                        <a:pt x="84343" y="10223"/>
                        <a:pt x="81787" y="7668"/>
                        <a:pt x="76676" y="7668"/>
                      </a:cubicBezTo>
                      <a:cubicBezTo>
                        <a:pt x="73609" y="7668"/>
                        <a:pt x="71564" y="8690"/>
                        <a:pt x="70542" y="10223"/>
                      </a:cubicBezTo>
                      <a:lnTo>
                        <a:pt x="70542" y="10223"/>
                      </a:lnTo>
                      <a:lnTo>
                        <a:pt x="70031" y="8690"/>
                      </a:lnTo>
                      <a:cubicBezTo>
                        <a:pt x="70031" y="8179"/>
                        <a:pt x="69519" y="8179"/>
                        <a:pt x="69519" y="8179"/>
                      </a:cubicBezTo>
                      <a:lnTo>
                        <a:pt x="67986" y="8179"/>
                      </a:lnTo>
                      <a:cubicBezTo>
                        <a:pt x="67475" y="8179"/>
                        <a:pt x="67475" y="8179"/>
                        <a:pt x="67475" y="8690"/>
                      </a:cubicBezTo>
                      <a:lnTo>
                        <a:pt x="67475" y="35271"/>
                      </a:lnTo>
                      <a:cubicBezTo>
                        <a:pt x="67475" y="35782"/>
                        <a:pt x="67475" y="35782"/>
                        <a:pt x="68497" y="35782"/>
                      </a:cubicBezTo>
                      <a:lnTo>
                        <a:pt x="70542" y="35782"/>
                      </a:lnTo>
                      <a:cubicBezTo>
                        <a:pt x="71053" y="35782"/>
                        <a:pt x="71564" y="35782"/>
                        <a:pt x="71564" y="35271"/>
                      </a:cubicBezTo>
                      <a:lnTo>
                        <a:pt x="71564" y="27603"/>
                      </a:lnTo>
                      <a:close/>
                      <a:moveTo>
                        <a:pt x="53673" y="11246"/>
                      </a:moveTo>
                      <a:cubicBezTo>
                        <a:pt x="57251" y="11246"/>
                        <a:pt x="58274" y="12779"/>
                        <a:pt x="58274" y="17891"/>
                      </a:cubicBezTo>
                      <a:lnTo>
                        <a:pt x="58274" y="19425"/>
                      </a:lnTo>
                      <a:cubicBezTo>
                        <a:pt x="58274" y="24536"/>
                        <a:pt x="57251" y="26070"/>
                        <a:pt x="53673" y="26070"/>
                      </a:cubicBezTo>
                      <a:cubicBezTo>
                        <a:pt x="50606" y="26070"/>
                        <a:pt x="49072" y="25047"/>
                        <a:pt x="49072" y="21469"/>
                      </a:cubicBezTo>
                      <a:lnTo>
                        <a:pt x="49072" y="15846"/>
                      </a:lnTo>
                      <a:cubicBezTo>
                        <a:pt x="49072" y="12779"/>
                        <a:pt x="50606" y="11246"/>
                        <a:pt x="53673" y="11246"/>
                      </a:cubicBezTo>
                      <a:moveTo>
                        <a:pt x="49072" y="27603"/>
                      </a:moveTo>
                      <a:lnTo>
                        <a:pt x="49072" y="27603"/>
                      </a:lnTo>
                      <a:cubicBezTo>
                        <a:pt x="50095" y="28626"/>
                        <a:pt x="51628" y="29137"/>
                        <a:pt x="54184" y="29137"/>
                      </a:cubicBezTo>
                      <a:cubicBezTo>
                        <a:pt x="60318" y="29137"/>
                        <a:pt x="62363" y="25559"/>
                        <a:pt x="62363" y="19425"/>
                      </a:cubicBezTo>
                      <a:lnTo>
                        <a:pt x="62363" y="17380"/>
                      </a:lnTo>
                      <a:cubicBezTo>
                        <a:pt x="62363" y="10223"/>
                        <a:pt x="59807" y="7668"/>
                        <a:pt x="54695" y="7668"/>
                      </a:cubicBezTo>
                      <a:cubicBezTo>
                        <a:pt x="51628" y="7668"/>
                        <a:pt x="49584" y="8690"/>
                        <a:pt x="48561" y="10223"/>
                      </a:cubicBezTo>
                      <a:lnTo>
                        <a:pt x="48561" y="10223"/>
                      </a:lnTo>
                      <a:lnTo>
                        <a:pt x="48050" y="8690"/>
                      </a:lnTo>
                      <a:cubicBezTo>
                        <a:pt x="48050" y="8179"/>
                        <a:pt x="47539" y="8179"/>
                        <a:pt x="47539" y="8179"/>
                      </a:cubicBezTo>
                      <a:lnTo>
                        <a:pt x="46005" y="8179"/>
                      </a:lnTo>
                      <a:cubicBezTo>
                        <a:pt x="45494" y="8179"/>
                        <a:pt x="45494" y="8179"/>
                        <a:pt x="45494" y="8690"/>
                      </a:cubicBezTo>
                      <a:lnTo>
                        <a:pt x="45494" y="35271"/>
                      </a:lnTo>
                      <a:cubicBezTo>
                        <a:pt x="45494" y="35782"/>
                        <a:pt x="45494" y="35782"/>
                        <a:pt x="46517" y="35782"/>
                      </a:cubicBezTo>
                      <a:lnTo>
                        <a:pt x="48561" y="35782"/>
                      </a:lnTo>
                      <a:cubicBezTo>
                        <a:pt x="49072" y="35782"/>
                        <a:pt x="49584" y="35782"/>
                        <a:pt x="49584" y="35271"/>
                      </a:cubicBezTo>
                      <a:lnTo>
                        <a:pt x="49584" y="27603"/>
                      </a:lnTo>
                      <a:close/>
                      <a:moveTo>
                        <a:pt x="38338" y="2045"/>
                      </a:moveTo>
                      <a:cubicBezTo>
                        <a:pt x="38338" y="511"/>
                        <a:pt x="37827" y="0"/>
                        <a:pt x="36293" y="0"/>
                      </a:cubicBezTo>
                      <a:lnTo>
                        <a:pt x="35782" y="0"/>
                      </a:lnTo>
                      <a:cubicBezTo>
                        <a:pt x="34760" y="0"/>
                        <a:pt x="33737" y="511"/>
                        <a:pt x="33737" y="2045"/>
                      </a:cubicBezTo>
                      <a:lnTo>
                        <a:pt x="33737" y="2556"/>
                      </a:lnTo>
                      <a:cubicBezTo>
                        <a:pt x="33737" y="4089"/>
                        <a:pt x="34249" y="4600"/>
                        <a:pt x="35782" y="4600"/>
                      </a:cubicBezTo>
                      <a:lnTo>
                        <a:pt x="36293" y="4600"/>
                      </a:lnTo>
                      <a:cubicBezTo>
                        <a:pt x="37827" y="4600"/>
                        <a:pt x="38338" y="4089"/>
                        <a:pt x="38338" y="2556"/>
                      </a:cubicBezTo>
                      <a:lnTo>
                        <a:pt x="38338" y="2045"/>
                      </a:lnTo>
                      <a:close/>
                      <a:moveTo>
                        <a:pt x="31181" y="2045"/>
                      </a:moveTo>
                      <a:cubicBezTo>
                        <a:pt x="31181" y="511"/>
                        <a:pt x="30670" y="0"/>
                        <a:pt x="29137" y="0"/>
                      </a:cubicBezTo>
                      <a:lnTo>
                        <a:pt x="28626" y="0"/>
                      </a:lnTo>
                      <a:cubicBezTo>
                        <a:pt x="27603" y="0"/>
                        <a:pt x="26581" y="511"/>
                        <a:pt x="26581" y="2045"/>
                      </a:cubicBezTo>
                      <a:lnTo>
                        <a:pt x="26581" y="2556"/>
                      </a:lnTo>
                      <a:cubicBezTo>
                        <a:pt x="26581" y="4089"/>
                        <a:pt x="27092" y="4600"/>
                        <a:pt x="28626" y="4600"/>
                      </a:cubicBezTo>
                      <a:lnTo>
                        <a:pt x="29137" y="4600"/>
                      </a:lnTo>
                      <a:cubicBezTo>
                        <a:pt x="30670" y="4600"/>
                        <a:pt x="31181" y="4089"/>
                        <a:pt x="31181" y="2556"/>
                      </a:cubicBezTo>
                      <a:lnTo>
                        <a:pt x="31181" y="2045"/>
                      </a:lnTo>
                      <a:close/>
                      <a:moveTo>
                        <a:pt x="40894" y="17891"/>
                      </a:moveTo>
                      <a:cubicBezTo>
                        <a:pt x="40894" y="14313"/>
                        <a:pt x="40383" y="11757"/>
                        <a:pt x="38849" y="10223"/>
                      </a:cubicBezTo>
                      <a:cubicBezTo>
                        <a:pt x="37315" y="8690"/>
                        <a:pt x="35271" y="8179"/>
                        <a:pt x="32204" y="8179"/>
                      </a:cubicBezTo>
                      <a:cubicBezTo>
                        <a:pt x="29648" y="8179"/>
                        <a:pt x="27092" y="8690"/>
                        <a:pt x="25559" y="10223"/>
                      </a:cubicBezTo>
                      <a:cubicBezTo>
                        <a:pt x="24025" y="11757"/>
                        <a:pt x="23514" y="14313"/>
                        <a:pt x="23514" y="17891"/>
                      </a:cubicBezTo>
                      <a:lnTo>
                        <a:pt x="23514" y="19425"/>
                      </a:lnTo>
                      <a:cubicBezTo>
                        <a:pt x="23514" y="23003"/>
                        <a:pt x="24025" y="25559"/>
                        <a:pt x="25559" y="27092"/>
                      </a:cubicBezTo>
                      <a:cubicBezTo>
                        <a:pt x="27092" y="28626"/>
                        <a:pt x="29137" y="29137"/>
                        <a:pt x="32204" y="29137"/>
                      </a:cubicBezTo>
                      <a:cubicBezTo>
                        <a:pt x="34760" y="29137"/>
                        <a:pt x="37315" y="28626"/>
                        <a:pt x="38849" y="27092"/>
                      </a:cubicBezTo>
                      <a:cubicBezTo>
                        <a:pt x="40383" y="25559"/>
                        <a:pt x="40894" y="23003"/>
                        <a:pt x="40894" y="19425"/>
                      </a:cubicBezTo>
                      <a:lnTo>
                        <a:pt x="40894" y="17891"/>
                      </a:lnTo>
                      <a:close/>
                      <a:moveTo>
                        <a:pt x="36804" y="18402"/>
                      </a:moveTo>
                      <a:lnTo>
                        <a:pt x="36804" y="19425"/>
                      </a:lnTo>
                      <a:cubicBezTo>
                        <a:pt x="36804" y="21980"/>
                        <a:pt x="36804" y="23514"/>
                        <a:pt x="36293" y="24536"/>
                      </a:cubicBezTo>
                      <a:cubicBezTo>
                        <a:pt x="35782" y="26070"/>
                        <a:pt x="34249" y="26581"/>
                        <a:pt x="32204" y="26581"/>
                      </a:cubicBezTo>
                      <a:cubicBezTo>
                        <a:pt x="30159" y="26581"/>
                        <a:pt x="29137" y="26070"/>
                        <a:pt x="28114" y="24536"/>
                      </a:cubicBezTo>
                      <a:cubicBezTo>
                        <a:pt x="27603" y="23514"/>
                        <a:pt x="27603" y="21980"/>
                        <a:pt x="27603" y="19425"/>
                      </a:cubicBezTo>
                      <a:lnTo>
                        <a:pt x="27603" y="18402"/>
                      </a:lnTo>
                      <a:cubicBezTo>
                        <a:pt x="27603" y="15846"/>
                        <a:pt x="27603" y="14313"/>
                        <a:pt x="28114" y="13290"/>
                      </a:cubicBezTo>
                      <a:cubicBezTo>
                        <a:pt x="28626" y="11757"/>
                        <a:pt x="30159" y="11246"/>
                        <a:pt x="32204" y="11246"/>
                      </a:cubicBezTo>
                      <a:cubicBezTo>
                        <a:pt x="34249" y="11246"/>
                        <a:pt x="35271" y="11757"/>
                        <a:pt x="36293" y="13290"/>
                      </a:cubicBezTo>
                      <a:cubicBezTo>
                        <a:pt x="36804" y="14313"/>
                        <a:pt x="36804" y="15846"/>
                        <a:pt x="36804" y="18402"/>
                      </a:cubicBezTo>
                      <a:moveTo>
                        <a:pt x="18913" y="2556"/>
                      </a:moveTo>
                      <a:cubicBezTo>
                        <a:pt x="16869" y="1533"/>
                        <a:pt x="14313" y="1022"/>
                        <a:pt x="11757" y="1022"/>
                      </a:cubicBezTo>
                      <a:cubicBezTo>
                        <a:pt x="8179" y="1022"/>
                        <a:pt x="5623" y="1533"/>
                        <a:pt x="4089" y="3067"/>
                      </a:cubicBezTo>
                      <a:cubicBezTo>
                        <a:pt x="1533" y="5112"/>
                        <a:pt x="0" y="8690"/>
                        <a:pt x="0" y="13801"/>
                      </a:cubicBezTo>
                      <a:lnTo>
                        <a:pt x="0" y="15846"/>
                      </a:lnTo>
                      <a:cubicBezTo>
                        <a:pt x="0" y="25559"/>
                        <a:pt x="2556" y="29137"/>
                        <a:pt x="11246" y="29137"/>
                      </a:cubicBezTo>
                      <a:cubicBezTo>
                        <a:pt x="13802" y="29137"/>
                        <a:pt x="16869" y="28626"/>
                        <a:pt x="18913" y="28115"/>
                      </a:cubicBezTo>
                      <a:cubicBezTo>
                        <a:pt x="19936" y="28115"/>
                        <a:pt x="19936" y="27603"/>
                        <a:pt x="19936" y="26581"/>
                      </a:cubicBezTo>
                      <a:lnTo>
                        <a:pt x="19936" y="14313"/>
                      </a:lnTo>
                      <a:cubicBezTo>
                        <a:pt x="19936" y="13801"/>
                        <a:pt x="19936" y="13290"/>
                        <a:pt x="18913" y="13290"/>
                      </a:cubicBezTo>
                      <a:lnTo>
                        <a:pt x="12268" y="13290"/>
                      </a:lnTo>
                      <a:cubicBezTo>
                        <a:pt x="11757" y="13290"/>
                        <a:pt x="11246" y="13290"/>
                        <a:pt x="11246" y="14313"/>
                      </a:cubicBezTo>
                      <a:lnTo>
                        <a:pt x="11246" y="16357"/>
                      </a:lnTo>
                      <a:cubicBezTo>
                        <a:pt x="11246" y="16869"/>
                        <a:pt x="11246" y="17380"/>
                        <a:pt x="12268" y="17380"/>
                      </a:cubicBezTo>
                      <a:lnTo>
                        <a:pt x="15846" y="17380"/>
                      </a:lnTo>
                      <a:lnTo>
                        <a:pt x="15846" y="25047"/>
                      </a:lnTo>
                      <a:cubicBezTo>
                        <a:pt x="15846" y="25559"/>
                        <a:pt x="15846" y="25559"/>
                        <a:pt x="15335" y="25559"/>
                      </a:cubicBezTo>
                      <a:cubicBezTo>
                        <a:pt x="14313" y="25559"/>
                        <a:pt x="12779" y="25559"/>
                        <a:pt x="11246" y="25559"/>
                      </a:cubicBezTo>
                      <a:cubicBezTo>
                        <a:pt x="6134" y="25559"/>
                        <a:pt x="4089" y="23514"/>
                        <a:pt x="4089" y="15335"/>
                      </a:cubicBezTo>
                      <a:lnTo>
                        <a:pt x="4089" y="14313"/>
                      </a:lnTo>
                      <a:cubicBezTo>
                        <a:pt x="4089" y="6645"/>
                        <a:pt x="6134" y="4089"/>
                        <a:pt x="11246" y="4089"/>
                      </a:cubicBezTo>
                      <a:cubicBezTo>
                        <a:pt x="13290" y="4089"/>
                        <a:pt x="15846" y="4600"/>
                        <a:pt x="17380" y="5112"/>
                      </a:cubicBezTo>
                      <a:cubicBezTo>
                        <a:pt x="17891" y="5112"/>
                        <a:pt x="18402" y="5112"/>
                        <a:pt x="18402" y="4600"/>
                      </a:cubicBezTo>
                      <a:lnTo>
                        <a:pt x="18913" y="3578"/>
                      </a:lnTo>
                      <a:cubicBezTo>
                        <a:pt x="18913" y="3067"/>
                        <a:pt x="19424" y="2556"/>
                        <a:pt x="19424" y="2556"/>
                      </a:cubicBezTo>
                      <a:cubicBezTo>
                        <a:pt x="19424" y="3067"/>
                        <a:pt x="18913" y="3067"/>
                        <a:pt x="18913" y="2556"/>
                      </a:cubicBezTo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4" name="Freihandform: Form 123">
                  <a:extLst>
                    <a:ext uri="{FF2B5EF4-FFF2-40B4-BE49-F238E27FC236}">
                      <a16:creationId xmlns:a16="http://schemas.microsoft.com/office/drawing/2014/main" id="{7007A206-E5EA-4EC2-8311-2FB2BF04E0A7}"/>
                    </a:ext>
                  </a:extLst>
                </p:cNvPr>
                <p:cNvSpPr/>
                <p:nvPr/>
              </p:nvSpPr>
              <p:spPr>
                <a:xfrm>
                  <a:off x="6638967" y="4556251"/>
                  <a:ext cx="168175" cy="36293"/>
                </a:xfrm>
                <a:custGeom>
                  <a:avLst/>
                  <a:gdLst>
                    <a:gd name="connsiteX0" fmla="*/ 158974 w 168175"/>
                    <a:gd name="connsiteY0" fmla="*/ 31181 h 36293"/>
                    <a:gd name="connsiteX1" fmla="*/ 158463 w 168175"/>
                    <a:gd name="connsiteY1" fmla="*/ 32204 h 36293"/>
                    <a:gd name="connsiteX2" fmla="*/ 158974 w 168175"/>
                    <a:gd name="connsiteY2" fmla="*/ 32715 h 36293"/>
                    <a:gd name="connsiteX3" fmla="*/ 159997 w 168175"/>
                    <a:gd name="connsiteY3" fmla="*/ 33226 h 36293"/>
                    <a:gd name="connsiteX4" fmla="*/ 161019 w 168175"/>
                    <a:gd name="connsiteY4" fmla="*/ 33737 h 36293"/>
                    <a:gd name="connsiteX5" fmla="*/ 162041 w 168175"/>
                    <a:gd name="connsiteY5" fmla="*/ 33226 h 36293"/>
                    <a:gd name="connsiteX6" fmla="*/ 168175 w 168175"/>
                    <a:gd name="connsiteY6" fmla="*/ 16869 h 36293"/>
                    <a:gd name="connsiteX7" fmla="*/ 162041 w 168175"/>
                    <a:gd name="connsiteY7" fmla="*/ 511 h 36293"/>
                    <a:gd name="connsiteX8" fmla="*/ 161019 w 168175"/>
                    <a:gd name="connsiteY8" fmla="*/ 0 h 36293"/>
                    <a:gd name="connsiteX9" fmla="*/ 159997 w 168175"/>
                    <a:gd name="connsiteY9" fmla="*/ 511 h 36293"/>
                    <a:gd name="connsiteX10" fmla="*/ 158974 w 168175"/>
                    <a:gd name="connsiteY10" fmla="*/ 1022 h 36293"/>
                    <a:gd name="connsiteX11" fmla="*/ 158463 w 168175"/>
                    <a:gd name="connsiteY11" fmla="*/ 1533 h 36293"/>
                    <a:gd name="connsiteX12" fmla="*/ 158974 w 168175"/>
                    <a:gd name="connsiteY12" fmla="*/ 2556 h 36293"/>
                    <a:gd name="connsiteX13" fmla="*/ 163575 w 168175"/>
                    <a:gd name="connsiteY13" fmla="*/ 16358 h 36293"/>
                    <a:gd name="connsiteX14" fmla="*/ 158974 w 168175"/>
                    <a:gd name="connsiteY14" fmla="*/ 31181 h 36293"/>
                    <a:gd name="connsiteX15" fmla="*/ 150796 w 168175"/>
                    <a:gd name="connsiteY15" fmla="*/ 22492 h 36293"/>
                    <a:gd name="connsiteX16" fmla="*/ 149773 w 168175"/>
                    <a:gd name="connsiteY16" fmla="*/ 25559 h 36293"/>
                    <a:gd name="connsiteX17" fmla="*/ 146706 w 168175"/>
                    <a:gd name="connsiteY17" fmla="*/ 26581 h 36293"/>
                    <a:gd name="connsiteX18" fmla="*/ 143639 w 168175"/>
                    <a:gd name="connsiteY18" fmla="*/ 25559 h 36293"/>
                    <a:gd name="connsiteX19" fmla="*/ 142617 w 168175"/>
                    <a:gd name="connsiteY19" fmla="*/ 22492 h 36293"/>
                    <a:gd name="connsiteX20" fmla="*/ 142617 w 168175"/>
                    <a:gd name="connsiteY20" fmla="*/ 9201 h 36293"/>
                    <a:gd name="connsiteX21" fmla="*/ 141595 w 168175"/>
                    <a:gd name="connsiteY21" fmla="*/ 8690 h 36293"/>
                    <a:gd name="connsiteX22" fmla="*/ 139550 w 168175"/>
                    <a:gd name="connsiteY22" fmla="*/ 8690 h 36293"/>
                    <a:gd name="connsiteX23" fmla="*/ 138527 w 168175"/>
                    <a:gd name="connsiteY23" fmla="*/ 9201 h 36293"/>
                    <a:gd name="connsiteX24" fmla="*/ 138527 w 168175"/>
                    <a:gd name="connsiteY24" fmla="*/ 23003 h 36293"/>
                    <a:gd name="connsiteX25" fmla="*/ 140572 w 168175"/>
                    <a:gd name="connsiteY25" fmla="*/ 28115 h 36293"/>
                    <a:gd name="connsiteX26" fmla="*/ 146706 w 168175"/>
                    <a:gd name="connsiteY26" fmla="*/ 29648 h 36293"/>
                    <a:gd name="connsiteX27" fmla="*/ 152329 w 168175"/>
                    <a:gd name="connsiteY27" fmla="*/ 28115 h 36293"/>
                    <a:gd name="connsiteX28" fmla="*/ 154374 w 168175"/>
                    <a:gd name="connsiteY28" fmla="*/ 23003 h 36293"/>
                    <a:gd name="connsiteX29" fmla="*/ 154374 w 168175"/>
                    <a:gd name="connsiteY29" fmla="*/ 9201 h 36293"/>
                    <a:gd name="connsiteX30" fmla="*/ 153351 w 168175"/>
                    <a:gd name="connsiteY30" fmla="*/ 8179 h 36293"/>
                    <a:gd name="connsiteX31" fmla="*/ 151307 w 168175"/>
                    <a:gd name="connsiteY31" fmla="*/ 8179 h 36293"/>
                    <a:gd name="connsiteX32" fmla="*/ 150284 w 168175"/>
                    <a:gd name="connsiteY32" fmla="*/ 8690 h 36293"/>
                    <a:gd name="connsiteX33" fmla="*/ 150284 w 168175"/>
                    <a:gd name="connsiteY33" fmla="*/ 22492 h 36293"/>
                    <a:gd name="connsiteX34" fmla="*/ 129838 w 168175"/>
                    <a:gd name="connsiteY34" fmla="*/ 22492 h 36293"/>
                    <a:gd name="connsiteX35" fmla="*/ 125748 w 168175"/>
                    <a:gd name="connsiteY35" fmla="*/ 26070 h 36293"/>
                    <a:gd name="connsiteX36" fmla="*/ 124215 w 168175"/>
                    <a:gd name="connsiteY36" fmla="*/ 26070 h 36293"/>
                    <a:gd name="connsiteX37" fmla="*/ 121148 w 168175"/>
                    <a:gd name="connsiteY37" fmla="*/ 23003 h 36293"/>
                    <a:gd name="connsiteX38" fmla="*/ 121148 w 168175"/>
                    <a:gd name="connsiteY38" fmla="*/ 22492 h 36293"/>
                    <a:gd name="connsiteX39" fmla="*/ 125237 w 168175"/>
                    <a:gd name="connsiteY39" fmla="*/ 19425 h 36293"/>
                    <a:gd name="connsiteX40" fmla="*/ 127282 w 168175"/>
                    <a:gd name="connsiteY40" fmla="*/ 19425 h 36293"/>
                    <a:gd name="connsiteX41" fmla="*/ 129326 w 168175"/>
                    <a:gd name="connsiteY41" fmla="*/ 19425 h 36293"/>
                    <a:gd name="connsiteX42" fmla="*/ 129326 w 168175"/>
                    <a:gd name="connsiteY42" fmla="*/ 22492 h 36293"/>
                    <a:gd name="connsiteX43" fmla="*/ 130349 w 168175"/>
                    <a:gd name="connsiteY43" fmla="*/ 28626 h 36293"/>
                    <a:gd name="connsiteX44" fmla="*/ 131371 w 168175"/>
                    <a:gd name="connsiteY44" fmla="*/ 29137 h 36293"/>
                    <a:gd name="connsiteX45" fmla="*/ 132905 w 168175"/>
                    <a:gd name="connsiteY45" fmla="*/ 29137 h 36293"/>
                    <a:gd name="connsiteX46" fmla="*/ 133416 w 168175"/>
                    <a:gd name="connsiteY46" fmla="*/ 28626 h 36293"/>
                    <a:gd name="connsiteX47" fmla="*/ 133416 w 168175"/>
                    <a:gd name="connsiteY47" fmla="*/ 15335 h 36293"/>
                    <a:gd name="connsiteX48" fmla="*/ 125748 w 168175"/>
                    <a:gd name="connsiteY48" fmla="*/ 8179 h 36293"/>
                    <a:gd name="connsiteX49" fmla="*/ 119614 w 168175"/>
                    <a:gd name="connsiteY49" fmla="*/ 9201 h 36293"/>
                    <a:gd name="connsiteX50" fmla="*/ 119103 w 168175"/>
                    <a:gd name="connsiteY50" fmla="*/ 9712 h 36293"/>
                    <a:gd name="connsiteX51" fmla="*/ 119103 w 168175"/>
                    <a:gd name="connsiteY51" fmla="*/ 10735 h 36293"/>
                    <a:gd name="connsiteX52" fmla="*/ 119103 w 168175"/>
                    <a:gd name="connsiteY52" fmla="*/ 11757 h 36293"/>
                    <a:gd name="connsiteX53" fmla="*/ 119614 w 168175"/>
                    <a:gd name="connsiteY53" fmla="*/ 12268 h 36293"/>
                    <a:gd name="connsiteX54" fmla="*/ 120636 w 168175"/>
                    <a:gd name="connsiteY54" fmla="*/ 12268 h 36293"/>
                    <a:gd name="connsiteX55" fmla="*/ 125237 w 168175"/>
                    <a:gd name="connsiteY55" fmla="*/ 11757 h 36293"/>
                    <a:gd name="connsiteX56" fmla="*/ 129326 w 168175"/>
                    <a:gd name="connsiteY56" fmla="*/ 15335 h 36293"/>
                    <a:gd name="connsiteX57" fmla="*/ 129326 w 168175"/>
                    <a:gd name="connsiteY57" fmla="*/ 16869 h 36293"/>
                    <a:gd name="connsiteX58" fmla="*/ 126771 w 168175"/>
                    <a:gd name="connsiteY58" fmla="*/ 16869 h 36293"/>
                    <a:gd name="connsiteX59" fmla="*/ 125748 w 168175"/>
                    <a:gd name="connsiteY59" fmla="*/ 16869 h 36293"/>
                    <a:gd name="connsiteX60" fmla="*/ 119103 w 168175"/>
                    <a:gd name="connsiteY60" fmla="*/ 18402 h 36293"/>
                    <a:gd name="connsiteX61" fmla="*/ 117058 w 168175"/>
                    <a:gd name="connsiteY61" fmla="*/ 23514 h 36293"/>
                    <a:gd name="connsiteX62" fmla="*/ 117058 w 168175"/>
                    <a:gd name="connsiteY62" fmla="*/ 24025 h 36293"/>
                    <a:gd name="connsiteX63" fmla="*/ 123192 w 168175"/>
                    <a:gd name="connsiteY63" fmla="*/ 30159 h 36293"/>
                    <a:gd name="connsiteX64" fmla="*/ 124726 w 168175"/>
                    <a:gd name="connsiteY64" fmla="*/ 30159 h 36293"/>
                    <a:gd name="connsiteX65" fmla="*/ 129838 w 168175"/>
                    <a:gd name="connsiteY65" fmla="*/ 28115 h 36293"/>
                    <a:gd name="connsiteX66" fmla="*/ 129838 w 168175"/>
                    <a:gd name="connsiteY66" fmla="*/ 28115 h 36293"/>
                    <a:gd name="connsiteX67" fmla="*/ 130349 w 168175"/>
                    <a:gd name="connsiteY67" fmla="*/ 28626 h 36293"/>
                    <a:gd name="connsiteX68" fmla="*/ 113480 w 168175"/>
                    <a:gd name="connsiteY68" fmla="*/ 9201 h 36293"/>
                    <a:gd name="connsiteX69" fmla="*/ 112458 w 168175"/>
                    <a:gd name="connsiteY69" fmla="*/ 8690 h 36293"/>
                    <a:gd name="connsiteX70" fmla="*/ 110924 w 168175"/>
                    <a:gd name="connsiteY70" fmla="*/ 8690 h 36293"/>
                    <a:gd name="connsiteX71" fmla="*/ 109902 w 168175"/>
                    <a:gd name="connsiteY71" fmla="*/ 9201 h 36293"/>
                    <a:gd name="connsiteX72" fmla="*/ 109902 w 168175"/>
                    <a:gd name="connsiteY72" fmla="*/ 10735 h 36293"/>
                    <a:gd name="connsiteX73" fmla="*/ 109902 w 168175"/>
                    <a:gd name="connsiteY73" fmla="*/ 10735 h 36293"/>
                    <a:gd name="connsiteX74" fmla="*/ 104279 w 168175"/>
                    <a:gd name="connsiteY74" fmla="*/ 8179 h 36293"/>
                    <a:gd name="connsiteX75" fmla="*/ 96100 w 168175"/>
                    <a:gd name="connsiteY75" fmla="*/ 17891 h 36293"/>
                    <a:gd name="connsiteX76" fmla="*/ 96100 w 168175"/>
                    <a:gd name="connsiteY76" fmla="*/ 19425 h 36293"/>
                    <a:gd name="connsiteX77" fmla="*/ 104279 w 168175"/>
                    <a:gd name="connsiteY77" fmla="*/ 29137 h 36293"/>
                    <a:gd name="connsiteX78" fmla="*/ 109391 w 168175"/>
                    <a:gd name="connsiteY78" fmla="*/ 27092 h 36293"/>
                    <a:gd name="connsiteX79" fmla="*/ 109391 w 168175"/>
                    <a:gd name="connsiteY79" fmla="*/ 27092 h 36293"/>
                    <a:gd name="connsiteX80" fmla="*/ 109391 w 168175"/>
                    <a:gd name="connsiteY80" fmla="*/ 28626 h 36293"/>
                    <a:gd name="connsiteX81" fmla="*/ 108368 w 168175"/>
                    <a:gd name="connsiteY81" fmla="*/ 32204 h 36293"/>
                    <a:gd name="connsiteX82" fmla="*/ 104790 w 168175"/>
                    <a:gd name="connsiteY82" fmla="*/ 33226 h 36293"/>
                    <a:gd name="connsiteX83" fmla="*/ 99678 w 168175"/>
                    <a:gd name="connsiteY83" fmla="*/ 32715 h 36293"/>
                    <a:gd name="connsiteX84" fmla="*/ 98656 w 168175"/>
                    <a:gd name="connsiteY84" fmla="*/ 33226 h 36293"/>
                    <a:gd name="connsiteX85" fmla="*/ 98145 w 168175"/>
                    <a:gd name="connsiteY85" fmla="*/ 34249 h 36293"/>
                    <a:gd name="connsiteX86" fmla="*/ 98656 w 168175"/>
                    <a:gd name="connsiteY86" fmla="*/ 35271 h 36293"/>
                    <a:gd name="connsiteX87" fmla="*/ 104790 w 168175"/>
                    <a:gd name="connsiteY87" fmla="*/ 36293 h 36293"/>
                    <a:gd name="connsiteX88" fmla="*/ 111435 w 168175"/>
                    <a:gd name="connsiteY88" fmla="*/ 34249 h 36293"/>
                    <a:gd name="connsiteX89" fmla="*/ 113480 w 168175"/>
                    <a:gd name="connsiteY89" fmla="*/ 27092 h 36293"/>
                    <a:gd name="connsiteX90" fmla="*/ 113480 w 168175"/>
                    <a:gd name="connsiteY90" fmla="*/ 9201 h 36293"/>
                    <a:gd name="connsiteX91" fmla="*/ 104790 w 168175"/>
                    <a:gd name="connsiteY91" fmla="*/ 11246 h 36293"/>
                    <a:gd name="connsiteX92" fmla="*/ 109391 w 168175"/>
                    <a:gd name="connsiteY92" fmla="*/ 15846 h 36293"/>
                    <a:gd name="connsiteX93" fmla="*/ 109391 w 168175"/>
                    <a:gd name="connsiteY93" fmla="*/ 21469 h 36293"/>
                    <a:gd name="connsiteX94" fmla="*/ 104790 w 168175"/>
                    <a:gd name="connsiteY94" fmla="*/ 26070 h 36293"/>
                    <a:gd name="connsiteX95" fmla="*/ 100190 w 168175"/>
                    <a:gd name="connsiteY95" fmla="*/ 19425 h 36293"/>
                    <a:gd name="connsiteX96" fmla="*/ 100190 w 168175"/>
                    <a:gd name="connsiteY96" fmla="*/ 18402 h 36293"/>
                    <a:gd name="connsiteX97" fmla="*/ 104790 w 168175"/>
                    <a:gd name="connsiteY97" fmla="*/ 11246 h 36293"/>
                    <a:gd name="connsiteX98" fmla="*/ 85366 w 168175"/>
                    <a:gd name="connsiteY98" fmla="*/ 29648 h 36293"/>
                    <a:gd name="connsiteX99" fmla="*/ 93033 w 168175"/>
                    <a:gd name="connsiteY99" fmla="*/ 23514 h 36293"/>
                    <a:gd name="connsiteX100" fmla="*/ 93033 w 168175"/>
                    <a:gd name="connsiteY100" fmla="*/ 23003 h 36293"/>
                    <a:gd name="connsiteX101" fmla="*/ 87922 w 168175"/>
                    <a:gd name="connsiteY101" fmla="*/ 16869 h 36293"/>
                    <a:gd name="connsiteX102" fmla="*/ 85877 w 168175"/>
                    <a:gd name="connsiteY102" fmla="*/ 16358 h 36293"/>
                    <a:gd name="connsiteX103" fmla="*/ 82810 w 168175"/>
                    <a:gd name="connsiteY103" fmla="*/ 13802 h 36293"/>
                    <a:gd name="connsiteX104" fmla="*/ 82810 w 168175"/>
                    <a:gd name="connsiteY104" fmla="*/ 13802 h 36293"/>
                    <a:gd name="connsiteX105" fmla="*/ 86388 w 168175"/>
                    <a:gd name="connsiteY105" fmla="*/ 11246 h 36293"/>
                    <a:gd name="connsiteX106" fmla="*/ 89966 w 168175"/>
                    <a:gd name="connsiteY106" fmla="*/ 11757 h 36293"/>
                    <a:gd name="connsiteX107" fmla="*/ 90989 w 168175"/>
                    <a:gd name="connsiteY107" fmla="*/ 11757 h 36293"/>
                    <a:gd name="connsiteX108" fmla="*/ 91500 w 168175"/>
                    <a:gd name="connsiteY108" fmla="*/ 11246 h 36293"/>
                    <a:gd name="connsiteX109" fmla="*/ 91500 w 168175"/>
                    <a:gd name="connsiteY109" fmla="*/ 10223 h 36293"/>
                    <a:gd name="connsiteX110" fmla="*/ 92011 w 168175"/>
                    <a:gd name="connsiteY110" fmla="*/ 9201 h 36293"/>
                    <a:gd name="connsiteX111" fmla="*/ 91500 w 168175"/>
                    <a:gd name="connsiteY111" fmla="*/ 8690 h 36293"/>
                    <a:gd name="connsiteX112" fmla="*/ 86388 w 168175"/>
                    <a:gd name="connsiteY112" fmla="*/ 8179 h 36293"/>
                    <a:gd name="connsiteX113" fmla="*/ 79232 w 168175"/>
                    <a:gd name="connsiteY113" fmla="*/ 13802 h 36293"/>
                    <a:gd name="connsiteX114" fmla="*/ 79232 w 168175"/>
                    <a:gd name="connsiteY114" fmla="*/ 14313 h 36293"/>
                    <a:gd name="connsiteX115" fmla="*/ 84343 w 168175"/>
                    <a:gd name="connsiteY115" fmla="*/ 19936 h 36293"/>
                    <a:gd name="connsiteX116" fmla="*/ 86388 w 168175"/>
                    <a:gd name="connsiteY116" fmla="*/ 20447 h 36293"/>
                    <a:gd name="connsiteX117" fmla="*/ 89455 w 168175"/>
                    <a:gd name="connsiteY117" fmla="*/ 23514 h 36293"/>
                    <a:gd name="connsiteX118" fmla="*/ 89455 w 168175"/>
                    <a:gd name="connsiteY118" fmla="*/ 23514 h 36293"/>
                    <a:gd name="connsiteX119" fmla="*/ 85366 w 168175"/>
                    <a:gd name="connsiteY119" fmla="*/ 26581 h 36293"/>
                    <a:gd name="connsiteX120" fmla="*/ 81276 w 168175"/>
                    <a:gd name="connsiteY120" fmla="*/ 26070 h 36293"/>
                    <a:gd name="connsiteX121" fmla="*/ 79743 w 168175"/>
                    <a:gd name="connsiteY121" fmla="*/ 25559 h 36293"/>
                    <a:gd name="connsiteX122" fmla="*/ 79232 w 168175"/>
                    <a:gd name="connsiteY122" fmla="*/ 26070 h 36293"/>
                    <a:gd name="connsiteX123" fmla="*/ 79232 w 168175"/>
                    <a:gd name="connsiteY123" fmla="*/ 26581 h 36293"/>
                    <a:gd name="connsiteX124" fmla="*/ 78720 w 168175"/>
                    <a:gd name="connsiteY124" fmla="*/ 27604 h 36293"/>
                    <a:gd name="connsiteX125" fmla="*/ 79232 w 168175"/>
                    <a:gd name="connsiteY125" fmla="*/ 28115 h 36293"/>
                    <a:gd name="connsiteX126" fmla="*/ 85366 w 168175"/>
                    <a:gd name="connsiteY126" fmla="*/ 29648 h 36293"/>
                    <a:gd name="connsiteX127" fmla="*/ 69519 w 168175"/>
                    <a:gd name="connsiteY127" fmla="*/ 3067 h 36293"/>
                    <a:gd name="connsiteX128" fmla="*/ 72075 w 168175"/>
                    <a:gd name="connsiteY128" fmla="*/ 5623 h 36293"/>
                    <a:gd name="connsiteX129" fmla="*/ 72075 w 168175"/>
                    <a:gd name="connsiteY129" fmla="*/ 5623 h 36293"/>
                    <a:gd name="connsiteX130" fmla="*/ 74631 w 168175"/>
                    <a:gd name="connsiteY130" fmla="*/ 3067 h 36293"/>
                    <a:gd name="connsiteX131" fmla="*/ 74631 w 168175"/>
                    <a:gd name="connsiteY131" fmla="*/ 2556 h 36293"/>
                    <a:gd name="connsiteX132" fmla="*/ 72075 w 168175"/>
                    <a:gd name="connsiteY132" fmla="*/ 0 h 36293"/>
                    <a:gd name="connsiteX133" fmla="*/ 72075 w 168175"/>
                    <a:gd name="connsiteY133" fmla="*/ 0 h 36293"/>
                    <a:gd name="connsiteX134" fmla="*/ 69519 w 168175"/>
                    <a:gd name="connsiteY134" fmla="*/ 3067 h 36293"/>
                    <a:gd name="connsiteX135" fmla="*/ 69519 w 168175"/>
                    <a:gd name="connsiteY135" fmla="*/ 3067 h 36293"/>
                    <a:gd name="connsiteX136" fmla="*/ 73609 w 168175"/>
                    <a:gd name="connsiteY136" fmla="*/ 9201 h 36293"/>
                    <a:gd name="connsiteX137" fmla="*/ 72586 w 168175"/>
                    <a:gd name="connsiteY137" fmla="*/ 8690 h 36293"/>
                    <a:gd name="connsiteX138" fmla="*/ 70542 w 168175"/>
                    <a:gd name="connsiteY138" fmla="*/ 8690 h 36293"/>
                    <a:gd name="connsiteX139" fmla="*/ 69519 w 168175"/>
                    <a:gd name="connsiteY139" fmla="*/ 9201 h 36293"/>
                    <a:gd name="connsiteX140" fmla="*/ 69519 w 168175"/>
                    <a:gd name="connsiteY140" fmla="*/ 28115 h 36293"/>
                    <a:gd name="connsiteX141" fmla="*/ 70542 w 168175"/>
                    <a:gd name="connsiteY141" fmla="*/ 28626 h 36293"/>
                    <a:gd name="connsiteX142" fmla="*/ 72586 w 168175"/>
                    <a:gd name="connsiteY142" fmla="*/ 28626 h 36293"/>
                    <a:gd name="connsiteX143" fmla="*/ 73609 w 168175"/>
                    <a:gd name="connsiteY143" fmla="*/ 28115 h 36293"/>
                    <a:gd name="connsiteX144" fmla="*/ 73609 w 168175"/>
                    <a:gd name="connsiteY144" fmla="*/ 9201 h 36293"/>
                    <a:gd name="connsiteX145" fmla="*/ 53162 w 168175"/>
                    <a:gd name="connsiteY145" fmla="*/ 17380 h 36293"/>
                    <a:gd name="connsiteX146" fmla="*/ 57251 w 168175"/>
                    <a:gd name="connsiteY146" fmla="*/ 11246 h 36293"/>
                    <a:gd name="connsiteX147" fmla="*/ 61341 w 168175"/>
                    <a:gd name="connsiteY147" fmla="*/ 16869 h 36293"/>
                    <a:gd name="connsiteX148" fmla="*/ 60829 w 168175"/>
                    <a:gd name="connsiteY148" fmla="*/ 17380 h 36293"/>
                    <a:gd name="connsiteX149" fmla="*/ 53162 w 168175"/>
                    <a:gd name="connsiteY149" fmla="*/ 17380 h 36293"/>
                    <a:gd name="connsiteX150" fmla="*/ 64919 w 168175"/>
                    <a:gd name="connsiteY150" fmla="*/ 16358 h 36293"/>
                    <a:gd name="connsiteX151" fmla="*/ 57251 w 168175"/>
                    <a:gd name="connsiteY151" fmla="*/ 8179 h 36293"/>
                    <a:gd name="connsiteX152" fmla="*/ 49072 w 168175"/>
                    <a:gd name="connsiteY152" fmla="*/ 18402 h 36293"/>
                    <a:gd name="connsiteX153" fmla="*/ 49072 w 168175"/>
                    <a:gd name="connsiteY153" fmla="*/ 19936 h 36293"/>
                    <a:gd name="connsiteX154" fmla="*/ 57762 w 168175"/>
                    <a:gd name="connsiteY154" fmla="*/ 30159 h 36293"/>
                    <a:gd name="connsiteX155" fmla="*/ 63896 w 168175"/>
                    <a:gd name="connsiteY155" fmla="*/ 29137 h 36293"/>
                    <a:gd name="connsiteX156" fmla="*/ 64408 w 168175"/>
                    <a:gd name="connsiteY156" fmla="*/ 28626 h 36293"/>
                    <a:gd name="connsiteX157" fmla="*/ 64408 w 168175"/>
                    <a:gd name="connsiteY157" fmla="*/ 27604 h 36293"/>
                    <a:gd name="connsiteX158" fmla="*/ 63896 w 168175"/>
                    <a:gd name="connsiteY158" fmla="*/ 26581 h 36293"/>
                    <a:gd name="connsiteX159" fmla="*/ 63385 w 168175"/>
                    <a:gd name="connsiteY159" fmla="*/ 26070 h 36293"/>
                    <a:gd name="connsiteX160" fmla="*/ 62874 w 168175"/>
                    <a:gd name="connsiteY160" fmla="*/ 26070 h 36293"/>
                    <a:gd name="connsiteX161" fmla="*/ 58274 w 168175"/>
                    <a:gd name="connsiteY161" fmla="*/ 27092 h 36293"/>
                    <a:gd name="connsiteX162" fmla="*/ 53162 w 168175"/>
                    <a:gd name="connsiteY162" fmla="*/ 21469 h 36293"/>
                    <a:gd name="connsiteX163" fmla="*/ 63896 w 168175"/>
                    <a:gd name="connsiteY163" fmla="*/ 21469 h 36293"/>
                    <a:gd name="connsiteX164" fmla="*/ 64919 w 168175"/>
                    <a:gd name="connsiteY164" fmla="*/ 20447 h 36293"/>
                    <a:gd name="connsiteX165" fmla="*/ 64919 w 168175"/>
                    <a:gd name="connsiteY165" fmla="*/ 16358 h 36293"/>
                    <a:gd name="connsiteX166" fmla="*/ 39360 w 168175"/>
                    <a:gd name="connsiteY166" fmla="*/ 9201 h 36293"/>
                    <a:gd name="connsiteX167" fmla="*/ 38338 w 168175"/>
                    <a:gd name="connsiteY167" fmla="*/ 8690 h 36293"/>
                    <a:gd name="connsiteX168" fmla="*/ 36804 w 168175"/>
                    <a:gd name="connsiteY168" fmla="*/ 8690 h 36293"/>
                    <a:gd name="connsiteX169" fmla="*/ 36293 w 168175"/>
                    <a:gd name="connsiteY169" fmla="*/ 9201 h 36293"/>
                    <a:gd name="connsiteX170" fmla="*/ 36293 w 168175"/>
                    <a:gd name="connsiteY170" fmla="*/ 28626 h 36293"/>
                    <a:gd name="connsiteX171" fmla="*/ 37316 w 168175"/>
                    <a:gd name="connsiteY171" fmla="*/ 29137 h 36293"/>
                    <a:gd name="connsiteX172" fmla="*/ 39360 w 168175"/>
                    <a:gd name="connsiteY172" fmla="*/ 29137 h 36293"/>
                    <a:gd name="connsiteX173" fmla="*/ 40383 w 168175"/>
                    <a:gd name="connsiteY173" fmla="*/ 28626 h 36293"/>
                    <a:gd name="connsiteX174" fmla="*/ 40383 w 168175"/>
                    <a:gd name="connsiteY174" fmla="*/ 16869 h 36293"/>
                    <a:gd name="connsiteX175" fmla="*/ 41405 w 168175"/>
                    <a:gd name="connsiteY175" fmla="*/ 13290 h 36293"/>
                    <a:gd name="connsiteX176" fmla="*/ 44983 w 168175"/>
                    <a:gd name="connsiteY176" fmla="*/ 12268 h 36293"/>
                    <a:gd name="connsiteX177" fmla="*/ 46005 w 168175"/>
                    <a:gd name="connsiteY177" fmla="*/ 12268 h 36293"/>
                    <a:gd name="connsiteX178" fmla="*/ 47028 w 168175"/>
                    <a:gd name="connsiteY178" fmla="*/ 11757 h 36293"/>
                    <a:gd name="connsiteX179" fmla="*/ 47028 w 168175"/>
                    <a:gd name="connsiteY179" fmla="*/ 9712 h 36293"/>
                    <a:gd name="connsiteX180" fmla="*/ 46005 w 168175"/>
                    <a:gd name="connsiteY180" fmla="*/ 9201 h 36293"/>
                    <a:gd name="connsiteX181" fmla="*/ 44983 w 168175"/>
                    <a:gd name="connsiteY181" fmla="*/ 9201 h 36293"/>
                    <a:gd name="connsiteX182" fmla="*/ 39871 w 168175"/>
                    <a:gd name="connsiteY182" fmla="*/ 11757 h 36293"/>
                    <a:gd name="connsiteX183" fmla="*/ 39871 w 168175"/>
                    <a:gd name="connsiteY183" fmla="*/ 11757 h 36293"/>
                    <a:gd name="connsiteX184" fmla="*/ 39360 w 168175"/>
                    <a:gd name="connsiteY184" fmla="*/ 9201 h 36293"/>
                    <a:gd name="connsiteX185" fmla="*/ 18402 w 168175"/>
                    <a:gd name="connsiteY185" fmla="*/ 5112 h 36293"/>
                    <a:gd name="connsiteX186" fmla="*/ 20958 w 168175"/>
                    <a:gd name="connsiteY186" fmla="*/ 5112 h 36293"/>
                    <a:gd name="connsiteX187" fmla="*/ 25559 w 168175"/>
                    <a:gd name="connsiteY187" fmla="*/ 8690 h 36293"/>
                    <a:gd name="connsiteX188" fmla="*/ 25559 w 168175"/>
                    <a:gd name="connsiteY188" fmla="*/ 9201 h 36293"/>
                    <a:gd name="connsiteX189" fmla="*/ 19936 w 168175"/>
                    <a:gd name="connsiteY189" fmla="*/ 13802 h 36293"/>
                    <a:gd name="connsiteX190" fmla="*/ 17380 w 168175"/>
                    <a:gd name="connsiteY190" fmla="*/ 13802 h 36293"/>
                    <a:gd name="connsiteX191" fmla="*/ 17380 w 168175"/>
                    <a:gd name="connsiteY191" fmla="*/ 6134 h 36293"/>
                    <a:gd name="connsiteX192" fmla="*/ 18402 w 168175"/>
                    <a:gd name="connsiteY192" fmla="*/ 5112 h 36293"/>
                    <a:gd name="connsiteX193" fmla="*/ 21469 w 168175"/>
                    <a:gd name="connsiteY193" fmla="*/ 16358 h 36293"/>
                    <a:gd name="connsiteX194" fmla="*/ 27603 w 168175"/>
                    <a:gd name="connsiteY194" fmla="*/ 20447 h 36293"/>
                    <a:gd name="connsiteX195" fmla="*/ 27603 w 168175"/>
                    <a:gd name="connsiteY195" fmla="*/ 20958 h 36293"/>
                    <a:gd name="connsiteX196" fmla="*/ 21469 w 168175"/>
                    <a:gd name="connsiteY196" fmla="*/ 25559 h 36293"/>
                    <a:gd name="connsiteX197" fmla="*/ 18913 w 168175"/>
                    <a:gd name="connsiteY197" fmla="*/ 25559 h 36293"/>
                    <a:gd name="connsiteX198" fmla="*/ 18402 w 168175"/>
                    <a:gd name="connsiteY198" fmla="*/ 24536 h 36293"/>
                    <a:gd name="connsiteX199" fmla="*/ 18402 w 168175"/>
                    <a:gd name="connsiteY199" fmla="*/ 16358 h 36293"/>
                    <a:gd name="connsiteX200" fmla="*/ 21469 w 168175"/>
                    <a:gd name="connsiteY200" fmla="*/ 16358 h 36293"/>
                    <a:gd name="connsiteX201" fmla="*/ 20447 w 168175"/>
                    <a:gd name="connsiteY201" fmla="*/ 1533 h 36293"/>
                    <a:gd name="connsiteX202" fmla="*/ 14824 w 168175"/>
                    <a:gd name="connsiteY202" fmla="*/ 2045 h 36293"/>
                    <a:gd name="connsiteX203" fmla="*/ 13802 w 168175"/>
                    <a:gd name="connsiteY203" fmla="*/ 3578 h 36293"/>
                    <a:gd name="connsiteX204" fmla="*/ 13802 w 168175"/>
                    <a:gd name="connsiteY204" fmla="*/ 27604 h 36293"/>
                    <a:gd name="connsiteX205" fmla="*/ 14824 w 168175"/>
                    <a:gd name="connsiteY205" fmla="*/ 29137 h 36293"/>
                    <a:gd name="connsiteX206" fmla="*/ 20447 w 168175"/>
                    <a:gd name="connsiteY206" fmla="*/ 29137 h 36293"/>
                    <a:gd name="connsiteX207" fmla="*/ 31181 w 168175"/>
                    <a:gd name="connsiteY207" fmla="*/ 20958 h 36293"/>
                    <a:gd name="connsiteX208" fmla="*/ 31181 w 168175"/>
                    <a:gd name="connsiteY208" fmla="*/ 20447 h 36293"/>
                    <a:gd name="connsiteX209" fmla="*/ 26070 w 168175"/>
                    <a:gd name="connsiteY209" fmla="*/ 14313 h 36293"/>
                    <a:gd name="connsiteX210" fmla="*/ 26070 w 168175"/>
                    <a:gd name="connsiteY210" fmla="*/ 14313 h 36293"/>
                    <a:gd name="connsiteX211" fmla="*/ 29648 w 168175"/>
                    <a:gd name="connsiteY211" fmla="*/ 8690 h 36293"/>
                    <a:gd name="connsiteX212" fmla="*/ 29648 w 168175"/>
                    <a:gd name="connsiteY212" fmla="*/ 8179 h 36293"/>
                    <a:gd name="connsiteX213" fmla="*/ 20447 w 168175"/>
                    <a:gd name="connsiteY213" fmla="*/ 1533 h 36293"/>
                    <a:gd name="connsiteX214" fmla="*/ 9201 w 168175"/>
                    <a:gd name="connsiteY214" fmla="*/ 31181 h 36293"/>
                    <a:gd name="connsiteX215" fmla="*/ 4601 w 168175"/>
                    <a:gd name="connsiteY215" fmla="*/ 16869 h 36293"/>
                    <a:gd name="connsiteX216" fmla="*/ 9201 w 168175"/>
                    <a:gd name="connsiteY216" fmla="*/ 3067 h 36293"/>
                    <a:gd name="connsiteX217" fmla="*/ 9712 w 168175"/>
                    <a:gd name="connsiteY217" fmla="*/ 2045 h 36293"/>
                    <a:gd name="connsiteX218" fmla="*/ 9201 w 168175"/>
                    <a:gd name="connsiteY218" fmla="*/ 1533 h 36293"/>
                    <a:gd name="connsiteX219" fmla="*/ 8179 w 168175"/>
                    <a:gd name="connsiteY219" fmla="*/ 1022 h 36293"/>
                    <a:gd name="connsiteX220" fmla="*/ 7156 w 168175"/>
                    <a:gd name="connsiteY220" fmla="*/ 511 h 36293"/>
                    <a:gd name="connsiteX221" fmla="*/ 6134 w 168175"/>
                    <a:gd name="connsiteY221" fmla="*/ 1022 h 36293"/>
                    <a:gd name="connsiteX222" fmla="*/ 0 w 168175"/>
                    <a:gd name="connsiteY222" fmla="*/ 17380 h 36293"/>
                    <a:gd name="connsiteX223" fmla="*/ 6134 w 168175"/>
                    <a:gd name="connsiteY223" fmla="*/ 33737 h 36293"/>
                    <a:gd name="connsiteX224" fmla="*/ 7156 w 168175"/>
                    <a:gd name="connsiteY224" fmla="*/ 34249 h 36293"/>
                    <a:gd name="connsiteX225" fmla="*/ 8179 w 168175"/>
                    <a:gd name="connsiteY225" fmla="*/ 33737 h 36293"/>
                    <a:gd name="connsiteX226" fmla="*/ 9201 w 168175"/>
                    <a:gd name="connsiteY226" fmla="*/ 33226 h 36293"/>
                    <a:gd name="connsiteX227" fmla="*/ 9712 w 168175"/>
                    <a:gd name="connsiteY227" fmla="*/ 32715 h 36293"/>
                    <a:gd name="connsiteX228" fmla="*/ 9201 w 168175"/>
                    <a:gd name="connsiteY228" fmla="*/ 31181 h 36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</a:cxnLst>
                  <a:rect l="l" t="t" r="r" b="b"/>
                  <a:pathLst>
                    <a:path w="168175" h="36293">
                      <a:moveTo>
                        <a:pt x="158974" y="31181"/>
                      </a:moveTo>
                      <a:cubicBezTo>
                        <a:pt x="158463" y="31693"/>
                        <a:pt x="158463" y="32204"/>
                        <a:pt x="158463" y="32204"/>
                      </a:cubicBezTo>
                      <a:cubicBezTo>
                        <a:pt x="158463" y="32715"/>
                        <a:pt x="158463" y="32715"/>
                        <a:pt x="158974" y="32715"/>
                      </a:cubicBezTo>
                      <a:lnTo>
                        <a:pt x="159997" y="33226"/>
                      </a:lnTo>
                      <a:cubicBezTo>
                        <a:pt x="160508" y="33737"/>
                        <a:pt x="160508" y="33737"/>
                        <a:pt x="161019" y="33737"/>
                      </a:cubicBezTo>
                      <a:cubicBezTo>
                        <a:pt x="161530" y="33737"/>
                        <a:pt x="161530" y="33737"/>
                        <a:pt x="162041" y="33226"/>
                      </a:cubicBezTo>
                      <a:cubicBezTo>
                        <a:pt x="166131" y="28115"/>
                        <a:pt x="168175" y="22492"/>
                        <a:pt x="168175" y="16869"/>
                      </a:cubicBezTo>
                      <a:cubicBezTo>
                        <a:pt x="168175" y="11246"/>
                        <a:pt x="166642" y="6134"/>
                        <a:pt x="162041" y="511"/>
                      </a:cubicBezTo>
                      <a:cubicBezTo>
                        <a:pt x="161530" y="0"/>
                        <a:pt x="161530" y="0"/>
                        <a:pt x="161019" y="0"/>
                      </a:cubicBezTo>
                      <a:cubicBezTo>
                        <a:pt x="160508" y="0"/>
                        <a:pt x="160508" y="0"/>
                        <a:pt x="159997" y="511"/>
                      </a:cubicBezTo>
                      <a:lnTo>
                        <a:pt x="158974" y="1022"/>
                      </a:lnTo>
                      <a:cubicBezTo>
                        <a:pt x="158463" y="1533"/>
                        <a:pt x="158463" y="1533"/>
                        <a:pt x="158463" y="1533"/>
                      </a:cubicBezTo>
                      <a:cubicBezTo>
                        <a:pt x="158463" y="2045"/>
                        <a:pt x="158974" y="2556"/>
                        <a:pt x="158974" y="2556"/>
                      </a:cubicBezTo>
                      <a:cubicBezTo>
                        <a:pt x="162041" y="7157"/>
                        <a:pt x="163575" y="11757"/>
                        <a:pt x="163575" y="16358"/>
                      </a:cubicBezTo>
                      <a:cubicBezTo>
                        <a:pt x="163064" y="22492"/>
                        <a:pt x="162041" y="27092"/>
                        <a:pt x="158974" y="31181"/>
                      </a:cubicBezTo>
                      <a:moveTo>
                        <a:pt x="150796" y="22492"/>
                      </a:moveTo>
                      <a:cubicBezTo>
                        <a:pt x="150796" y="24025"/>
                        <a:pt x="150796" y="25048"/>
                        <a:pt x="149773" y="25559"/>
                      </a:cubicBezTo>
                      <a:cubicBezTo>
                        <a:pt x="149262" y="26070"/>
                        <a:pt x="148240" y="26581"/>
                        <a:pt x="146706" y="26581"/>
                      </a:cubicBezTo>
                      <a:cubicBezTo>
                        <a:pt x="145173" y="26581"/>
                        <a:pt x="144150" y="26070"/>
                        <a:pt x="143639" y="25559"/>
                      </a:cubicBezTo>
                      <a:cubicBezTo>
                        <a:pt x="143128" y="25048"/>
                        <a:pt x="142617" y="24025"/>
                        <a:pt x="142617" y="22492"/>
                      </a:cubicBezTo>
                      <a:lnTo>
                        <a:pt x="142617" y="9201"/>
                      </a:lnTo>
                      <a:cubicBezTo>
                        <a:pt x="142617" y="8690"/>
                        <a:pt x="142617" y="8690"/>
                        <a:pt x="141595" y="8690"/>
                      </a:cubicBezTo>
                      <a:lnTo>
                        <a:pt x="139550" y="8690"/>
                      </a:lnTo>
                      <a:cubicBezTo>
                        <a:pt x="139039" y="8690"/>
                        <a:pt x="138527" y="8690"/>
                        <a:pt x="138527" y="9201"/>
                      </a:cubicBezTo>
                      <a:lnTo>
                        <a:pt x="138527" y="23003"/>
                      </a:lnTo>
                      <a:cubicBezTo>
                        <a:pt x="138527" y="25559"/>
                        <a:pt x="139039" y="27092"/>
                        <a:pt x="140572" y="28115"/>
                      </a:cubicBezTo>
                      <a:cubicBezTo>
                        <a:pt x="142106" y="29137"/>
                        <a:pt x="143639" y="29648"/>
                        <a:pt x="146706" y="29648"/>
                      </a:cubicBezTo>
                      <a:cubicBezTo>
                        <a:pt x="149773" y="29648"/>
                        <a:pt x="151307" y="29137"/>
                        <a:pt x="152329" y="28115"/>
                      </a:cubicBezTo>
                      <a:cubicBezTo>
                        <a:pt x="153863" y="27092"/>
                        <a:pt x="154374" y="25559"/>
                        <a:pt x="154374" y="23003"/>
                      </a:cubicBezTo>
                      <a:lnTo>
                        <a:pt x="154374" y="9201"/>
                      </a:lnTo>
                      <a:cubicBezTo>
                        <a:pt x="154374" y="8690"/>
                        <a:pt x="154374" y="8179"/>
                        <a:pt x="153351" y="8179"/>
                      </a:cubicBezTo>
                      <a:lnTo>
                        <a:pt x="151307" y="8179"/>
                      </a:lnTo>
                      <a:cubicBezTo>
                        <a:pt x="150796" y="8179"/>
                        <a:pt x="150284" y="8179"/>
                        <a:pt x="150284" y="8690"/>
                      </a:cubicBezTo>
                      <a:lnTo>
                        <a:pt x="150284" y="22492"/>
                      </a:lnTo>
                      <a:close/>
                      <a:moveTo>
                        <a:pt x="129838" y="22492"/>
                      </a:moveTo>
                      <a:cubicBezTo>
                        <a:pt x="129838" y="25048"/>
                        <a:pt x="128815" y="26070"/>
                        <a:pt x="125748" y="26070"/>
                      </a:cubicBezTo>
                      <a:lnTo>
                        <a:pt x="124215" y="26070"/>
                      </a:lnTo>
                      <a:cubicBezTo>
                        <a:pt x="122170" y="26070"/>
                        <a:pt x="121148" y="25048"/>
                        <a:pt x="121148" y="23003"/>
                      </a:cubicBezTo>
                      <a:lnTo>
                        <a:pt x="121148" y="22492"/>
                      </a:lnTo>
                      <a:cubicBezTo>
                        <a:pt x="121148" y="19936"/>
                        <a:pt x="122170" y="19425"/>
                        <a:pt x="125237" y="19425"/>
                      </a:cubicBezTo>
                      <a:lnTo>
                        <a:pt x="127282" y="19425"/>
                      </a:lnTo>
                      <a:cubicBezTo>
                        <a:pt x="127793" y="19425"/>
                        <a:pt x="128815" y="19425"/>
                        <a:pt x="129326" y="19425"/>
                      </a:cubicBezTo>
                      <a:lnTo>
                        <a:pt x="129326" y="22492"/>
                      </a:lnTo>
                      <a:close/>
                      <a:moveTo>
                        <a:pt x="130349" y="28626"/>
                      </a:moveTo>
                      <a:cubicBezTo>
                        <a:pt x="130349" y="29137"/>
                        <a:pt x="130860" y="29137"/>
                        <a:pt x="131371" y="29137"/>
                      </a:cubicBezTo>
                      <a:lnTo>
                        <a:pt x="132905" y="29137"/>
                      </a:lnTo>
                      <a:cubicBezTo>
                        <a:pt x="133416" y="29137"/>
                        <a:pt x="133416" y="29137"/>
                        <a:pt x="133416" y="28626"/>
                      </a:cubicBezTo>
                      <a:lnTo>
                        <a:pt x="133416" y="15335"/>
                      </a:lnTo>
                      <a:cubicBezTo>
                        <a:pt x="133416" y="10223"/>
                        <a:pt x="130860" y="8179"/>
                        <a:pt x="125748" y="8179"/>
                      </a:cubicBezTo>
                      <a:cubicBezTo>
                        <a:pt x="123704" y="8179"/>
                        <a:pt x="121148" y="8690"/>
                        <a:pt x="119614" y="9201"/>
                      </a:cubicBezTo>
                      <a:cubicBezTo>
                        <a:pt x="119103" y="9201"/>
                        <a:pt x="119103" y="9712"/>
                        <a:pt x="119103" y="9712"/>
                      </a:cubicBezTo>
                      <a:cubicBezTo>
                        <a:pt x="119103" y="9712"/>
                        <a:pt x="119103" y="10223"/>
                        <a:pt x="119103" y="10735"/>
                      </a:cubicBezTo>
                      <a:lnTo>
                        <a:pt x="119103" y="11757"/>
                      </a:lnTo>
                      <a:cubicBezTo>
                        <a:pt x="119103" y="12268"/>
                        <a:pt x="119103" y="12268"/>
                        <a:pt x="119614" y="12268"/>
                      </a:cubicBezTo>
                      <a:cubicBezTo>
                        <a:pt x="119614" y="12268"/>
                        <a:pt x="120125" y="12268"/>
                        <a:pt x="120636" y="12268"/>
                      </a:cubicBezTo>
                      <a:cubicBezTo>
                        <a:pt x="122170" y="11757"/>
                        <a:pt x="123704" y="11757"/>
                        <a:pt x="125237" y="11757"/>
                      </a:cubicBezTo>
                      <a:cubicBezTo>
                        <a:pt x="128304" y="11757"/>
                        <a:pt x="129326" y="12268"/>
                        <a:pt x="129326" y="15335"/>
                      </a:cubicBezTo>
                      <a:lnTo>
                        <a:pt x="129326" y="16869"/>
                      </a:lnTo>
                      <a:cubicBezTo>
                        <a:pt x="128815" y="16869"/>
                        <a:pt x="127793" y="16869"/>
                        <a:pt x="126771" y="16869"/>
                      </a:cubicBezTo>
                      <a:lnTo>
                        <a:pt x="125748" y="16869"/>
                      </a:lnTo>
                      <a:cubicBezTo>
                        <a:pt x="122170" y="16869"/>
                        <a:pt x="120636" y="17380"/>
                        <a:pt x="119103" y="18402"/>
                      </a:cubicBezTo>
                      <a:cubicBezTo>
                        <a:pt x="117569" y="19425"/>
                        <a:pt x="117058" y="20958"/>
                        <a:pt x="117058" y="23514"/>
                      </a:cubicBezTo>
                      <a:lnTo>
                        <a:pt x="117058" y="24025"/>
                      </a:lnTo>
                      <a:cubicBezTo>
                        <a:pt x="117058" y="27604"/>
                        <a:pt x="119103" y="30159"/>
                        <a:pt x="123192" y="30159"/>
                      </a:cubicBezTo>
                      <a:lnTo>
                        <a:pt x="124726" y="30159"/>
                      </a:lnTo>
                      <a:cubicBezTo>
                        <a:pt x="127282" y="30159"/>
                        <a:pt x="128815" y="29648"/>
                        <a:pt x="129838" y="28115"/>
                      </a:cubicBezTo>
                      <a:lnTo>
                        <a:pt x="129838" y="28115"/>
                      </a:lnTo>
                      <a:lnTo>
                        <a:pt x="130349" y="28626"/>
                      </a:lnTo>
                      <a:close/>
                      <a:moveTo>
                        <a:pt x="113480" y="9201"/>
                      </a:moveTo>
                      <a:cubicBezTo>
                        <a:pt x="113480" y="8690"/>
                        <a:pt x="113480" y="8690"/>
                        <a:pt x="112458" y="8690"/>
                      </a:cubicBezTo>
                      <a:lnTo>
                        <a:pt x="110924" y="8690"/>
                      </a:lnTo>
                      <a:cubicBezTo>
                        <a:pt x="110413" y="8690"/>
                        <a:pt x="110413" y="8690"/>
                        <a:pt x="109902" y="9201"/>
                      </a:cubicBezTo>
                      <a:lnTo>
                        <a:pt x="109902" y="10735"/>
                      </a:lnTo>
                      <a:lnTo>
                        <a:pt x="109902" y="10735"/>
                      </a:lnTo>
                      <a:cubicBezTo>
                        <a:pt x="108880" y="9201"/>
                        <a:pt x="106835" y="8179"/>
                        <a:pt x="104279" y="8179"/>
                      </a:cubicBezTo>
                      <a:cubicBezTo>
                        <a:pt x="98656" y="8179"/>
                        <a:pt x="96100" y="10735"/>
                        <a:pt x="96100" y="17891"/>
                      </a:cubicBezTo>
                      <a:lnTo>
                        <a:pt x="96100" y="19425"/>
                      </a:lnTo>
                      <a:cubicBezTo>
                        <a:pt x="96100" y="26581"/>
                        <a:pt x="98656" y="29137"/>
                        <a:pt x="104279" y="29137"/>
                      </a:cubicBezTo>
                      <a:cubicBezTo>
                        <a:pt x="106835" y="29137"/>
                        <a:pt x="108368" y="28626"/>
                        <a:pt x="109391" y="27092"/>
                      </a:cubicBezTo>
                      <a:lnTo>
                        <a:pt x="109391" y="27092"/>
                      </a:lnTo>
                      <a:lnTo>
                        <a:pt x="109391" y="28626"/>
                      </a:lnTo>
                      <a:cubicBezTo>
                        <a:pt x="109391" y="30670"/>
                        <a:pt x="108880" y="31693"/>
                        <a:pt x="108368" y="32204"/>
                      </a:cubicBezTo>
                      <a:cubicBezTo>
                        <a:pt x="107346" y="32715"/>
                        <a:pt x="106324" y="33226"/>
                        <a:pt x="104790" y="33226"/>
                      </a:cubicBezTo>
                      <a:cubicBezTo>
                        <a:pt x="103257" y="33226"/>
                        <a:pt x="101212" y="32715"/>
                        <a:pt x="99678" y="32715"/>
                      </a:cubicBezTo>
                      <a:cubicBezTo>
                        <a:pt x="99167" y="32715"/>
                        <a:pt x="98656" y="32715"/>
                        <a:pt x="98656" y="33226"/>
                      </a:cubicBezTo>
                      <a:lnTo>
                        <a:pt x="98145" y="34249"/>
                      </a:lnTo>
                      <a:cubicBezTo>
                        <a:pt x="97634" y="34760"/>
                        <a:pt x="98145" y="35271"/>
                        <a:pt x="98656" y="35271"/>
                      </a:cubicBezTo>
                      <a:cubicBezTo>
                        <a:pt x="100190" y="35782"/>
                        <a:pt x="102234" y="36293"/>
                        <a:pt x="104790" y="36293"/>
                      </a:cubicBezTo>
                      <a:cubicBezTo>
                        <a:pt x="107857" y="36293"/>
                        <a:pt x="109902" y="35782"/>
                        <a:pt x="111435" y="34249"/>
                      </a:cubicBezTo>
                      <a:cubicBezTo>
                        <a:pt x="112969" y="32715"/>
                        <a:pt x="113480" y="30159"/>
                        <a:pt x="113480" y="27092"/>
                      </a:cubicBezTo>
                      <a:lnTo>
                        <a:pt x="113480" y="9201"/>
                      </a:lnTo>
                      <a:close/>
                      <a:moveTo>
                        <a:pt x="104790" y="11246"/>
                      </a:moveTo>
                      <a:cubicBezTo>
                        <a:pt x="107857" y="11246"/>
                        <a:pt x="109391" y="12779"/>
                        <a:pt x="109391" y="15846"/>
                      </a:cubicBezTo>
                      <a:lnTo>
                        <a:pt x="109391" y="21469"/>
                      </a:lnTo>
                      <a:cubicBezTo>
                        <a:pt x="109391" y="24536"/>
                        <a:pt x="107857" y="26070"/>
                        <a:pt x="104790" y="26070"/>
                      </a:cubicBezTo>
                      <a:cubicBezTo>
                        <a:pt x="101212" y="26070"/>
                        <a:pt x="100190" y="25048"/>
                        <a:pt x="100190" y="19425"/>
                      </a:cubicBezTo>
                      <a:lnTo>
                        <a:pt x="100190" y="18402"/>
                      </a:lnTo>
                      <a:cubicBezTo>
                        <a:pt x="100190" y="12779"/>
                        <a:pt x="101212" y="11246"/>
                        <a:pt x="104790" y="11246"/>
                      </a:cubicBezTo>
                      <a:moveTo>
                        <a:pt x="85366" y="29648"/>
                      </a:moveTo>
                      <a:cubicBezTo>
                        <a:pt x="90477" y="29648"/>
                        <a:pt x="93033" y="27604"/>
                        <a:pt x="93033" y="23514"/>
                      </a:cubicBezTo>
                      <a:lnTo>
                        <a:pt x="93033" y="23003"/>
                      </a:lnTo>
                      <a:cubicBezTo>
                        <a:pt x="93033" y="19425"/>
                        <a:pt x="91500" y="17891"/>
                        <a:pt x="87922" y="16869"/>
                      </a:cubicBezTo>
                      <a:lnTo>
                        <a:pt x="85877" y="16358"/>
                      </a:lnTo>
                      <a:cubicBezTo>
                        <a:pt x="83321" y="15846"/>
                        <a:pt x="82810" y="15335"/>
                        <a:pt x="82810" y="13802"/>
                      </a:cubicBezTo>
                      <a:lnTo>
                        <a:pt x="82810" y="13802"/>
                      </a:lnTo>
                      <a:cubicBezTo>
                        <a:pt x="82810" y="12268"/>
                        <a:pt x="83832" y="11246"/>
                        <a:pt x="86388" y="11246"/>
                      </a:cubicBezTo>
                      <a:cubicBezTo>
                        <a:pt x="87410" y="11246"/>
                        <a:pt x="89455" y="11246"/>
                        <a:pt x="89966" y="11757"/>
                      </a:cubicBezTo>
                      <a:cubicBezTo>
                        <a:pt x="90477" y="11757"/>
                        <a:pt x="90477" y="11757"/>
                        <a:pt x="90989" y="11757"/>
                      </a:cubicBezTo>
                      <a:cubicBezTo>
                        <a:pt x="91500" y="11757"/>
                        <a:pt x="91500" y="11757"/>
                        <a:pt x="91500" y="11246"/>
                      </a:cubicBezTo>
                      <a:lnTo>
                        <a:pt x="91500" y="10223"/>
                      </a:lnTo>
                      <a:cubicBezTo>
                        <a:pt x="91500" y="9712"/>
                        <a:pt x="92011" y="9201"/>
                        <a:pt x="92011" y="9201"/>
                      </a:cubicBezTo>
                      <a:cubicBezTo>
                        <a:pt x="92011" y="9201"/>
                        <a:pt x="92011" y="8690"/>
                        <a:pt x="91500" y="8690"/>
                      </a:cubicBezTo>
                      <a:cubicBezTo>
                        <a:pt x="89966" y="8179"/>
                        <a:pt x="88433" y="8179"/>
                        <a:pt x="86388" y="8179"/>
                      </a:cubicBezTo>
                      <a:cubicBezTo>
                        <a:pt x="81787" y="8179"/>
                        <a:pt x="79232" y="10223"/>
                        <a:pt x="79232" y="13802"/>
                      </a:cubicBezTo>
                      <a:lnTo>
                        <a:pt x="79232" y="14313"/>
                      </a:lnTo>
                      <a:cubicBezTo>
                        <a:pt x="79232" y="17891"/>
                        <a:pt x="80254" y="18913"/>
                        <a:pt x="84343" y="19936"/>
                      </a:cubicBezTo>
                      <a:lnTo>
                        <a:pt x="86388" y="20447"/>
                      </a:lnTo>
                      <a:cubicBezTo>
                        <a:pt x="88433" y="20958"/>
                        <a:pt x="89455" y="21469"/>
                        <a:pt x="89455" y="23514"/>
                      </a:cubicBezTo>
                      <a:lnTo>
                        <a:pt x="89455" y="23514"/>
                      </a:lnTo>
                      <a:cubicBezTo>
                        <a:pt x="89455" y="25559"/>
                        <a:pt x="88433" y="26581"/>
                        <a:pt x="85366" y="26581"/>
                      </a:cubicBezTo>
                      <a:cubicBezTo>
                        <a:pt x="83832" y="26581"/>
                        <a:pt x="82299" y="26581"/>
                        <a:pt x="81276" y="26070"/>
                      </a:cubicBezTo>
                      <a:cubicBezTo>
                        <a:pt x="80254" y="25559"/>
                        <a:pt x="80254" y="25559"/>
                        <a:pt x="79743" y="25559"/>
                      </a:cubicBezTo>
                      <a:cubicBezTo>
                        <a:pt x="79232" y="25559"/>
                        <a:pt x="79232" y="25559"/>
                        <a:pt x="79232" y="26070"/>
                      </a:cubicBezTo>
                      <a:lnTo>
                        <a:pt x="79232" y="26581"/>
                      </a:lnTo>
                      <a:cubicBezTo>
                        <a:pt x="79232" y="27092"/>
                        <a:pt x="78720" y="27604"/>
                        <a:pt x="78720" y="27604"/>
                      </a:cubicBezTo>
                      <a:cubicBezTo>
                        <a:pt x="78720" y="28115"/>
                        <a:pt x="78720" y="28115"/>
                        <a:pt x="79232" y="28115"/>
                      </a:cubicBezTo>
                      <a:cubicBezTo>
                        <a:pt x="80765" y="29137"/>
                        <a:pt x="83321" y="29648"/>
                        <a:pt x="85366" y="29648"/>
                      </a:cubicBezTo>
                      <a:moveTo>
                        <a:pt x="69519" y="3067"/>
                      </a:moveTo>
                      <a:cubicBezTo>
                        <a:pt x="69519" y="4601"/>
                        <a:pt x="70542" y="5623"/>
                        <a:pt x="72075" y="5623"/>
                      </a:cubicBezTo>
                      <a:lnTo>
                        <a:pt x="72075" y="5623"/>
                      </a:lnTo>
                      <a:cubicBezTo>
                        <a:pt x="73609" y="5623"/>
                        <a:pt x="74631" y="5112"/>
                        <a:pt x="74631" y="3067"/>
                      </a:cubicBezTo>
                      <a:lnTo>
                        <a:pt x="74631" y="2556"/>
                      </a:lnTo>
                      <a:cubicBezTo>
                        <a:pt x="74631" y="1022"/>
                        <a:pt x="73609" y="0"/>
                        <a:pt x="72075" y="0"/>
                      </a:cubicBezTo>
                      <a:lnTo>
                        <a:pt x="72075" y="0"/>
                      </a:lnTo>
                      <a:cubicBezTo>
                        <a:pt x="70542" y="511"/>
                        <a:pt x="69519" y="1022"/>
                        <a:pt x="69519" y="3067"/>
                      </a:cubicBezTo>
                      <a:lnTo>
                        <a:pt x="69519" y="3067"/>
                      </a:lnTo>
                      <a:close/>
                      <a:moveTo>
                        <a:pt x="73609" y="9201"/>
                      </a:moveTo>
                      <a:cubicBezTo>
                        <a:pt x="73609" y="8690"/>
                        <a:pt x="73609" y="8690"/>
                        <a:pt x="72586" y="8690"/>
                      </a:cubicBezTo>
                      <a:lnTo>
                        <a:pt x="70542" y="8690"/>
                      </a:lnTo>
                      <a:cubicBezTo>
                        <a:pt x="70031" y="8690"/>
                        <a:pt x="69519" y="8690"/>
                        <a:pt x="69519" y="9201"/>
                      </a:cubicBezTo>
                      <a:lnTo>
                        <a:pt x="69519" y="28115"/>
                      </a:lnTo>
                      <a:cubicBezTo>
                        <a:pt x="69519" y="28626"/>
                        <a:pt x="70031" y="28626"/>
                        <a:pt x="70542" y="28626"/>
                      </a:cubicBezTo>
                      <a:lnTo>
                        <a:pt x="72586" y="28626"/>
                      </a:lnTo>
                      <a:cubicBezTo>
                        <a:pt x="73098" y="28626"/>
                        <a:pt x="73609" y="28626"/>
                        <a:pt x="73609" y="28115"/>
                      </a:cubicBezTo>
                      <a:lnTo>
                        <a:pt x="73609" y="9201"/>
                      </a:lnTo>
                      <a:close/>
                      <a:moveTo>
                        <a:pt x="53162" y="17380"/>
                      </a:moveTo>
                      <a:cubicBezTo>
                        <a:pt x="53162" y="13290"/>
                        <a:pt x="53673" y="11246"/>
                        <a:pt x="57251" y="11246"/>
                      </a:cubicBezTo>
                      <a:cubicBezTo>
                        <a:pt x="60318" y="11246"/>
                        <a:pt x="61341" y="12779"/>
                        <a:pt x="61341" y="16869"/>
                      </a:cubicBezTo>
                      <a:cubicBezTo>
                        <a:pt x="61341" y="17380"/>
                        <a:pt x="61341" y="17380"/>
                        <a:pt x="60829" y="17380"/>
                      </a:cubicBezTo>
                      <a:lnTo>
                        <a:pt x="53162" y="17380"/>
                      </a:lnTo>
                      <a:close/>
                      <a:moveTo>
                        <a:pt x="64919" y="16358"/>
                      </a:moveTo>
                      <a:cubicBezTo>
                        <a:pt x="64919" y="10223"/>
                        <a:pt x="62363" y="8179"/>
                        <a:pt x="57251" y="8179"/>
                      </a:cubicBezTo>
                      <a:cubicBezTo>
                        <a:pt x="51117" y="8179"/>
                        <a:pt x="49072" y="11757"/>
                        <a:pt x="49072" y="18402"/>
                      </a:cubicBezTo>
                      <a:lnTo>
                        <a:pt x="49072" y="19936"/>
                      </a:lnTo>
                      <a:cubicBezTo>
                        <a:pt x="49072" y="27092"/>
                        <a:pt x="51117" y="30159"/>
                        <a:pt x="57762" y="30159"/>
                      </a:cubicBezTo>
                      <a:cubicBezTo>
                        <a:pt x="59807" y="30159"/>
                        <a:pt x="62363" y="29648"/>
                        <a:pt x="63896" y="29137"/>
                      </a:cubicBezTo>
                      <a:cubicBezTo>
                        <a:pt x="64408" y="29137"/>
                        <a:pt x="64408" y="28626"/>
                        <a:pt x="64408" y="28626"/>
                      </a:cubicBezTo>
                      <a:cubicBezTo>
                        <a:pt x="64408" y="28626"/>
                        <a:pt x="64408" y="28115"/>
                        <a:pt x="64408" y="27604"/>
                      </a:cubicBezTo>
                      <a:lnTo>
                        <a:pt x="63896" y="26581"/>
                      </a:lnTo>
                      <a:cubicBezTo>
                        <a:pt x="63896" y="26070"/>
                        <a:pt x="63385" y="26070"/>
                        <a:pt x="63385" y="26070"/>
                      </a:cubicBezTo>
                      <a:cubicBezTo>
                        <a:pt x="63385" y="26070"/>
                        <a:pt x="62874" y="26070"/>
                        <a:pt x="62874" y="26070"/>
                      </a:cubicBezTo>
                      <a:cubicBezTo>
                        <a:pt x="61852" y="26581"/>
                        <a:pt x="59807" y="27092"/>
                        <a:pt x="58274" y="27092"/>
                      </a:cubicBezTo>
                      <a:cubicBezTo>
                        <a:pt x="54184" y="27092"/>
                        <a:pt x="53162" y="25559"/>
                        <a:pt x="53162" y="21469"/>
                      </a:cubicBezTo>
                      <a:lnTo>
                        <a:pt x="63896" y="21469"/>
                      </a:lnTo>
                      <a:cubicBezTo>
                        <a:pt x="64919" y="21469"/>
                        <a:pt x="64919" y="20958"/>
                        <a:pt x="64919" y="20447"/>
                      </a:cubicBezTo>
                      <a:lnTo>
                        <a:pt x="64919" y="16358"/>
                      </a:lnTo>
                      <a:close/>
                      <a:moveTo>
                        <a:pt x="39360" y="9201"/>
                      </a:moveTo>
                      <a:cubicBezTo>
                        <a:pt x="39360" y="8690"/>
                        <a:pt x="38849" y="8690"/>
                        <a:pt x="38338" y="8690"/>
                      </a:cubicBezTo>
                      <a:lnTo>
                        <a:pt x="36804" y="8690"/>
                      </a:lnTo>
                      <a:cubicBezTo>
                        <a:pt x="36293" y="8690"/>
                        <a:pt x="36293" y="8690"/>
                        <a:pt x="36293" y="9201"/>
                      </a:cubicBezTo>
                      <a:lnTo>
                        <a:pt x="36293" y="28626"/>
                      </a:lnTo>
                      <a:cubicBezTo>
                        <a:pt x="36293" y="29137"/>
                        <a:pt x="36293" y="29137"/>
                        <a:pt x="37316" y="29137"/>
                      </a:cubicBezTo>
                      <a:lnTo>
                        <a:pt x="39360" y="29137"/>
                      </a:lnTo>
                      <a:cubicBezTo>
                        <a:pt x="39871" y="29137"/>
                        <a:pt x="40383" y="29137"/>
                        <a:pt x="40383" y="28626"/>
                      </a:cubicBezTo>
                      <a:lnTo>
                        <a:pt x="40383" y="16869"/>
                      </a:lnTo>
                      <a:cubicBezTo>
                        <a:pt x="40383" y="15335"/>
                        <a:pt x="40894" y="13802"/>
                        <a:pt x="41405" y="13290"/>
                      </a:cubicBezTo>
                      <a:cubicBezTo>
                        <a:pt x="41916" y="12268"/>
                        <a:pt x="42938" y="12268"/>
                        <a:pt x="44983" y="12268"/>
                      </a:cubicBezTo>
                      <a:lnTo>
                        <a:pt x="46005" y="12268"/>
                      </a:lnTo>
                      <a:cubicBezTo>
                        <a:pt x="46517" y="12268"/>
                        <a:pt x="47028" y="12268"/>
                        <a:pt x="47028" y="11757"/>
                      </a:cubicBezTo>
                      <a:lnTo>
                        <a:pt x="47028" y="9712"/>
                      </a:lnTo>
                      <a:cubicBezTo>
                        <a:pt x="47028" y="9201"/>
                        <a:pt x="47028" y="9201"/>
                        <a:pt x="46005" y="9201"/>
                      </a:cubicBezTo>
                      <a:lnTo>
                        <a:pt x="44983" y="9201"/>
                      </a:lnTo>
                      <a:cubicBezTo>
                        <a:pt x="42427" y="9201"/>
                        <a:pt x="40894" y="10223"/>
                        <a:pt x="39871" y="11757"/>
                      </a:cubicBezTo>
                      <a:lnTo>
                        <a:pt x="39871" y="11757"/>
                      </a:lnTo>
                      <a:lnTo>
                        <a:pt x="39360" y="9201"/>
                      </a:lnTo>
                      <a:close/>
                      <a:moveTo>
                        <a:pt x="18402" y="5112"/>
                      </a:moveTo>
                      <a:cubicBezTo>
                        <a:pt x="18913" y="5112"/>
                        <a:pt x="19936" y="5112"/>
                        <a:pt x="20958" y="5112"/>
                      </a:cubicBezTo>
                      <a:cubicBezTo>
                        <a:pt x="24025" y="5112"/>
                        <a:pt x="25559" y="6134"/>
                        <a:pt x="25559" y="8690"/>
                      </a:cubicBezTo>
                      <a:lnTo>
                        <a:pt x="25559" y="9201"/>
                      </a:lnTo>
                      <a:cubicBezTo>
                        <a:pt x="25559" y="12268"/>
                        <a:pt x="24025" y="13802"/>
                        <a:pt x="19936" y="13802"/>
                      </a:cubicBezTo>
                      <a:lnTo>
                        <a:pt x="17380" y="13802"/>
                      </a:lnTo>
                      <a:lnTo>
                        <a:pt x="17380" y="6134"/>
                      </a:lnTo>
                      <a:cubicBezTo>
                        <a:pt x="17891" y="5112"/>
                        <a:pt x="18402" y="5112"/>
                        <a:pt x="18402" y="5112"/>
                      </a:cubicBezTo>
                      <a:moveTo>
                        <a:pt x="21469" y="16358"/>
                      </a:moveTo>
                      <a:cubicBezTo>
                        <a:pt x="26070" y="16358"/>
                        <a:pt x="27603" y="17380"/>
                        <a:pt x="27603" y="20447"/>
                      </a:cubicBezTo>
                      <a:lnTo>
                        <a:pt x="27603" y="20958"/>
                      </a:lnTo>
                      <a:cubicBezTo>
                        <a:pt x="27603" y="24536"/>
                        <a:pt x="25047" y="25559"/>
                        <a:pt x="21469" y="25559"/>
                      </a:cubicBezTo>
                      <a:cubicBezTo>
                        <a:pt x="20447" y="25559"/>
                        <a:pt x="19936" y="25559"/>
                        <a:pt x="18913" y="25559"/>
                      </a:cubicBezTo>
                      <a:cubicBezTo>
                        <a:pt x="18402" y="25559"/>
                        <a:pt x="18402" y="25559"/>
                        <a:pt x="18402" y="24536"/>
                      </a:cubicBezTo>
                      <a:lnTo>
                        <a:pt x="18402" y="16358"/>
                      </a:lnTo>
                      <a:lnTo>
                        <a:pt x="21469" y="16358"/>
                      </a:lnTo>
                      <a:close/>
                      <a:moveTo>
                        <a:pt x="20447" y="1533"/>
                      </a:moveTo>
                      <a:cubicBezTo>
                        <a:pt x="18402" y="1533"/>
                        <a:pt x="16358" y="1533"/>
                        <a:pt x="14824" y="2045"/>
                      </a:cubicBezTo>
                      <a:cubicBezTo>
                        <a:pt x="13802" y="2045"/>
                        <a:pt x="13802" y="2556"/>
                        <a:pt x="13802" y="3578"/>
                      </a:cubicBezTo>
                      <a:lnTo>
                        <a:pt x="13802" y="27604"/>
                      </a:lnTo>
                      <a:cubicBezTo>
                        <a:pt x="13802" y="28626"/>
                        <a:pt x="14313" y="29137"/>
                        <a:pt x="14824" y="29137"/>
                      </a:cubicBezTo>
                      <a:cubicBezTo>
                        <a:pt x="16358" y="29137"/>
                        <a:pt x="18402" y="29137"/>
                        <a:pt x="20447" y="29137"/>
                      </a:cubicBezTo>
                      <a:cubicBezTo>
                        <a:pt x="27603" y="29137"/>
                        <a:pt x="31181" y="27092"/>
                        <a:pt x="31181" y="20958"/>
                      </a:cubicBezTo>
                      <a:lnTo>
                        <a:pt x="31181" y="20447"/>
                      </a:lnTo>
                      <a:cubicBezTo>
                        <a:pt x="31181" y="16869"/>
                        <a:pt x="29137" y="14824"/>
                        <a:pt x="26070" y="14313"/>
                      </a:cubicBezTo>
                      <a:lnTo>
                        <a:pt x="26070" y="14313"/>
                      </a:lnTo>
                      <a:cubicBezTo>
                        <a:pt x="28114" y="13290"/>
                        <a:pt x="29648" y="11246"/>
                        <a:pt x="29648" y="8690"/>
                      </a:cubicBezTo>
                      <a:lnTo>
                        <a:pt x="29648" y="8179"/>
                      </a:lnTo>
                      <a:cubicBezTo>
                        <a:pt x="30159" y="3578"/>
                        <a:pt x="26581" y="1533"/>
                        <a:pt x="20447" y="1533"/>
                      </a:cubicBezTo>
                      <a:moveTo>
                        <a:pt x="9201" y="31181"/>
                      </a:moveTo>
                      <a:cubicBezTo>
                        <a:pt x="6134" y="26581"/>
                        <a:pt x="4601" y="22492"/>
                        <a:pt x="4601" y="16869"/>
                      </a:cubicBezTo>
                      <a:cubicBezTo>
                        <a:pt x="4601" y="12268"/>
                        <a:pt x="5623" y="7157"/>
                        <a:pt x="9201" y="3067"/>
                      </a:cubicBezTo>
                      <a:cubicBezTo>
                        <a:pt x="9712" y="2556"/>
                        <a:pt x="9712" y="2045"/>
                        <a:pt x="9712" y="2045"/>
                      </a:cubicBezTo>
                      <a:cubicBezTo>
                        <a:pt x="9712" y="2045"/>
                        <a:pt x="9712" y="1533"/>
                        <a:pt x="9201" y="1533"/>
                      </a:cubicBezTo>
                      <a:lnTo>
                        <a:pt x="8179" y="1022"/>
                      </a:lnTo>
                      <a:cubicBezTo>
                        <a:pt x="7668" y="511"/>
                        <a:pt x="7668" y="511"/>
                        <a:pt x="7156" y="511"/>
                      </a:cubicBezTo>
                      <a:cubicBezTo>
                        <a:pt x="6645" y="511"/>
                        <a:pt x="6645" y="511"/>
                        <a:pt x="6134" y="1022"/>
                      </a:cubicBezTo>
                      <a:cubicBezTo>
                        <a:pt x="1534" y="6645"/>
                        <a:pt x="0" y="11757"/>
                        <a:pt x="0" y="17380"/>
                      </a:cubicBezTo>
                      <a:cubicBezTo>
                        <a:pt x="0" y="23003"/>
                        <a:pt x="2045" y="28626"/>
                        <a:pt x="6134" y="33737"/>
                      </a:cubicBezTo>
                      <a:cubicBezTo>
                        <a:pt x="6645" y="34249"/>
                        <a:pt x="6645" y="34249"/>
                        <a:pt x="7156" y="34249"/>
                      </a:cubicBezTo>
                      <a:cubicBezTo>
                        <a:pt x="7668" y="34249"/>
                        <a:pt x="7668" y="34249"/>
                        <a:pt x="8179" y="33737"/>
                      </a:cubicBezTo>
                      <a:lnTo>
                        <a:pt x="9201" y="33226"/>
                      </a:lnTo>
                      <a:cubicBezTo>
                        <a:pt x="9712" y="32715"/>
                        <a:pt x="9712" y="32715"/>
                        <a:pt x="9712" y="32715"/>
                      </a:cubicBezTo>
                      <a:cubicBezTo>
                        <a:pt x="9712" y="32204"/>
                        <a:pt x="9712" y="31693"/>
                        <a:pt x="9201" y="31181"/>
                      </a:cubicBezTo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5" name="Freihandform: Form 124">
                  <a:extLst>
                    <a:ext uri="{FF2B5EF4-FFF2-40B4-BE49-F238E27FC236}">
                      <a16:creationId xmlns:a16="http://schemas.microsoft.com/office/drawing/2014/main" id="{87B0EF4E-9111-4D1C-A4F1-FD9071238817}"/>
                    </a:ext>
                  </a:extLst>
                </p:cNvPr>
                <p:cNvSpPr/>
                <p:nvPr/>
              </p:nvSpPr>
              <p:spPr>
                <a:xfrm>
                  <a:off x="6639990" y="4506156"/>
                  <a:ext cx="153862" cy="29648"/>
                </a:xfrm>
                <a:custGeom>
                  <a:avLst/>
                  <a:gdLst>
                    <a:gd name="connsiteX0" fmla="*/ 153863 w 153862"/>
                    <a:gd name="connsiteY0" fmla="*/ 15846 h 29648"/>
                    <a:gd name="connsiteX1" fmla="*/ 146706 w 153862"/>
                    <a:gd name="connsiteY1" fmla="*/ 7668 h 29648"/>
                    <a:gd name="connsiteX2" fmla="*/ 141083 w 153862"/>
                    <a:gd name="connsiteY2" fmla="*/ 9201 h 29648"/>
                    <a:gd name="connsiteX3" fmla="*/ 141083 w 153862"/>
                    <a:gd name="connsiteY3" fmla="*/ 511 h 29648"/>
                    <a:gd name="connsiteX4" fmla="*/ 140061 w 153862"/>
                    <a:gd name="connsiteY4" fmla="*/ 0 h 29648"/>
                    <a:gd name="connsiteX5" fmla="*/ 138016 w 153862"/>
                    <a:gd name="connsiteY5" fmla="*/ 0 h 29648"/>
                    <a:gd name="connsiteX6" fmla="*/ 136994 w 153862"/>
                    <a:gd name="connsiteY6" fmla="*/ 511 h 29648"/>
                    <a:gd name="connsiteX7" fmla="*/ 136994 w 153862"/>
                    <a:gd name="connsiteY7" fmla="*/ 27603 h 29648"/>
                    <a:gd name="connsiteX8" fmla="*/ 138016 w 153862"/>
                    <a:gd name="connsiteY8" fmla="*/ 28115 h 29648"/>
                    <a:gd name="connsiteX9" fmla="*/ 140061 w 153862"/>
                    <a:gd name="connsiteY9" fmla="*/ 28115 h 29648"/>
                    <a:gd name="connsiteX10" fmla="*/ 141083 w 153862"/>
                    <a:gd name="connsiteY10" fmla="*/ 27603 h 29648"/>
                    <a:gd name="connsiteX11" fmla="*/ 141083 w 153862"/>
                    <a:gd name="connsiteY11" fmla="*/ 15335 h 29648"/>
                    <a:gd name="connsiteX12" fmla="*/ 145173 w 153862"/>
                    <a:gd name="connsiteY12" fmla="*/ 10735 h 29648"/>
                    <a:gd name="connsiteX13" fmla="*/ 149773 w 153862"/>
                    <a:gd name="connsiteY13" fmla="*/ 15846 h 29648"/>
                    <a:gd name="connsiteX14" fmla="*/ 149773 w 153862"/>
                    <a:gd name="connsiteY14" fmla="*/ 28115 h 29648"/>
                    <a:gd name="connsiteX15" fmla="*/ 150796 w 153862"/>
                    <a:gd name="connsiteY15" fmla="*/ 28626 h 29648"/>
                    <a:gd name="connsiteX16" fmla="*/ 152840 w 153862"/>
                    <a:gd name="connsiteY16" fmla="*/ 28626 h 29648"/>
                    <a:gd name="connsiteX17" fmla="*/ 153863 w 153862"/>
                    <a:gd name="connsiteY17" fmla="*/ 28115 h 29648"/>
                    <a:gd name="connsiteX18" fmla="*/ 153863 w 153862"/>
                    <a:gd name="connsiteY18" fmla="*/ 15846 h 29648"/>
                    <a:gd name="connsiteX19" fmla="*/ 132905 w 153862"/>
                    <a:gd name="connsiteY19" fmla="*/ 25047 h 29648"/>
                    <a:gd name="connsiteX20" fmla="*/ 132393 w 153862"/>
                    <a:gd name="connsiteY20" fmla="*/ 24536 h 29648"/>
                    <a:gd name="connsiteX21" fmla="*/ 131882 w 153862"/>
                    <a:gd name="connsiteY21" fmla="*/ 24536 h 29648"/>
                    <a:gd name="connsiteX22" fmla="*/ 127793 w 153862"/>
                    <a:gd name="connsiteY22" fmla="*/ 25047 h 29648"/>
                    <a:gd name="connsiteX23" fmla="*/ 123703 w 153862"/>
                    <a:gd name="connsiteY23" fmla="*/ 23514 h 29648"/>
                    <a:gd name="connsiteX24" fmla="*/ 122681 w 153862"/>
                    <a:gd name="connsiteY24" fmla="*/ 17891 h 29648"/>
                    <a:gd name="connsiteX25" fmla="*/ 122681 w 153862"/>
                    <a:gd name="connsiteY25" fmla="*/ 17380 h 29648"/>
                    <a:gd name="connsiteX26" fmla="*/ 124215 w 153862"/>
                    <a:gd name="connsiteY26" fmla="*/ 11246 h 29648"/>
                    <a:gd name="connsiteX27" fmla="*/ 127793 w 153862"/>
                    <a:gd name="connsiteY27" fmla="*/ 10223 h 29648"/>
                    <a:gd name="connsiteX28" fmla="*/ 132393 w 153862"/>
                    <a:gd name="connsiteY28" fmla="*/ 11757 h 29648"/>
                    <a:gd name="connsiteX29" fmla="*/ 132905 w 153862"/>
                    <a:gd name="connsiteY29" fmla="*/ 11757 h 29648"/>
                    <a:gd name="connsiteX30" fmla="*/ 133416 w 153862"/>
                    <a:gd name="connsiteY30" fmla="*/ 11246 h 29648"/>
                    <a:gd name="connsiteX31" fmla="*/ 133927 w 153862"/>
                    <a:gd name="connsiteY31" fmla="*/ 10223 h 29648"/>
                    <a:gd name="connsiteX32" fmla="*/ 134438 w 153862"/>
                    <a:gd name="connsiteY32" fmla="*/ 9201 h 29648"/>
                    <a:gd name="connsiteX33" fmla="*/ 133927 w 153862"/>
                    <a:gd name="connsiteY33" fmla="*/ 8690 h 29648"/>
                    <a:gd name="connsiteX34" fmla="*/ 127793 w 153862"/>
                    <a:gd name="connsiteY34" fmla="*/ 7156 h 29648"/>
                    <a:gd name="connsiteX35" fmla="*/ 121659 w 153862"/>
                    <a:gd name="connsiteY35" fmla="*/ 9201 h 29648"/>
                    <a:gd name="connsiteX36" fmla="*/ 119614 w 153862"/>
                    <a:gd name="connsiteY36" fmla="*/ 16869 h 29648"/>
                    <a:gd name="connsiteX37" fmla="*/ 119614 w 153862"/>
                    <a:gd name="connsiteY37" fmla="*/ 18402 h 29648"/>
                    <a:gd name="connsiteX38" fmla="*/ 122170 w 153862"/>
                    <a:gd name="connsiteY38" fmla="*/ 26581 h 29648"/>
                    <a:gd name="connsiteX39" fmla="*/ 128304 w 153862"/>
                    <a:gd name="connsiteY39" fmla="*/ 28626 h 29648"/>
                    <a:gd name="connsiteX40" fmla="*/ 133927 w 153862"/>
                    <a:gd name="connsiteY40" fmla="*/ 27603 h 29648"/>
                    <a:gd name="connsiteX41" fmla="*/ 134438 w 153862"/>
                    <a:gd name="connsiteY41" fmla="*/ 27092 h 29648"/>
                    <a:gd name="connsiteX42" fmla="*/ 134438 w 153862"/>
                    <a:gd name="connsiteY42" fmla="*/ 26070 h 29648"/>
                    <a:gd name="connsiteX43" fmla="*/ 132905 w 153862"/>
                    <a:gd name="connsiteY43" fmla="*/ 25047 h 29648"/>
                    <a:gd name="connsiteX44" fmla="*/ 110413 w 153862"/>
                    <a:gd name="connsiteY44" fmla="*/ 21980 h 29648"/>
                    <a:gd name="connsiteX45" fmla="*/ 106324 w 153862"/>
                    <a:gd name="connsiteY45" fmla="*/ 25559 h 29648"/>
                    <a:gd name="connsiteX46" fmla="*/ 104790 w 153862"/>
                    <a:gd name="connsiteY46" fmla="*/ 25559 h 29648"/>
                    <a:gd name="connsiteX47" fmla="*/ 101723 w 153862"/>
                    <a:gd name="connsiteY47" fmla="*/ 22491 h 29648"/>
                    <a:gd name="connsiteX48" fmla="*/ 101723 w 153862"/>
                    <a:gd name="connsiteY48" fmla="*/ 21980 h 29648"/>
                    <a:gd name="connsiteX49" fmla="*/ 105812 w 153862"/>
                    <a:gd name="connsiteY49" fmla="*/ 18913 h 29648"/>
                    <a:gd name="connsiteX50" fmla="*/ 107857 w 153862"/>
                    <a:gd name="connsiteY50" fmla="*/ 18913 h 29648"/>
                    <a:gd name="connsiteX51" fmla="*/ 109902 w 153862"/>
                    <a:gd name="connsiteY51" fmla="*/ 18913 h 29648"/>
                    <a:gd name="connsiteX52" fmla="*/ 109902 w 153862"/>
                    <a:gd name="connsiteY52" fmla="*/ 21980 h 29648"/>
                    <a:gd name="connsiteX53" fmla="*/ 110924 w 153862"/>
                    <a:gd name="connsiteY53" fmla="*/ 28115 h 29648"/>
                    <a:gd name="connsiteX54" fmla="*/ 111947 w 153862"/>
                    <a:gd name="connsiteY54" fmla="*/ 28626 h 29648"/>
                    <a:gd name="connsiteX55" fmla="*/ 113480 w 153862"/>
                    <a:gd name="connsiteY55" fmla="*/ 28626 h 29648"/>
                    <a:gd name="connsiteX56" fmla="*/ 113991 w 153862"/>
                    <a:gd name="connsiteY56" fmla="*/ 28115 h 29648"/>
                    <a:gd name="connsiteX57" fmla="*/ 113991 w 153862"/>
                    <a:gd name="connsiteY57" fmla="*/ 14824 h 29648"/>
                    <a:gd name="connsiteX58" fmla="*/ 106324 w 153862"/>
                    <a:gd name="connsiteY58" fmla="*/ 7668 h 29648"/>
                    <a:gd name="connsiteX59" fmla="*/ 100190 w 153862"/>
                    <a:gd name="connsiteY59" fmla="*/ 8690 h 29648"/>
                    <a:gd name="connsiteX60" fmla="*/ 99678 w 153862"/>
                    <a:gd name="connsiteY60" fmla="*/ 9201 h 29648"/>
                    <a:gd name="connsiteX61" fmla="*/ 99678 w 153862"/>
                    <a:gd name="connsiteY61" fmla="*/ 10223 h 29648"/>
                    <a:gd name="connsiteX62" fmla="*/ 99678 w 153862"/>
                    <a:gd name="connsiteY62" fmla="*/ 11246 h 29648"/>
                    <a:gd name="connsiteX63" fmla="*/ 100190 w 153862"/>
                    <a:gd name="connsiteY63" fmla="*/ 11757 h 29648"/>
                    <a:gd name="connsiteX64" fmla="*/ 101212 w 153862"/>
                    <a:gd name="connsiteY64" fmla="*/ 11757 h 29648"/>
                    <a:gd name="connsiteX65" fmla="*/ 105812 w 153862"/>
                    <a:gd name="connsiteY65" fmla="*/ 11246 h 29648"/>
                    <a:gd name="connsiteX66" fmla="*/ 109902 w 153862"/>
                    <a:gd name="connsiteY66" fmla="*/ 14824 h 29648"/>
                    <a:gd name="connsiteX67" fmla="*/ 109902 w 153862"/>
                    <a:gd name="connsiteY67" fmla="*/ 16358 h 29648"/>
                    <a:gd name="connsiteX68" fmla="*/ 107346 w 153862"/>
                    <a:gd name="connsiteY68" fmla="*/ 16358 h 29648"/>
                    <a:gd name="connsiteX69" fmla="*/ 106324 w 153862"/>
                    <a:gd name="connsiteY69" fmla="*/ 16358 h 29648"/>
                    <a:gd name="connsiteX70" fmla="*/ 99678 w 153862"/>
                    <a:gd name="connsiteY70" fmla="*/ 17891 h 29648"/>
                    <a:gd name="connsiteX71" fmla="*/ 97634 w 153862"/>
                    <a:gd name="connsiteY71" fmla="*/ 23003 h 29648"/>
                    <a:gd name="connsiteX72" fmla="*/ 97634 w 153862"/>
                    <a:gd name="connsiteY72" fmla="*/ 23514 h 29648"/>
                    <a:gd name="connsiteX73" fmla="*/ 103768 w 153862"/>
                    <a:gd name="connsiteY73" fmla="*/ 29648 h 29648"/>
                    <a:gd name="connsiteX74" fmla="*/ 105301 w 153862"/>
                    <a:gd name="connsiteY74" fmla="*/ 29648 h 29648"/>
                    <a:gd name="connsiteX75" fmla="*/ 110413 w 153862"/>
                    <a:gd name="connsiteY75" fmla="*/ 27603 h 29648"/>
                    <a:gd name="connsiteX76" fmla="*/ 110413 w 153862"/>
                    <a:gd name="connsiteY76" fmla="*/ 27603 h 29648"/>
                    <a:gd name="connsiteX77" fmla="*/ 110924 w 153862"/>
                    <a:gd name="connsiteY77" fmla="*/ 28115 h 29648"/>
                    <a:gd name="connsiteX78" fmla="*/ 81787 w 153862"/>
                    <a:gd name="connsiteY78" fmla="*/ 511 h 29648"/>
                    <a:gd name="connsiteX79" fmla="*/ 80765 w 153862"/>
                    <a:gd name="connsiteY79" fmla="*/ 0 h 29648"/>
                    <a:gd name="connsiteX80" fmla="*/ 78720 w 153862"/>
                    <a:gd name="connsiteY80" fmla="*/ 0 h 29648"/>
                    <a:gd name="connsiteX81" fmla="*/ 77698 w 153862"/>
                    <a:gd name="connsiteY81" fmla="*/ 511 h 29648"/>
                    <a:gd name="connsiteX82" fmla="*/ 77698 w 153862"/>
                    <a:gd name="connsiteY82" fmla="*/ 21469 h 29648"/>
                    <a:gd name="connsiteX83" fmla="*/ 85877 w 153862"/>
                    <a:gd name="connsiteY83" fmla="*/ 28626 h 29648"/>
                    <a:gd name="connsiteX84" fmla="*/ 94567 w 153862"/>
                    <a:gd name="connsiteY84" fmla="*/ 18913 h 29648"/>
                    <a:gd name="connsiteX85" fmla="*/ 94567 w 153862"/>
                    <a:gd name="connsiteY85" fmla="*/ 17380 h 29648"/>
                    <a:gd name="connsiteX86" fmla="*/ 86899 w 153862"/>
                    <a:gd name="connsiteY86" fmla="*/ 7668 h 29648"/>
                    <a:gd name="connsiteX87" fmla="*/ 81787 w 153862"/>
                    <a:gd name="connsiteY87" fmla="*/ 9712 h 29648"/>
                    <a:gd name="connsiteX88" fmla="*/ 81787 w 153862"/>
                    <a:gd name="connsiteY88" fmla="*/ 9712 h 29648"/>
                    <a:gd name="connsiteX89" fmla="*/ 81787 w 153862"/>
                    <a:gd name="connsiteY89" fmla="*/ 511 h 29648"/>
                    <a:gd name="connsiteX90" fmla="*/ 85877 w 153862"/>
                    <a:gd name="connsiteY90" fmla="*/ 25559 h 29648"/>
                    <a:gd name="connsiteX91" fmla="*/ 81276 w 153862"/>
                    <a:gd name="connsiteY91" fmla="*/ 20958 h 29648"/>
                    <a:gd name="connsiteX92" fmla="*/ 81276 w 153862"/>
                    <a:gd name="connsiteY92" fmla="*/ 15335 h 29648"/>
                    <a:gd name="connsiteX93" fmla="*/ 85877 w 153862"/>
                    <a:gd name="connsiteY93" fmla="*/ 10223 h 29648"/>
                    <a:gd name="connsiteX94" fmla="*/ 90477 w 153862"/>
                    <a:gd name="connsiteY94" fmla="*/ 16869 h 29648"/>
                    <a:gd name="connsiteX95" fmla="*/ 90477 w 153862"/>
                    <a:gd name="connsiteY95" fmla="*/ 18402 h 29648"/>
                    <a:gd name="connsiteX96" fmla="*/ 85877 w 153862"/>
                    <a:gd name="connsiteY96" fmla="*/ 25559 h 29648"/>
                    <a:gd name="connsiteX97" fmla="*/ 72586 w 153862"/>
                    <a:gd name="connsiteY97" fmla="*/ 15846 h 29648"/>
                    <a:gd name="connsiteX98" fmla="*/ 65430 w 153862"/>
                    <a:gd name="connsiteY98" fmla="*/ 7668 h 29648"/>
                    <a:gd name="connsiteX99" fmla="*/ 59807 w 153862"/>
                    <a:gd name="connsiteY99" fmla="*/ 9201 h 29648"/>
                    <a:gd name="connsiteX100" fmla="*/ 59807 w 153862"/>
                    <a:gd name="connsiteY100" fmla="*/ 511 h 29648"/>
                    <a:gd name="connsiteX101" fmla="*/ 58785 w 153862"/>
                    <a:gd name="connsiteY101" fmla="*/ 0 h 29648"/>
                    <a:gd name="connsiteX102" fmla="*/ 56740 w 153862"/>
                    <a:gd name="connsiteY102" fmla="*/ 0 h 29648"/>
                    <a:gd name="connsiteX103" fmla="*/ 55718 w 153862"/>
                    <a:gd name="connsiteY103" fmla="*/ 511 h 29648"/>
                    <a:gd name="connsiteX104" fmla="*/ 55718 w 153862"/>
                    <a:gd name="connsiteY104" fmla="*/ 27603 h 29648"/>
                    <a:gd name="connsiteX105" fmla="*/ 56740 w 153862"/>
                    <a:gd name="connsiteY105" fmla="*/ 28115 h 29648"/>
                    <a:gd name="connsiteX106" fmla="*/ 58785 w 153862"/>
                    <a:gd name="connsiteY106" fmla="*/ 28115 h 29648"/>
                    <a:gd name="connsiteX107" fmla="*/ 59807 w 153862"/>
                    <a:gd name="connsiteY107" fmla="*/ 27603 h 29648"/>
                    <a:gd name="connsiteX108" fmla="*/ 59807 w 153862"/>
                    <a:gd name="connsiteY108" fmla="*/ 15335 h 29648"/>
                    <a:gd name="connsiteX109" fmla="*/ 63896 w 153862"/>
                    <a:gd name="connsiteY109" fmla="*/ 10735 h 29648"/>
                    <a:gd name="connsiteX110" fmla="*/ 68497 w 153862"/>
                    <a:gd name="connsiteY110" fmla="*/ 15846 h 29648"/>
                    <a:gd name="connsiteX111" fmla="*/ 68497 w 153862"/>
                    <a:gd name="connsiteY111" fmla="*/ 28115 h 29648"/>
                    <a:gd name="connsiteX112" fmla="*/ 69519 w 153862"/>
                    <a:gd name="connsiteY112" fmla="*/ 28626 h 29648"/>
                    <a:gd name="connsiteX113" fmla="*/ 71564 w 153862"/>
                    <a:gd name="connsiteY113" fmla="*/ 28626 h 29648"/>
                    <a:gd name="connsiteX114" fmla="*/ 72586 w 153862"/>
                    <a:gd name="connsiteY114" fmla="*/ 28115 h 29648"/>
                    <a:gd name="connsiteX115" fmla="*/ 72586 w 153862"/>
                    <a:gd name="connsiteY115" fmla="*/ 15846 h 29648"/>
                    <a:gd name="connsiteX116" fmla="*/ 51117 w 153862"/>
                    <a:gd name="connsiteY116" fmla="*/ 25047 h 29648"/>
                    <a:gd name="connsiteX117" fmla="*/ 50606 w 153862"/>
                    <a:gd name="connsiteY117" fmla="*/ 24536 h 29648"/>
                    <a:gd name="connsiteX118" fmla="*/ 50095 w 153862"/>
                    <a:gd name="connsiteY118" fmla="*/ 24536 h 29648"/>
                    <a:gd name="connsiteX119" fmla="*/ 46005 w 153862"/>
                    <a:gd name="connsiteY119" fmla="*/ 25047 h 29648"/>
                    <a:gd name="connsiteX120" fmla="*/ 41916 w 153862"/>
                    <a:gd name="connsiteY120" fmla="*/ 23514 h 29648"/>
                    <a:gd name="connsiteX121" fmla="*/ 40894 w 153862"/>
                    <a:gd name="connsiteY121" fmla="*/ 17891 h 29648"/>
                    <a:gd name="connsiteX122" fmla="*/ 40894 w 153862"/>
                    <a:gd name="connsiteY122" fmla="*/ 17380 h 29648"/>
                    <a:gd name="connsiteX123" fmla="*/ 42427 w 153862"/>
                    <a:gd name="connsiteY123" fmla="*/ 11246 h 29648"/>
                    <a:gd name="connsiteX124" fmla="*/ 46005 w 153862"/>
                    <a:gd name="connsiteY124" fmla="*/ 10223 h 29648"/>
                    <a:gd name="connsiteX125" fmla="*/ 50606 w 153862"/>
                    <a:gd name="connsiteY125" fmla="*/ 11757 h 29648"/>
                    <a:gd name="connsiteX126" fmla="*/ 51117 w 153862"/>
                    <a:gd name="connsiteY126" fmla="*/ 11757 h 29648"/>
                    <a:gd name="connsiteX127" fmla="*/ 51628 w 153862"/>
                    <a:gd name="connsiteY127" fmla="*/ 11246 h 29648"/>
                    <a:gd name="connsiteX128" fmla="*/ 52139 w 153862"/>
                    <a:gd name="connsiteY128" fmla="*/ 10223 h 29648"/>
                    <a:gd name="connsiteX129" fmla="*/ 52651 w 153862"/>
                    <a:gd name="connsiteY129" fmla="*/ 9201 h 29648"/>
                    <a:gd name="connsiteX130" fmla="*/ 52139 w 153862"/>
                    <a:gd name="connsiteY130" fmla="*/ 8690 h 29648"/>
                    <a:gd name="connsiteX131" fmla="*/ 46005 w 153862"/>
                    <a:gd name="connsiteY131" fmla="*/ 7156 h 29648"/>
                    <a:gd name="connsiteX132" fmla="*/ 39871 w 153862"/>
                    <a:gd name="connsiteY132" fmla="*/ 9201 h 29648"/>
                    <a:gd name="connsiteX133" fmla="*/ 37827 w 153862"/>
                    <a:gd name="connsiteY133" fmla="*/ 16869 h 29648"/>
                    <a:gd name="connsiteX134" fmla="*/ 37827 w 153862"/>
                    <a:gd name="connsiteY134" fmla="*/ 18402 h 29648"/>
                    <a:gd name="connsiteX135" fmla="*/ 40383 w 153862"/>
                    <a:gd name="connsiteY135" fmla="*/ 26581 h 29648"/>
                    <a:gd name="connsiteX136" fmla="*/ 46517 w 153862"/>
                    <a:gd name="connsiteY136" fmla="*/ 28626 h 29648"/>
                    <a:gd name="connsiteX137" fmla="*/ 52139 w 153862"/>
                    <a:gd name="connsiteY137" fmla="*/ 27603 h 29648"/>
                    <a:gd name="connsiteX138" fmla="*/ 52651 w 153862"/>
                    <a:gd name="connsiteY138" fmla="*/ 27092 h 29648"/>
                    <a:gd name="connsiteX139" fmla="*/ 52651 w 153862"/>
                    <a:gd name="connsiteY139" fmla="*/ 26070 h 29648"/>
                    <a:gd name="connsiteX140" fmla="*/ 51117 w 153862"/>
                    <a:gd name="connsiteY140" fmla="*/ 25047 h 29648"/>
                    <a:gd name="connsiteX141" fmla="*/ 26070 w 153862"/>
                    <a:gd name="connsiteY141" fmla="*/ 29137 h 29648"/>
                    <a:gd name="connsiteX142" fmla="*/ 33737 w 153862"/>
                    <a:gd name="connsiteY142" fmla="*/ 23003 h 29648"/>
                    <a:gd name="connsiteX143" fmla="*/ 33737 w 153862"/>
                    <a:gd name="connsiteY143" fmla="*/ 22491 h 29648"/>
                    <a:gd name="connsiteX144" fmla="*/ 28626 w 153862"/>
                    <a:gd name="connsiteY144" fmla="*/ 16358 h 29648"/>
                    <a:gd name="connsiteX145" fmla="*/ 26581 w 153862"/>
                    <a:gd name="connsiteY145" fmla="*/ 15846 h 29648"/>
                    <a:gd name="connsiteX146" fmla="*/ 23514 w 153862"/>
                    <a:gd name="connsiteY146" fmla="*/ 13290 h 29648"/>
                    <a:gd name="connsiteX147" fmla="*/ 23514 w 153862"/>
                    <a:gd name="connsiteY147" fmla="*/ 13290 h 29648"/>
                    <a:gd name="connsiteX148" fmla="*/ 27092 w 153862"/>
                    <a:gd name="connsiteY148" fmla="*/ 10735 h 29648"/>
                    <a:gd name="connsiteX149" fmla="*/ 30670 w 153862"/>
                    <a:gd name="connsiteY149" fmla="*/ 11246 h 29648"/>
                    <a:gd name="connsiteX150" fmla="*/ 31693 w 153862"/>
                    <a:gd name="connsiteY150" fmla="*/ 11246 h 29648"/>
                    <a:gd name="connsiteX151" fmla="*/ 32204 w 153862"/>
                    <a:gd name="connsiteY151" fmla="*/ 10735 h 29648"/>
                    <a:gd name="connsiteX152" fmla="*/ 32204 w 153862"/>
                    <a:gd name="connsiteY152" fmla="*/ 9712 h 29648"/>
                    <a:gd name="connsiteX153" fmla="*/ 32204 w 153862"/>
                    <a:gd name="connsiteY153" fmla="*/ 8690 h 29648"/>
                    <a:gd name="connsiteX154" fmla="*/ 31693 w 153862"/>
                    <a:gd name="connsiteY154" fmla="*/ 8179 h 29648"/>
                    <a:gd name="connsiteX155" fmla="*/ 26581 w 153862"/>
                    <a:gd name="connsiteY155" fmla="*/ 7668 h 29648"/>
                    <a:gd name="connsiteX156" fmla="*/ 19424 w 153862"/>
                    <a:gd name="connsiteY156" fmla="*/ 13290 h 29648"/>
                    <a:gd name="connsiteX157" fmla="*/ 19424 w 153862"/>
                    <a:gd name="connsiteY157" fmla="*/ 13802 h 29648"/>
                    <a:gd name="connsiteX158" fmla="*/ 24536 w 153862"/>
                    <a:gd name="connsiteY158" fmla="*/ 19425 h 29648"/>
                    <a:gd name="connsiteX159" fmla="*/ 26581 w 153862"/>
                    <a:gd name="connsiteY159" fmla="*/ 19936 h 29648"/>
                    <a:gd name="connsiteX160" fmla="*/ 29648 w 153862"/>
                    <a:gd name="connsiteY160" fmla="*/ 23003 h 29648"/>
                    <a:gd name="connsiteX161" fmla="*/ 29648 w 153862"/>
                    <a:gd name="connsiteY161" fmla="*/ 23003 h 29648"/>
                    <a:gd name="connsiteX162" fmla="*/ 25559 w 153862"/>
                    <a:gd name="connsiteY162" fmla="*/ 26070 h 29648"/>
                    <a:gd name="connsiteX163" fmla="*/ 21469 w 153862"/>
                    <a:gd name="connsiteY163" fmla="*/ 25559 h 29648"/>
                    <a:gd name="connsiteX164" fmla="*/ 19936 w 153862"/>
                    <a:gd name="connsiteY164" fmla="*/ 25047 h 29648"/>
                    <a:gd name="connsiteX165" fmla="*/ 19424 w 153862"/>
                    <a:gd name="connsiteY165" fmla="*/ 25559 h 29648"/>
                    <a:gd name="connsiteX166" fmla="*/ 19424 w 153862"/>
                    <a:gd name="connsiteY166" fmla="*/ 26070 h 29648"/>
                    <a:gd name="connsiteX167" fmla="*/ 19424 w 153862"/>
                    <a:gd name="connsiteY167" fmla="*/ 27092 h 29648"/>
                    <a:gd name="connsiteX168" fmla="*/ 19936 w 153862"/>
                    <a:gd name="connsiteY168" fmla="*/ 27603 h 29648"/>
                    <a:gd name="connsiteX169" fmla="*/ 26070 w 153862"/>
                    <a:gd name="connsiteY169" fmla="*/ 29137 h 29648"/>
                    <a:gd name="connsiteX170" fmla="*/ 15335 w 153862"/>
                    <a:gd name="connsiteY170" fmla="*/ 28626 h 29648"/>
                    <a:gd name="connsiteX171" fmla="*/ 16357 w 153862"/>
                    <a:gd name="connsiteY171" fmla="*/ 27603 h 29648"/>
                    <a:gd name="connsiteX172" fmla="*/ 16357 w 153862"/>
                    <a:gd name="connsiteY172" fmla="*/ 26070 h 29648"/>
                    <a:gd name="connsiteX173" fmla="*/ 15335 w 153862"/>
                    <a:gd name="connsiteY173" fmla="*/ 25047 h 29648"/>
                    <a:gd name="connsiteX174" fmla="*/ 6134 w 153862"/>
                    <a:gd name="connsiteY174" fmla="*/ 25047 h 29648"/>
                    <a:gd name="connsiteX175" fmla="*/ 4601 w 153862"/>
                    <a:gd name="connsiteY175" fmla="*/ 23514 h 29648"/>
                    <a:gd name="connsiteX176" fmla="*/ 4089 w 153862"/>
                    <a:gd name="connsiteY176" fmla="*/ 15846 h 29648"/>
                    <a:gd name="connsiteX177" fmla="*/ 13802 w 153862"/>
                    <a:gd name="connsiteY177" fmla="*/ 15846 h 29648"/>
                    <a:gd name="connsiteX178" fmla="*/ 14824 w 153862"/>
                    <a:gd name="connsiteY178" fmla="*/ 14824 h 29648"/>
                    <a:gd name="connsiteX179" fmla="*/ 14824 w 153862"/>
                    <a:gd name="connsiteY179" fmla="*/ 13290 h 29648"/>
                    <a:gd name="connsiteX180" fmla="*/ 13802 w 153862"/>
                    <a:gd name="connsiteY180" fmla="*/ 12268 h 29648"/>
                    <a:gd name="connsiteX181" fmla="*/ 4089 w 153862"/>
                    <a:gd name="connsiteY181" fmla="*/ 12268 h 29648"/>
                    <a:gd name="connsiteX182" fmla="*/ 4089 w 153862"/>
                    <a:gd name="connsiteY182" fmla="*/ 5623 h 29648"/>
                    <a:gd name="connsiteX183" fmla="*/ 6134 w 153862"/>
                    <a:gd name="connsiteY183" fmla="*/ 4089 h 29648"/>
                    <a:gd name="connsiteX184" fmla="*/ 15335 w 153862"/>
                    <a:gd name="connsiteY184" fmla="*/ 4089 h 29648"/>
                    <a:gd name="connsiteX185" fmla="*/ 16357 w 153862"/>
                    <a:gd name="connsiteY185" fmla="*/ 3067 h 29648"/>
                    <a:gd name="connsiteX186" fmla="*/ 16357 w 153862"/>
                    <a:gd name="connsiteY186" fmla="*/ 1533 h 29648"/>
                    <a:gd name="connsiteX187" fmla="*/ 15335 w 153862"/>
                    <a:gd name="connsiteY187" fmla="*/ 511 h 29648"/>
                    <a:gd name="connsiteX188" fmla="*/ 5623 w 153862"/>
                    <a:gd name="connsiteY188" fmla="*/ 511 h 29648"/>
                    <a:gd name="connsiteX189" fmla="*/ 0 w 153862"/>
                    <a:gd name="connsiteY189" fmla="*/ 5112 h 29648"/>
                    <a:gd name="connsiteX190" fmla="*/ 0 w 153862"/>
                    <a:gd name="connsiteY190" fmla="*/ 13290 h 29648"/>
                    <a:gd name="connsiteX191" fmla="*/ 0 w 153862"/>
                    <a:gd name="connsiteY191" fmla="*/ 14824 h 29648"/>
                    <a:gd name="connsiteX192" fmla="*/ 511 w 153862"/>
                    <a:gd name="connsiteY192" fmla="*/ 23003 h 29648"/>
                    <a:gd name="connsiteX193" fmla="*/ 6134 w 153862"/>
                    <a:gd name="connsiteY193" fmla="*/ 27603 h 29648"/>
                    <a:gd name="connsiteX194" fmla="*/ 15335 w 153862"/>
                    <a:gd name="connsiteY194" fmla="*/ 27603 h 29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</a:cxnLst>
                  <a:rect l="l" t="t" r="r" b="b"/>
                  <a:pathLst>
                    <a:path w="153862" h="29648">
                      <a:moveTo>
                        <a:pt x="153863" y="15846"/>
                      </a:moveTo>
                      <a:cubicBezTo>
                        <a:pt x="153863" y="9712"/>
                        <a:pt x="151307" y="7668"/>
                        <a:pt x="146706" y="7668"/>
                      </a:cubicBezTo>
                      <a:cubicBezTo>
                        <a:pt x="144150" y="7668"/>
                        <a:pt x="142106" y="8179"/>
                        <a:pt x="141083" y="9201"/>
                      </a:cubicBezTo>
                      <a:lnTo>
                        <a:pt x="141083" y="511"/>
                      </a:lnTo>
                      <a:cubicBezTo>
                        <a:pt x="141083" y="0"/>
                        <a:pt x="141083" y="0"/>
                        <a:pt x="140061" y="0"/>
                      </a:cubicBezTo>
                      <a:lnTo>
                        <a:pt x="138016" y="0"/>
                      </a:lnTo>
                      <a:cubicBezTo>
                        <a:pt x="137505" y="0"/>
                        <a:pt x="136994" y="0"/>
                        <a:pt x="136994" y="511"/>
                      </a:cubicBezTo>
                      <a:lnTo>
                        <a:pt x="136994" y="27603"/>
                      </a:lnTo>
                      <a:cubicBezTo>
                        <a:pt x="136994" y="28115"/>
                        <a:pt x="137505" y="28115"/>
                        <a:pt x="138016" y="28115"/>
                      </a:cubicBezTo>
                      <a:lnTo>
                        <a:pt x="140061" y="28115"/>
                      </a:lnTo>
                      <a:cubicBezTo>
                        <a:pt x="140572" y="28115"/>
                        <a:pt x="141083" y="28115"/>
                        <a:pt x="141083" y="27603"/>
                      </a:cubicBezTo>
                      <a:lnTo>
                        <a:pt x="141083" y="15335"/>
                      </a:lnTo>
                      <a:cubicBezTo>
                        <a:pt x="141083" y="12268"/>
                        <a:pt x="142617" y="10735"/>
                        <a:pt x="145173" y="10735"/>
                      </a:cubicBezTo>
                      <a:cubicBezTo>
                        <a:pt x="148240" y="10735"/>
                        <a:pt x="149773" y="11757"/>
                        <a:pt x="149773" y="15846"/>
                      </a:cubicBezTo>
                      <a:lnTo>
                        <a:pt x="149773" y="28115"/>
                      </a:lnTo>
                      <a:cubicBezTo>
                        <a:pt x="149773" y="28626"/>
                        <a:pt x="150284" y="28626"/>
                        <a:pt x="150796" y="28626"/>
                      </a:cubicBezTo>
                      <a:lnTo>
                        <a:pt x="152840" y="28626"/>
                      </a:lnTo>
                      <a:cubicBezTo>
                        <a:pt x="153351" y="28626"/>
                        <a:pt x="153863" y="28626"/>
                        <a:pt x="153863" y="28115"/>
                      </a:cubicBezTo>
                      <a:lnTo>
                        <a:pt x="153863" y="15846"/>
                      </a:lnTo>
                      <a:close/>
                      <a:moveTo>
                        <a:pt x="132905" y="25047"/>
                      </a:moveTo>
                      <a:cubicBezTo>
                        <a:pt x="132905" y="24536"/>
                        <a:pt x="132393" y="24536"/>
                        <a:pt x="132393" y="24536"/>
                      </a:cubicBezTo>
                      <a:cubicBezTo>
                        <a:pt x="132393" y="24536"/>
                        <a:pt x="131882" y="24536"/>
                        <a:pt x="131882" y="24536"/>
                      </a:cubicBezTo>
                      <a:cubicBezTo>
                        <a:pt x="130860" y="25047"/>
                        <a:pt x="129326" y="25047"/>
                        <a:pt x="127793" y="25047"/>
                      </a:cubicBezTo>
                      <a:cubicBezTo>
                        <a:pt x="126259" y="25047"/>
                        <a:pt x="124726" y="24536"/>
                        <a:pt x="123703" y="23514"/>
                      </a:cubicBezTo>
                      <a:cubicBezTo>
                        <a:pt x="122681" y="22491"/>
                        <a:pt x="122681" y="20958"/>
                        <a:pt x="122681" y="17891"/>
                      </a:cubicBezTo>
                      <a:lnTo>
                        <a:pt x="122681" y="17380"/>
                      </a:lnTo>
                      <a:cubicBezTo>
                        <a:pt x="122681" y="14313"/>
                        <a:pt x="122681" y="12779"/>
                        <a:pt x="124215" y="11246"/>
                      </a:cubicBezTo>
                      <a:cubicBezTo>
                        <a:pt x="125237" y="10735"/>
                        <a:pt x="126259" y="10223"/>
                        <a:pt x="127793" y="10223"/>
                      </a:cubicBezTo>
                      <a:cubicBezTo>
                        <a:pt x="129326" y="10223"/>
                        <a:pt x="130860" y="10735"/>
                        <a:pt x="132393" y="11757"/>
                      </a:cubicBezTo>
                      <a:cubicBezTo>
                        <a:pt x="132393" y="11757"/>
                        <a:pt x="132905" y="11757"/>
                        <a:pt x="132905" y="11757"/>
                      </a:cubicBezTo>
                      <a:cubicBezTo>
                        <a:pt x="132905" y="11757"/>
                        <a:pt x="133416" y="11757"/>
                        <a:pt x="133416" y="11246"/>
                      </a:cubicBezTo>
                      <a:lnTo>
                        <a:pt x="133927" y="10223"/>
                      </a:lnTo>
                      <a:cubicBezTo>
                        <a:pt x="134438" y="9712"/>
                        <a:pt x="134438" y="9201"/>
                        <a:pt x="134438" y="9201"/>
                      </a:cubicBezTo>
                      <a:cubicBezTo>
                        <a:pt x="134438" y="9201"/>
                        <a:pt x="134438" y="8690"/>
                        <a:pt x="133927" y="8690"/>
                      </a:cubicBezTo>
                      <a:cubicBezTo>
                        <a:pt x="132393" y="7668"/>
                        <a:pt x="129838" y="7156"/>
                        <a:pt x="127793" y="7156"/>
                      </a:cubicBezTo>
                      <a:cubicBezTo>
                        <a:pt x="125237" y="7156"/>
                        <a:pt x="123192" y="7668"/>
                        <a:pt x="121659" y="9201"/>
                      </a:cubicBezTo>
                      <a:cubicBezTo>
                        <a:pt x="120125" y="10735"/>
                        <a:pt x="119614" y="12779"/>
                        <a:pt x="119614" y="16869"/>
                      </a:cubicBezTo>
                      <a:lnTo>
                        <a:pt x="119614" y="18402"/>
                      </a:lnTo>
                      <a:cubicBezTo>
                        <a:pt x="119614" y="21980"/>
                        <a:pt x="120125" y="25047"/>
                        <a:pt x="122170" y="26581"/>
                      </a:cubicBezTo>
                      <a:cubicBezTo>
                        <a:pt x="123192" y="27603"/>
                        <a:pt x="125748" y="28626"/>
                        <a:pt x="128304" y="28626"/>
                      </a:cubicBezTo>
                      <a:cubicBezTo>
                        <a:pt x="130349" y="28626"/>
                        <a:pt x="132393" y="28115"/>
                        <a:pt x="133927" y="27603"/>
                      </a:cubicBezTo>
                      <a:cubicBezTo>
                        <a:pt x="134438" y="27603"/>
                        <a:pt x="134438" y="27092"/>
                        <a:pt x="134438" y="27092"/>
                      </a:cubicBezTo>
                      <a:cubicBezTo>
                        <a:pt x="134438" y="27092"/>
                        <a:pt x="134438" y="26581"/>
                        <a:pt x="134438" y="26070"/>
                      </a:cubicBezTo>
                      <a:lnTo>
                        <a:pt x="132905" y="25047"/>
                      </a:lnTo>
                      <a:close/>
                      <a:moveTo>
                        <a:pt x="110413" y="21980"/>
                      </a:moveTo>
                      <a:cubicBezTo>
                        <a:pt x="110413" y="24536"/>
                        <a:pt x="109391" y="25559"/>
                        <a:pt x="106324" y="25559"/>
                      </a:cubicBezTo>
                      <a:lnTo>
                        <a:pt x="104790" y="25559"/>
                      </a:lnTo>
                      <a:cubicBezTo>
                        <a:pt x="102745" y="25559"/>
                        <a:pt x="101723" y="24536"/>
                        <a:pt x="101723" y="22491"/>
                      </a:cubicBezTo>
                      <a:lnTo>
                        <a:pt x="101723" y="21980"/>
                      </a:lnTo>
                      <a:cubicBezTo>
                        <a:pt x="101723" y="19425"/>
                        <a:pt x="102745" y="18913"/>
                        <a:pt x="105812" y="18913"/>
                      </a:cubicBezTo>
                      <a:lnTo>
                        <a:pt x="107857" y="18913"/>
                      </a:lnTo>
                      <a:cubicBezTo>
                        <a:pt x="108368" y="18913"/>
                        <a:pt x="109391" y="18913"/>
                        <a:pt x="109902" y="18913"/>
                      </a:cubicBezTo>
                      <a:lnTo>
                        <a:pt x="109902" y="21980"/>
                      </a:lnTo>
                      <a:close/>
                      <a:moveTo>
                        <a:pt x="110924" y="28115"/>
                      </a:moveTo>
                      <a:cubicBezTo>
                        <a:pt x="110924" y="28626"/>
                        <a:pt x="111435" y="28626"/>
                        <a:pt x="111947" y="28626"/>
                      </a:cubicBezTo>
                      <a:lnTo>
                        <a:pt x="113480" y="28626"/>
                      </a:lnTo>
                      <a:cubicBezTo>
                        <a:pt x="113991" y="28626"/>
                        <a:pt x="113991" y="28626"/>
                        <a:pt x="113991" y="28115"/>
                      </a:cubicBezTo>
                      <a:lnTo>
                        <a:pt x="113991" y="14824"/>
                      </a:lnTo>
                      <a:cubicBezTo>
                        <a:pt x="113991" y="9712"/>
                        <a:pt x="111435" y="7668"/>
                        <a:pt x="106324" y="7668"/>
                      </a:cubicBezTo>
                      <a:cubicBezTo>
                        <a:pt x="104279" y="7668"/>
                        <a:pt x="101723" y="8179"/>
                        <a:pt x="100190" y="8690"/>
                      </a:cubicBezTo>
                      <a:cubicBezTo>
                        <a:pt x="99678" y="8690"/>
                        <a:pt x="99678" y="9201"/>
                        <a:pt x="99678" y="9201"/>
                      </a:cubicBezTo>
                      <a:cubicBezTo>
                        <a:pt x="99678" y="9201"/>
                        <a:pt x="99678" y="9712"/>
                        <a:pt x="99678" y="10223"/>
                      </a:cubicBezTo>
                      <a:lnTo>
                        <a:pt x="99678" y="11246"/>
                      </a:lnTo>
                      <a:cubicBezTo>
                        <a:pt x="99678" y="11757"/>
                        <a:pt x="100190" y="11757"/>
                        <a:pt x="100190" y="11757"/>
                      </a:cubicBezTo>
                      <a:cubicBezTo>
                        <a:pt x="100190" y="11757"/>
                        <a:pt x="100701" y="11757"/>
                        <a:pt x="101212" y="11757"/>
                      </a:cubicBezTo>
                      <a:cubicBezTo>
                        <a:pt x="102745" y="11246"/>
                        <a:pt x="104279" y="11246"/>
                        <a:pt x="105812" y="11246"/>
                      </a:cubicBezTo>
                      <a:cubicBezTo>
                        <a:pt x="108879" y="11246"/>
                        <a:pt x="109902" y="11757"/>
                        <a:pt x="109902" y="14824"/>
                      </a:cubicBezTo>
                      <a:lnTo>
                        <a:pt x="109902" y="16358"/>
                      </a:lnTo>
                      <a:cubicBezTo>
                        <a:pt x="109391" y="16358"/>
                        <a:pt x="108368" y="16358"/>
                        <a:pt x="107346" y="16358"/>
                      </a:cubicBezTo>
                      <a:lnTo>
                        <a:pt x="106324" y="16358"/>
                      </a:lnTo>
                      <a:cubicBezTo>
                        <a:pt x="102745" y="16358"/>
                        <a:pt x="101212" y="16869"/>
                        <a:pt x="99678" y="17891"/>
                      </a:cubicBezTo>
                      <a:cubicBezTo>
                        <a:pt x="98145" y="18913"/>
                        <a:pt x="97634" y="20447"/>
                        <a:pt x="97634" y="23003"/>
                      </a:cubicBezTo>
                      <a:lnTo>
                        <a:pt x="97634" y="23514"/>
                      </a:lnTo>
                      <a:cubicBezTo>
                        <a:pt x="97634" y="27092"/>
                        <a:pt x="99678" y="29648"/>
                        <a:pt x="103768" y="29648"/>
                      </a:cubicBezTo>
                      <a:lnTo>
                        <a:pt x="105301" y="29648"/>
                      </a:lnTo>
                      <a:cubicBezTo>
                        <a:pt x="107857" y="29648"/>
                        <a:pt x="109902" y="29137"/>
                        <a:pt x="110413" y="27603"/>
                      </a:cubicBezTo>
                      <a:lnTo>
                        <a:pt x="110413" y="27603"/>
                      </a:lnTo>
                      <a:lnTo>
                        <a:pt x="110924" y="28115"/>
                      </a:lnTo>
                      <a:close/>
                      <a:moveTo>
                        <a:pt x="81787" y="511"/>
                      </a:moveTo>
                      <a:cubicBezTo>
                        <a:pt x="81787" y="0"/>
                        <a:pt x="81787" y="0"/>
                        <a:pt x="80765" y="0"/>
                      </a:cubicBezTo>
                      <a:lnTo>
                        <a:pt x="78720" y="0"/>
                      </a:lnTo>
                      <a:cubicBezTo>
                        <a:pt x="78209" y="0"/>
                        <a:pt x="77698" y="0"/>
                        <a:pt x="77698" y="511"/>
                      </a:cubicBezTo>
                      <a:lnTo>
                        <a:pt x="77698" y="21469"/>
                      </a:lnTo>
                      <a:cubicBezTo>
                        <a:pt x="77698" y="27092"/>
                        <a:pt x="80765" y="28626"/>
                        <a:pt x="85877" y="28626"/>
                      </a:cubicBezTo>
                      <a:cubicBezTo>
                        <a:pt x="92011" y="28626"/>
                        <a:pt x="94567" y="26070"/>
                        <a:pt x="94567" y="18913"/>
                      </a:cubicBezTo>
                      <a:lnTo>
                        <a:pt x="94567" y="17380"/>
                      </a:lnTo>
                      <a:cubicBezTo>
                        <a:pt x="94567" y="10735"/>
                        <a:pt x="92011" y="7668"/>
                        <a:pt x="86899" y="7668"/>
                      </a:cubicBezTo>
                      <a:cubicBezTo>
                        <a:pt x="84343" y="7668"/>
                        <a:pt x="82810" y="8179"/>
                        <a:pt x="81787" y="9712"/>
                      </a:cubicBezTo>
                      <a:lnTo>
                        <a:pt x="81787" y="9712"/>
                      </a:lnTo>
                      <a:lnTo>
                        <a:pt x="81787" y="511"/>
                      </a:lnTo>
                      <a:close/>
                      <a:moveTo>
                        <a:pt x="85877" y="25559"/>
                      </a:moveTo>
                      <a:cubicBezTo>
                        <a:pt x="82810" y="25559"/>
                        <a:pt x="81276" y="24536"/>
                        <a:pt x="81276" y="20958"/>
                      </a:cubicBezTo>
                      <a:lnTo>
                        <a:pt x="81276" y="15335"/>
                      </a:lnTo>
                      <a:cubicBezTo>
                        <a:pt x="81276" y="11246"/>
                        <a:pt x="82810" y="10223"/>
                        <a:pt x="85877" y="10223"/>
                      </a:cubicBezTo>
                      <a:cubicBezTo>
                        <a:pt x="89455" y="10223"/>
                        <a:pt x="90477" y="12268"/>
                        <a:pt x="90477" y="16869"/>
                      </a:cubicBezTo>
                      <a:lnTo>
                        <a:pt x="90477" y="18402"/>
                      </a:lnTo>
                      <a:cubicBezTo>
                        <a:pt x="90988" y="24536"/>
                        <a:pt x="89455" y="25559"/>
                        <a:pt x="85877" y="25559"/>
                      </a:cubicBezTo>
                      <a:moveTo>
                        <a:pt x="72586" y="15846"/>
                      </a:moveTo>
                      <a:cubicBezTo>
                        <a:pt x="72586" y="9712"/>
                        <a:pt x="70030" y="7668"/>
                        <a:pt x="65430" y="7668"/>
                      </a:cubicBezTo>
                      <a:cubicBezTo>
                        <a:pt x="62874" y="7668"/>
                        <a:pt x="60829" y="8179"/>
                        <a:pt x="59807" y="9201"/>
                      </a:cubicBezTo>
                      <a:lnTo>
                        <a:pt x="59807" y="511"/>
                      </a:lnTo>
                      <a:cubicBezTo>
                        <a:pt x="59807" y="0"/>
                        <a:pt x="59807" y="0"/>
                        <a:pt x="58785" y="0"/>
                      </a:cubicBezTo>
                      <a:lnTo>
                        <a:pt x="56740" y="0"/>
                      </a:lnTo>
                      <a:cubicBezTo>
                        <a:pt x="56229" y="0"/>
                        <a:pt x="55718" y="0"/>
                        <a:pt x="55718" y="511"/>
                      </a:cubicBezTo>
                      <a:lnTo>
                        <a:pt x="55718" y="27603"/>
                      </a:lnTo>
                      <a:cubicBezTo>
                        <a:pt x="55718" y="28115"/>
                        <a:pt x="55718" y="28115"/>
                        <a:pt x="56740" y="28115"/>
                      </a:cubicBezTo>
                      <a:lnTo>
                        <a:pt x="58785" y="28115"/>
                      </a:lnTo>
                      <a:cubicBezTo>
                        <a:pt x="59296" y="28115"/>
                        <a:pt x="59807" y="28115"/>
                        <a:pt x="59807" y="27603"/>
                      </a:cubicBezTo>
                      <a:lnTo>
                        <a:pt x="59807" y="15335"/>
                      </a:lnTo>
                      <a:cubicBezTo>
                        <a:pt x="59807" y="12268"/>
                        <a:pt x="61341" y="10735"/>
                        <a:pt x="63896" y="10735"/>
                      </a:cubicBezTo>
                      <a:cubicBezTo>
                        <a:pt x="66963" y="10735"/>
                        <a:pt x="68497" y="11757"/>
                        <a:pt x="68497" y="15846"/>
                      </a:cubicBezTo>
                      <a:lnTo>
                        <a:pt x="68497" y="28115"/>
                      </a:lnTo>
                      <a:cubicBezTo>
                        <a:pt x="68497" y="28626"/>
                        <a:pt x="69008" y="28626"/>
                        <a:pt x="69519" y="28626"/>
                      </a:cubicBezTo>
                      <a:lnTo>
                        <a:pt x="71564" y="28626"/>
                      </a:lnTo>
                      <a:cubicBezTo>
                        <a:pt x="72075" y="28626"/>
                        <a:pt x="72586" y="28626"/>
                        <a:pt x="72586" y="28115"/>
                      </a:cubicBezTo>
                      <a:lnTo>
                        <a:pt x="72586" y="15846"/>
                      </a:lnTo>
                      <a:close/>
                      <a:moveTo>
                        <a:pt x="51117" y="25047"/>
                      </a:moveTo>
                      <a:cubicBezTo>
                        <a:pt x="51117" y="24536"/>
                        <a:pt x="50606" y="24536"/>
                        <a:pt x="50606" y="24536"/>
                      </a:cubicBezTo>
                      <a:cubicBezTo>
                        <a:pt x="50606" y="24536"/>
                        <a:pt x="50095" y="24536"/>
                        <a:pt x="50095" y="24536"/>
                      </a:cubicBezTo>
                      <a:cubicBezTo>
                        <a:pt x="49072" y="25047"/>
                        <a:pt x="47539" y="25047"/>
                        <a:pt x="46005" y="25047"/>
                      </a:cubicBezTo>
                      <a:cubicBezTo>
                        <a:pt x="44472" y="25047"/>
                        <a:pt x="42938" y="24536"/>
                        <a:pt x="41916" y="23514"/>
                      </a:cubicBezTo>
                      <a:cubicBezTo>
                        <a:pt x="40894" y="22491"/>
                        <a:pt x="40894" y="20958"/>
                        <a:pt x="40894" y="17891"/>
                      </a:cubicBezTo>
                      <a:lnTo>
                        <a:pt x="40894" y="17380"/>
                      </a:lnTo>
                      <a:cubicBezTo>
                        <a:pt x="40894" y="14313"/>
                        <a:pt x="40894" y="12779"/>
                        <a:pt x="42427" y="11246"/>
                      </a:cubicBezTo>
                      <a:cubicBezTo>
                        <a:pt x="43450" y="10735"/>
                        <a:pt x="44472" y="10223"/>
                        <a:pt x="46005" y="10223"/>
                      </a:cubicBezTo>
                      <a:cubicBezTo>
                        <a:pt x="47539" y="10223"/>
                        <a:pt x="49072" y="10735"/>
                        <a:pt x="50606" y="11757"/>
                      </a:cubicBezTo>
                      <a:cubicBezTo>
                        <a:pt x="50606" y="11757"/>
                        <a:pt x="51117" y="11757"/>
                        <a:pt x="51117" y="11757"/>
                      </a:cubicBezTo>
                      <a:cubicBezTo>
                        <a:pt x="51117" y="11757"/>
                        <a:pt x="51628" y="11757"/>
                        <a:pt x="51628" y="11246"/>
                      </a:cubicBezTo>
                      <a:lnTo>
                        <a:pt x="52139" y="10223"/>
                      </a:lnTo>
                      <a:cubicBezTo>
                        <a:pt x="52651" y="9712"/>
                        <a:pt x="52651" y="9201"/>
                        <a:pt x="52651" y="9201"/>
                      </a:cubicBezTo>
                      <a:cubicBezTo>
                        <a:pt x="52651" y="9201"/>
                        <a:pt x="52651" y="8690"/>
                        <a:pt x="52139" y="8690"/>
                      </a:cubicBezTo>
                      <a:cubicBezTo>
                        <a:pt x="50606" y="7668"/>
                        <a:pt x="48050" y="7156"/>
                        <a:pt x="46005" y="7156"/>
                      </a:cubicBezTo>
                      <a:cubicBezTo>
                        <a:pt x="43450" y="7156"/>
                        <a:pt x="41405" y="7668"/>
                        <a:pt x="39871" y="9201"/>
                      </a:cubicBezTo>
                      <a:cubicBezTo>
                        <a:pt x="38338" y="10735"/>
                        <a:pt x="37827" y="12779"/>
                        <a:pt x="37827" y="16869"/>
                      </a:cubicBezTo>
                      <a:lnTo>
                        <a:pt x="37827" y="18402"/>
                      </a:lnTo>
                      <a:cubicBezTo>
                        <a:pt x="37827" y="21980"/>
                        <a:pt x="38338" y="25047"/>
                        <a:pt x="40383" y="26581"/>
                      </a:cubicBezTo>
                      <a:cubicBezTo>
                        <a:pt x="41405" y="27603"/>
                        <a:pt x="43961" y="28626"/>
                        <a:pt x="46517" y="28626"/>
                      </a:cubicBezTo>
                      <a:cubicBezTo>
                        <a:pt x="48561" y="28626"/>
                        <a:pt x="50606" y="28115"/>
                        <a:pt x="52139" y="27603"/>
                      </a:cubicBezTo>
                      <a:cubicBezTo>
                        <a:pt x="52651" y="27603"/>
                        <a:pt x="52651" y="27092"/>
                        <a:pt x="52651" y="27092"/>
                      </a:cubicBezTo>
                      <a:cubicBezTo>
                        <a:pt x="52651" y="27092"/>
                        <a:pt x="52651" y="26581"/>
                        <a:pt x="52651" y="26070"/>
                      </a:cubicBezTo>
                      <a:lnTo>
                        <a:pt x="51117" y="25047"/>
                      </a:lnTo>
                      <a:close/>
                      <a:moveTo>
                        <a:pt x="26070" y="29137"/>
                      </a:moveTo>
                      <a:cubicBezTo>
                        <a:pt x="31181" y="29137"/>
                        <a:pt x="33737" y="27092"/>
                        <a:pt x="33737" y="23003"/>
                      </a:cubicBezTo>
                      <a:lnTo>
                        <a:pt x="33737" y="22491"/>
                      </a:lnTo>
                      <a:cubicBezTo>
                        <a:pt x="33737" y="18913"/>
                        <a:pt x="32204" y="17380"/>
                        <a:pt x="28626" y="16358"/>
                      </a:cubicBezTo>
                      <a:lnTo>
                        <a:pt x="26581" y="15846"/>
                      </a:lnTo>
                      <a:cubicBezTo>
                        <a:pt x="24025" y="15335"/>
                        <a:pt x="23514" y="14824"/>
                        <a:pt x="23514" y="13290"/>
                      </a:cubicBezTo>
                      <a:lnTo>
                        <a:pt x="23514" y="13290"/>
                      </a:lnTo>
                      <a:cubicBezTo>
                        <a:pt x="23514" y="11757"/>
                        <a:pt x="24536" y="10735"/>
                        <a:pt x="27092" y="10735"/>
                      </a:cubicBezTo>
                      <a:cubicBezTo>
                        <a:pt x="28114" y="10735"/>
                        <a:pt x="30159" y="10735"/>
                        <a:pt x="30670" y="11246"/>
                      </a:cubicBezTo>
                      <a:cubicBezTo>
                        <a:pt x="31181" y="11246"/>
                        <a:pt x="31181" y="11246"/>
                        <a:pt x="31693" y="11246"/>
                      </a:cubicBezTo>
                      <a:cubicBezTo>
                        <a:pt x="32204" y="11246"/>
                        <a:pt x="32204" y="11246"/>
                        <a:pt x="32204" y="10735"/>
                      </a:cubicBezTo>
                      <a:lnTo>
                        <a:pt x="32204" y="9712"/>
                      </a:lnTo>
                      <a:cubicBezTo>
                        <a:pt x="32204" y="9201"/>
                        <a:pt x="32204" y="8690"/>
                        <a:pt x="32204" y="8690"/>
                      </a:cubicBezTo>
                      <a:cubicBezTo>
                        <a:pt x="32204" y="8179"/>
                        <a:pt x="32204" y="8179"/>
                        <a:pt x="31693" y="8179"/>
                      </a:cubicBezTo>
                      <a:cubicBezTo>
                        <a:pt x="30159" y="7668"/>
                        <a:pt x="28626" y="7668"/>
                        <a:pt x="26581" y="7668"/>
                      </a:cubicBezTo>
                      <a:cubicBezTo>
                        <a:pt x="21980" y="7668"/>
                        <a:pt x="19424" y="9712"/>
                        <a:pt x="19424" y="13290"/>
                      </a:cubicBezTo>
                      <a:lnTo>
                        <a:pt x="19424" y="13802"/>
                      </a:lnTo>
                      <a:cubicBezTo>
                        <a:pt x="19424" y="17380"/>
                        <a:pt x="20447" y="18402"/>
                        <a:pt x="24536" y="19425"/>
                      </a:cubicBezTo>
                      <a:lnTo>
                        <a:pt x="26581" y="19936"/>
                      </a:lnTo>
                      <a:cubicBezTo>
                        <a:pt x="28626" y="20447"/>
                        <a:pt x="29648" y="20958"/>
                        <a:pt x="29648" y="23003"/>
                      </a:cubicBezTo>
                      <a:lnTo>
                        <a:pt x="29648" y="23003"/>
                      </a:lnTo>
                      <a:cubicBezTo>
                        <a:pt x="29648" y="25047"/>
                        <a:pt x="28626" y="26070"/>
                        <a:pt x="25559" y="26070"/>
                      </a:cubicBezTo>
                      <a:cubicBezTo>
                        <a:pt x="24025" y="26070"/>
                        <a:pt x="22492" y="26070"/>
                        <a:pt x="21469" y="25559"/>
                      </a:cubicBezTo>
                      <a:cubicBezTo>
                        <a:pt x="20447" y="25047"/>
                        <a:pt x="20447" y="25047"/>
                        <a:pt x="19936" y="25047"/>
                      </a:cubicBezTo>
                      <a:cubicBezTo>
                        <a:pt x="19936" y="25047"/>
                        <a:pt x="19424" y="25047"/>
                        <a:pt x="19424" y="25559"/>
                      </a:cubicBezTo>
                      <a:lnTo>
                        <a:pt x="19424" y="26070"/>
                      </a:lnTo>
                      <a:cubicBezTo>
                        <a:pt x="19424" y="26581"/>
                        <a:pt x="19424" y="27092"/>
                        <a:pt x="19424" y="27092"/>
                      </a:cubicBezTo>
                      <a:cubicBezTo>
                        <a:pt x="19424" y="27603"/>
                        <a:pt x="19424" y="27603"/>
                        <a:pt x="19936" y="27603"/>
                      </a:cubicBezTo>
                      <a:cubicBezTo>
                        <a:pt x="21980" y="28626"/>
                        <a:pt x="24025" y="29137"/>
                        <a:pt x="26070" y="29137"/>
                      </a:cubicBezTo>
                      <a:moveTo>
                        <a:pt x="15335" y="28626"/>
                      </a:moveTo>
                      <a:cubicBezTo>
                        <a:pt x="15846" y="28626"/>
                        <a:pt x="16357" y="28626"/>
                        <a:pt x="16357" y="27603"/>
                      </a:cubicBezTo>
                      <a:lnTo>
                        <a:pt x="16357" y="26070"/>
                      </a:lnTo>
                      <a:cubicBezTo>
                        <a:pt x="16357" y="25559"/>
                        <a:pt x="16357" y="25047"/>
                        <a:pt x="15335" y="25047"/>
                      </a:cubicBezTo>
                      <a:lnTo>
                        <a:pt x="6134" y="25047"/>
                      </a:lnTo>
                      <a:cubicBezTo>
                        <a:pt x="5112" y="25047"/>
                        <a:pt x="4601" y="24536"/>
                        <a:pt x="4601" y="23514"/>
                      </a:cubicBezTo>
                      <a:cubicBezTo>
                        <a:pt x="4601" y="21469"/>
                        <a:pt x="4089" y="18913"/>
                        <a:pt x="4089" y="15846"/>
                      </a:cubicBezTo>
                      <a:lnTo>
                        <a:pt x="13802" y="15846"/>
                      </a:lnTo>
                      <a:cubicBezTo>
                        <a:pt x="14313" y="15846"/>
                        <a:pt x="14824" y="15335"/>
                        <a:pt x="14824" y="14824"/>
                      </a:cubicBezTo>
                      <a:lnTo>
                        <a:pt x="14824" y="13290"/>
                      </a:lnTo>
                      <a:cubicBezTo>
                        <a:pt x="14824" y="12779"/>
                        <a:pt x="14824" y="12268"/>
                        <a:pt x="13802" y="12268"/>
                      </a:cubicBezTo>
                      <a:lnTo>
                        <a:pt x="4089" y="12268"/>
                      </a:lnTo>
                      <a:cubicBezTo>
                        <a:pt x="4089" y="9712"/>
                        <a:pt x="4089" y="7156"/>
                        <a:pt x="4089" y="5623"/>
                      </a:cubicBezTo>
                      <a:cubicBezTo>
                        <a:pt x="4089" y="4600"/>
                        <a:pt x="4601" y="4089"/>
                        <a:pt x="6134" y="4089"/>
                      </a:cubicBezTo>
                      <a:lnTo>
                        <a:pt x="15335" y="4089"/>
                      </a:lnTo>
                      <a:cubicBezTo>
                        <a:pt x="15846" y="4089"/>
                        <a:pt x="16357" y="3578"/>
                        <a:pt x="16357" y="3067"/>
                      </a:cubicBezTo>
                      <a:lnTo>
                        <a:pt x="16357" y="1533"/>
                      </a:lnTo>
                      <a:cubicBezTo>
                        <a:pt x="16357" y="1022"/>
                        <a:pt x="16357" y="511"/>
                        <a:pt x="15335" y="511"/>
                      </a:cubicBezTo>
                      <a:lnTo>
                        <a:pt x="5623" y="511"/>
                      </a:lnTo>
                      <a:cubicBezTo>
                        <a:pt x="2045" y="511"/>
                        <a:pt x="511" y="1533"/>
                        <a:pt x="0" y="5112"/>
                      </a:cubicBezTo>
                      <a:cubicBezTo>
                        <a:pt x="0" y="7668"/>
                        <a:pt x="0" y="11246"/>
                        <a:pt x="0" y="13290"/>
                      </a:cubicBezTo>
                      <a:lnTo>
                        <a:pt x="0" y="14824"/>
                      </a:lnTo>
                      <a:cubicBezTo>
                        <a:pt x="0" y="17380"/>
                        <a:pt x="0" y="20447"/>
                        <a:pt x="511" y="23003"/>
                      </a:cubicBezTo>
                      <a:cubicBezTo>
                        <a:pt x="1022" y="27092"/>
                        <a:pt x="2556" y="27603"/>
                        <a:pt x="6134" y="27603"/>
                      </a:cubicBezTo>
                      <a:lnTo>
                        <a:pt x="15335" y="27603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6" name="Freihandform: Form 125">
                  <a:extLst>
                    <a:ext uri="{FF2B5EF4-FFF2-40B4-BE49-F238E27FC236}">
                      <a16:creationId xmlns:a16="http://schemas.microsoft.com/office/drawing/2014/main" id="{5248221D-C837-44B5-B8FC-5CC610845A5E}"/>
                    </a:ext>
                  </a:extLst>
                </p:cNvPr>
                <p:cNvSpPr/>
                <p:nvPr/>
              </p:nvSpPr>
              <p:spPr>
                <a:xfrm>
                  <a:off x="8168903" y="1823004"/>
                  <a:ext cx="147728" cy="30159"/>
                </a:xfrm>
                <a:custGeom>
                  <a:avLst/>
                  <a:gdLst>
                    <a:gd name="connsiteX0" fmla="*/ 147217 w 147728"/>
                    <a:gd name="connsiteY0" fmla="*/ 26070 h 30159"/>
                    <a:gd name="connsiteX1" fmla="*/ 146706 w 147728"/>
                    <a:gd name="connsiteY1" fmla="*/ 25559 h 30159"/>
                    <a:gd name="connsiteX2" fmla="*/ 137505 w 147728"/>
                    <a:gd name="connsiteY2" fmla="*/ 25559 h 30159"/>
                    <a:gd name="connsiteX3" fmla="*/ 146195 w 147728"/>
                    <a:gd name="connsiteY3" fmla="*/ 12268 h 30159"/>
                    <a:gd name="connsiteX4" fmla="*/ 147217 w 147728"/>
                    <a:gd name="connsiteY4" fmla="*/ 9712 h 30159"/>
                    <a:gd name="connsiteX5" fmla="*/ 147217 w 147728"/>
                    <a:gd name="connsiteY5" fmla="*/ 8690 h 30159"/>
                    <a:gd name="connsiteX6" fmla="*/ 146706 w 147728"/>
                    <a:gd name="connsiteY6" fmla="*/ 8179 h 30159"/>
                    <a:gd name="connsiteX7" fmla="*/ 133927 w 147728"/>
                    <a:gd name="connsiteY7" fmla="*/ 8179 h 30159"/>
                    <a:gd name="connsiteX8" fmla="*/ 133416 w 147728"/>
                    <a:gd name="connsiteY8" fmla="*/ 8690 h 30159"/>
                    <a:gd name="connsiteX9" fmla="*/ 133416 w 147728"/>
                    <a:gd name="connsiteY9" fmla="*/ 10735 h 30159"/>
                    <a:gd name="connsiteX10" fmla="*/ 133927 w 147728"/>
                    <a:gd name="connsiteY10" fmla="*/ 11246 h 30159"/>
                    <a:gd name="connsiteX11" fmla="*/ 142617 w 147728"/>
                    <a:gd name="connsiteY11" fmla="*/ 11246 h 30159"/>
                    <a:gd name="connsiteX12" fmla="*/ 133927 w 147728"/>
                    <a:gd name="connsiteY12" fmla="*/ 25048 h 30159"/>
                    <a:gd name="connsiteX13" fmla="*/ 132905 w 147728"/>
                    <a:gd name="connsiteY13" fmla="*/ 27092 h 30159"/>
                    <a:gd name="connsiteX14" fmla="*/ 132905 w 147728"/>
                    <a:gd name="connsiteY14" fmla="*/ 28115 h 30159"/>
                    <a:gd name="connsiteX15" fmla="*/ 133927 w 147728"/>
                    <a:gd name="connsiteY15" fmla="*/ 28626 h 30159"/>
                    <a:gd name="connsiteX16" fmla="*/ 147217 w 147728"/>
                    <a:gd name="connsiteY16" fmla="*/ 28626 h 30159"/>
                    <a:gd name="connsiteX17" fmla="*/ 147728 w 147728"/>
                    <a:gd name="connsiteY17" fmla="*/ 28115 h 30159"/>
                    <a:gd name="connsiteX18" fmla="*/ 147728 w 147728"/>
                    <a:gd name="connsiteY18" fmla="*/ 26070 h 30159"/>
                    <a:gd name="connsiteX19" fmla="*/ 128815 w 147728"/>
                    <a:gd name="connsiteY19" fmla="*/ 28626 h 30159"/>
                    <a:gd name="connsiteX20" fmla="*/ 129326 w 147728"/>
                    <a:gd name="connsiteY20" fmla="*/ 28115 h 30159"/>
                    <a:gd name="connsiteX21" fmla="*/ 129326 w 147728"/>
                    <a:gd name="connsiteY21" fmla="*/ 26581 h 30159"/>
                    <a:gd name="connsiteX22" fmla="*/ 128815 w 147728"/>
                    <a:gd name="connsiteY22" fmla="*/ 25559 h 30159"/>
                    <a:gd name="connsiteX23" fmla="*/ 126770 w 147728"/>
                    <a:gd name="connsiteY23" fmla="*/ 25559 h 30159"/>
                    <a:gd name="connsiteX24" fmla="*/ 124215 w 147728"/>
                    <a:gd name="connsiteY24" fmla="*/ 24536 h 30159"/>
                    <a:gd name="connsiteX25" fmla="*/ 123704 w 147728"/>
                    <a:gd name="connsiteY25" fmla="*/ 21469 h 30159"/>
                    <a:gd name="connsiteX26" fmla="*/ 123704 w 147728"/>
                    <a:gd name="connsiteY26" fmla="*/ 11246 h 30159"/>
                    <a:gd name="connsiteX27" fmla="*/ 128304 w 147728"/>
                    <a:gd name="connsiteY27" fmla="*/ 11246 h 30159"/>
                    <a:gd name="connsiteX28" fmla="*/ 128815 w 147728"/>
                    <a:gd name="connsiteY28" fmla="*/ 10735 h 30159"/>
                    <a:gd name="connsiteX29" fmla="*/ 128815 w 147728"/>
                    <a:gd name="connsiteY29" fmla="*/ 8690 h 30159"/>
                    <a:gd name="connsiteX30" fmla="*/ 128304 w 147728"/>
                    <a:gd name="connsiteY30" fmla="*/ 8179 h 30159"/>
                    <a:gd name="connsiteX31" fmla="*/ 124215 w 147728"/>
                    <a:gd name="connsiteY31" fmla="*/ 8179 h 30159"/>
                    <a:gd name="connsiteX32" fmla="*/ 124215 w 147728"/>
                    <a:gd name="connsiteY32" fmla="*/ 3578 h 30159"/>
                    <a:gd name="connsiteX33" fmla="*/ 123192 w 147728"/>
                    <a:gd name="connsiteY33" fmla="*/ 2556 h 30159"/>
                    <a:gd name="connsiteX34" fmla="*/ 121148 w 147728"/>
                    <a:gd name="connsiteY34" fmla="*/ 2556 h 30159"/>
                    <a:gd name="connsiteX35" fmla="*/ 120125 w 147728"/>
                    <a:gd name="connsiteY35" fmla="*/ 3578 h 30159"/>
                    <a:gd name="connsiteX36" fmla="*/ 120125 w 147728"/>
                    <a:gd name="connsiteY36" fmla="*/ 8179 h 30159"/>
                    <a:gd name="connsiteX37" fmla="*/ 117569 w 147728"/>
                    <a:gd name="connsiteY37" fmla="*/ 8690 h 30159"/>
                    <a:gd name="connsiteX38" fmla="*/ 117058 w 147728"/>
                    <a:gd name="connsiteY38" fmla="*/ 9201 h 30159"/>
                    <a:gd name="connsiteX39" fmla="*/ 117058 w 147728"/>
                    <a:gd name="connsiteY39" fmla="*/ 10735 h 30159"/>
                    <a:gd name="connsiteX40" fmla="*/ 117569 w 147728"/>
                    <a:gd name="connsiteY40" fmla="*/ 11246 h 30159"/>
                    <a:gd name="connsiteX41" fmla="*/ 120125 w 147728"/>
                    <a:gd name="connsiteY41" fmla="*/ 11246 h 30159"/>
                    <a:gd name="connsiteX42" fmla="*/ 120125 w 147728"/>
                    <a:gd name="connsiteY42" fmla="*/ 21981 h 30159"/>
                    <a:gd name="connsiteX43" fmla="*/ 121148 w 147728"/>
                    <a:gd name="connsiteY43" fmla="*/ 27092 h 30159"/>
                    <a:gd name="connsiteX44" fmla="*/ 126259 w 147728"/>
                    <a:gd name="connsiteY44" fmla="*/ 28626 h 30159"/>
                    <a:gd name="connsiteX45" fmla="*/ 128815 w 147728"/>
                    <a:gd name="connsiteY45" fmla="*/ 28626 h 30159"/>
                    <a:gd name="connsiteX46" fmla="*/ 108879 w 147728"/>
                    <a:gd name="connsiteY46" fmla="*/ 3067 h 30159"/>
                    <a:gd name="connsiteX47" fmla="*/ 111435 w 147728"/>
                    <a:gd name="connsiteY47" fmla="*/ 5623 h 30159"/>
                    <a:gd name="connsiteX48" fmla="*/ 111435 w 147728"/>
                    <a:gd name="connsiteY48" fmla="*/ 5623 h 30159"/>
                    <a:gd name="connsiteX49" fmla="*/ 113991 w 147728"/>
                    <a:gd name="connsiteY49" fmla="*/ 3067 h 30159"/>
                    <a:gd name="connsiteX50" fmla="*/ 113991 w 147728"/>
                    <a:gd name="connsiteY50" fmla="*/ 2556 h 30159"/>
                    <a:gd name="connsiteX51" fmla="*/ 111435 w 147728"/>
                    <a:gd name="connsiteY51" fmla="*/ 0 h 30159"/>
                    <a:gd name="connsiteX52" fmla="*/ 111435 w 147728"/>
                    <a:gd name="connsiteY52" fmla="*/ 0 h 30159"/>
                    <a:gd name="connsiteX53" fmla="*/ 108879 w 147728"/>
                    <a:gd name="connsiteY53" fmla="*/ 3067 h 30159"/>
                    <a:gd name="connsiteX54" fmla="*/ 108879 w 147728"/>
                    <a:gd name="connsiteY54" fmla="*/ 3067 h 30159"/>
                    <a:gd name="connsiteX55" fmla="*/ 113480 w 147728"/>
                    <a:gd name="connsiteY55" fmla="*/ 8690 h 30159"/>
                    <a:gd name="connsiteX56" fmla="*/ 112458 w 147728"/>
                    <a:gd name="connsiteY56" fmla="*/ 8179 h 30159"/>
                    <a:gd name="connsiteX57" fmla="*/ 110413 w 147728"/>
                    <a:gd name="connsiteY57" fmla="*/ 8179 h 30159"/>
                    <a:gd name="connsiteX58" fmla="*/ 109390 w 147728"/>
                    <a:gd name="connsiteY58" fmla="*/ 8690 h 30159"/>
                    <a:gd name="connsiteX59" fmla="*/ 109390 w 147728"/>
                    <a:gd name="connsiteY59" fmla="*/ 27604 h 30159"/>
                    <a:gd name="connsiteX60" fmla="*/ 110413 w 147728"/>
                    <a:gd name="connsiteY60" fmla="*/ 28115 h 30159"/>
                    <a:gd name="connsiteX61" fmla="*/ 112458 w 147728"/>
                    <a:gd name="connsiteY61" fmla="*/ 28115 h 30159"/>
                    <a:gd name="connsiteX62" fmla="*/ 113480 w 147728"/>
                    <a:gd name="connsiteY62" fmla="*/ 27604 h 30159"/>
                    <a:gd name="connsiteX63" fmla="*/ 113480 w 147728"/>
                    <a:gd name="connsiteY63" fmla="*/ 8690 h 30159"/>
                    <a:gd name="connsiteX64" fmla="*/ 87410 w 147728"/>
                    <a:gd name="connsiteY64" fmla="*/ 28115 h 30159"/>
                    <a:gd name="connsiteX65" fmla="*/ 88433 w 147728"/>
                    <a:gd name="connsiteY65" fmla="*/ 28626 h 30159"/>
                    <a:gd name="connsiteX66" fmla="*/ 90477 w 147728"/>
                    <a:gd name="connsiteY66" fmla="*/ 28626 h 30159"/>
                    <a:gd name="connsiteX67" fmla="*/ 91499 w 147728"/>
                    <a:gd name="connsiteY67" fmla="*/ 28115 h 30159"/>
                    <a:gd name="connsiteX68" fmla="*/ 91499 w 147728"/>
                    <a:gd name="connsiteY68" fmla="*/ 15335 h 30159"/>
                    <a:gd name="connsiteX69" fmla="*/ 95589 w 147728"/>
                    <a:gd name="connsiteY69" fmla="*/ 10735 h 30159"/>
                    <a:gd name="connsiteX70" fmla="*/ 100189 w 147728"/>
                    <a:gd name="connsiteY70" fmla="*/ 15846 h 30159"/>
                    <a:gd name="connsiteX71" fmla="*/ 100189 w 147728"/>
                    <a:gd name="connsiteY71" fmla="*/ 28115 h 30159"/>
                    <a:gd name="connsiteX72" fmla="*/ 101212 w 147728"/>
                    <a:gd name="connsiteY72" fmla="*/ 28626 h 30159"/>
                    <a:gd name="connsiteX73" fmla="*/ 103257 w 147728"/>
                    <a:gd name="connsiteY73" fmla="*/ 28626 h 30159"/>
                    <a:gd name="connsiteX74" fmla="*/ 104279 w 147728"/>
                    <a:gd name="connsiteY74" fmla="*/ 28115 h 30159"/>
                    <a:gd name="connsiteX75" fmla="*/ 104279 w 147728"/>
                    <a:gd name="connsiteY75" fmla="*/ 16358 h 30159"/>
                    <a:gd name="connsiteX76" fmla="*/ 97123 w 147728"/>
                    <a:gd name="connsiteY76" fmla="*/ 8179 h 30159"/>
                    <a:gd name="connsiteX77" fmla="*/ 90988 w 147728"/>
                    <a:gd name="connsiteY77" fmla="*/ 10735 h 30159"/>
                    <a:gd name="connsiteX78" fmla="*/ 90988 w 147728"/>
                    <a:gd name="connsiteY78" fmla="*/ 10735 h 30159"/>
                    <a:gd name="connsiteX79" fmla="*/ 90988 w 147728"/>
                    <a:gd name="connsiteY79" fmla="*/ 9201 h 30159"/>
                    <a:gd name="connsiteX80" fmla="*/ 89966 w 147728"/>
                    <a:gd name="connsiteY80" fmla="*/ 8690 h 30159"/>
                    <a:gd name="connsiteX81" fmla="*/ 88433 w 147728"/>
                    <a:gd name="connsiteY81" fmla="*/ 8690 h 30159"/>
                    <a:gd name="connsiteX82" fmla="*/ 87922 w 147728"/>
                    <a:gd name="connsiteY82" fmla="*/ 9201 h 30159"/>
                    <a:gd name="connsiteX83" fmla="*/ 87922 w 147728"/>
                    <a:gd name="connsiteY83" fmla="*/ 28115 h 30159"/>
                    <a:gd name="connsiteX84" fmla="*/ 82298 w 147728"/>
                    <a:gd name="connsiteY84" fmla="*/ 15846 h 30159"/>
                    <a:gd name="connsiteX85" fmla="*/ 75142 w 147728"/>
                    <a:gd name="connsiteY85" fmla="*/ 7668 h 30159"/>
                    <a:gd name="connsiteX86" fmla="*/ 68497 w 147728"/>
                    <a:gd name="connsiteY86" fmla="*/ 10223 h 30159"/>
                    <a:gd name="connsiteX87" fmla="*/ 68497 w 147728"/>
                    <a:gd name="connsiteY87" fmla="*/ 10223 h 30159"/>
                    <a:gd name="connsiteX88" fmla="*/ 62363 w 147728"/>
                    <a:gd name="connsiteY88" fmla="*/ 7668 h 30159"/>
                    <a:gd name="connsiteX89" fmla="*/ 56740 w 147728"/>
                    <a:gd name="connsiteY89" fmla="*/ 10223 h 30159"/>
                    <a:gd name="connsiteX90" fmla="*/ 56740 w 147728"/>
                    <a:gd name="connsiteY90" fmla="*/ 10223 h 30159"/>
                    <a:gd name="connsiteX91" fmla="*/ 56740 w 147728"/>
                    <a:gd name="connsiteY91" fmla="*/ 8690 h 30159"/>
                    <a:gd name="connsiteX92" fmla="*/ 56229 w 147728"/>
                    <a:gd name="connsiteY92" fmla="*/ 8179 h 30159"/>
                    <a:gd name="connsiteX93" fmla="*/ 54695 w 147728"/>
                    <a:gd name="connsiteY93" fmla="*/ 8179 h 30159"/>
                    <a:gd name="connsiteX94" fmla="*/ 54184 w 147728"/>
                    <a:gd name="connsiteY94" fmla="*/ 8690 h 30159"/>
                    <a:gd name="connsiteX95" fmla="*/ 54184 w 147728"/>
                    <a:gd name="connsiteY95" fmla="*/ 28115 h 30159"/>
                    <a:gd name="connsiteX96" fmla="*/ 55206 w 147728"/>
                    <a:gd name="connsiteY96" fmla="*/ 28626 h 30159"/>
                    <a:gd name="connsiteX97" fmla="*/ 57251 w 147728"/>
                    <a:gd name="connsiteY97" fmla="*/ 28626 h 30159"/>
                    <a:gd name="connsiteX98" fmla="*/ 58273 w 147728"/>
                    <a:gd name="connsiteY98" fmla="*/ 28115 h 30159"/>
                    <a:gd name="connsiteX99" fmla="*/ 58273 w 147728"/>
                    <a:gd name="connsiteY99" fmla="*/ 15335 h 30159"/>
                    <a:gd name="connsiteX100" fmla="*/ 62363 w 147728"/>
                    <a:gd name="connsiteY100" fmla="*/ 10735 h 30159"/>
                    <a:gd name="connsiteX101" fmla="*/ 66963 w 147728"/>
                    <a:gd name="connsiteY101" fmla="*/ 15846 h 30159"/>
                    <a:gd name="connsiteX102" fmla="*/ 66963 w 147728"/>
                    <a:gd name="connsiteY102" fmla="*/ 28115 h 30159"/>
                    <a:gd name="connsiteX103" fmla="*/ 67986 w 147728"/>
                    <a:gd name="connsiteY103" fmla="*/ 28626 h 30159"/>
                    <a:gd name="connsiteX104" fmla="*/ 70031 w 147728"/>
                    <a:gd name="connsiteY104" fmla="*/ 28626 h 30159"/>
                    <a:gd name="connsiteX105" fmla="*/ 71053 w 147728"/>
                    <a:gd name="connsiteY105" fmla="*/ 28115 h 30159"/>
                    <a:gd name="connsiteX106" fmla="*/ 71053 w 147728"/>
                    <a:gd name="connsiteY106" fmla="*/ 16358 h 30159"/>
                    <a:gd name="connsiteX107" fmla="*/ 71053 w 147728"/>
                    <a:gd name="connsiteY107" fmla="*/ 13291 h 30159"/>
                    <a:gd name="connsiteX108" fmla="*/ 75653 w 147728"/>
                    <a:gd name="connsiteY108" fmla="*/ 11246 h 30159"/>
                    <a:gd name="connsiteX109" fmla="*/ 79743 w 147728"/>
                    <a:gd name="connsiteY109" fmla="*/ 16358 h 30159"/>
                    <a:gd name="connsiteX110" fmla="*/ 79743 w 147728"/>
                    <a:gd name="connsiteY110" fmla="*/ 28626 h 30159"/>
                    <a:gd name="connsiteX111" fmla="*/ 80765 w 147728"/>
                    <a:gd name="connsiteY111" fmla="*/ 29137 h 30159"/>
                    <a:gd name="connsiteX112" fmla="*/ 82810 w 147728"/>
                    <a:gd name="connsiteY112" fmla="*/ 29137 h 30159"/>
                    <a:gd name="connsiteX113" fmla="*/ 83832 w 147728"/>
                    <a:gd name="connsiteY113" fmla="*/ 28626 h 30159"/>
                    <a:gd name="connsiteX114" fmla="*/ 83832 w 147728"/>
                    <a:gd name="connsiteY114" fmla="*/ 15846 h 30159"/>
                    <a:gd name="connsiteX115" fmla="*/ 37315 w 147728"/>
                    <a:gd name="connsiteY115" fmla="*/ 17380 h 30159"/>
                    <a:gd name="connsiteX116" fmla="*/ 41405 w 147728"/>
                    <a:gd name="connsiteY116" fmla="*/ 11246 h 30159"/>
                    <a:gd name="connsiteX117" fmla="*/ 45494 w 147728"/>
                    <a:gd name="connsiteY117" fmla="*/ 16869 h 30159"/>
                    <a:gd name="connsiteX118" fmla="*/ 44983 w 147728"/>
                    <a:gd name="connsiteY118" fmla="*/ 17380 h 30159"/>
                    <a:gd name="connsiteX119" fmla="*/ 37315 w 147728"/>
                    <a:gd name="connsiteY119" fmla="*/ 17380 h 30159"/>
                    <a:gd name="connsiteX120" fmla="*/ 49072 w 147728"/>
                    <a:gd name="connsiteY120" fmla="*/ 16358 h 30159"/>
                    <a:gd name="connsiteX121" fmla="*/ 41405 w 147728"/>
                    <a:gd name="connsiteY121" fmla="*/ 8179 h 30159"/>
                    <a:gd name="connsiteX122" fmla="*/ 33226 w 147728"/>
                    <a:gd name="connsiteY122" fmla="*/ 18402 h 30159"/>
                    <a:gd name="connsiteX123" fmla="*/ 33226 w 147728"/>
                    <a:gd name="connsiteY123" fmla="*/ 19936 h 30159"/>
                    <a:gd name="connsiteX124" fmla="*/ 41916 w 147728"/>
                    <a:gd name="connsiteY124" fmla="*/ 30159 h 30159"/>
                    <a:gd name="connsiteX125" fmla="*/ 48050 w 147728"/>
                    <a:gd name="connsiteY125" fmla="*/ 29137 h 30159"/>
                    <a:gd name="connsiteX126" fmla="*/ 48561 w 147728"/>
                    <a:gd name="connsiteY126" fmla="*/ 28626 h 30159"/>
                    <a:gd name="connsiteX127" fmla="*/ 48561 w 147728"/>
                    <a:gd name="connsiteY127" fmla="*/ 27604 h 30159"/>
                    <a:gd name="connsiteX128" fmla="*/ 48050 w 147728"/>
                    <a:gd name="connsiteY128" fmla="*/ 26581 h 30159"/>
                    <a:gd name="connsiteX129" fmla="*/ 47539 w 147728"/>
                    <a:gd name="connsiteY129" fmla="*/ 26070 h 30159"/>
                    <a:gd name="connsiteX130" fmla="*/ 47028 w 147728"/>
                    <a:gd name="connsiteY130" fmla="*/ 26070 h 30159"/>
                    <a:gd name="connsiteX131" fmla="*/ 42427 w 147728"/>
                    <a:gd name="connsiteY131" fmla="*/ 27092 h 30159"/>
                    <a:gd name="connsiteX132" fmla="*/ 37315 w 147728"/>
                    <a:gd name="connsiteY132" fmla="*/ 21469 h 30159"/>
                    <a:gd name="connsiteX133" fmla="*/ 48050 w 147728"/>
                    <a:gd name="connsiteY133" fmla="*/ 21469 h 30159"/>
                    <a:gd name="connsiteX134" fmla="*/ 49072 w 147728"/>
                    <a:gd name="connsiteY134" fmla="*/ 20447 h 30159"/>
                    <a:gd name="connsiteX135" fmla="*/ 49072 w 147728"/>
                    <a:gd name="connsiteY135" fmla="*/ 16358 h 30159"/>
                    <a:gd name="connsiteX136" fmla="*/ 23514 w 147728"/>
                    <a:gd name="connsiteY136" fmla="*/ 8690 h 30159"/>
                    <a:gd name="connsiteX137" fmla="*/ 22491 w 147728"/>
                    <a:gd name="connsiteY137" fmla="*/ 8179 h 30159"/>
                    <a:gd name="connsiteX138" fmla="*/ 20958 w 147728"/>
                    <a:gd name="connsiteY138" fmla="*/ 8179 h 30159"/>
                    <a:gd name="connsiteX139" fmla="*/ 20447 w 147728"/>
                    <a:gd name="connsiteY139" fmla="*/ 8690 h 30159"/>
                    <a:gd name="connsiteX140" fmla="*/ 20447 w 147728"/>
                    <a:gd name="connsiteY140" fmla="*/ 28115 h 30159"/>
                    <a:gd name="connsiteX141" fmla="*/ 21469 w 147728"/>
                    <a:gd name="connsiteY141" fmla="*/ 28626 h 30159"/>
                    <a:gd name="connsiteX142" fmla="*/ 23514 w 147728"/>
                    <a:gd name="connsiteY142" fmla="*/ 28626 h 30159"/>
                    <a:gd name="connsiteX143" fmla="*/ 24536 w 147728"/>
                    <a:gd name="connsiteY143" fmla="*/ 28115 h 30159"/>
                    <a:gd name="connsiteX144" fmla="*/ 24536 w 147728"/>
                    <a:gd name="connsiteY144" fmla="*/ 16358 h 30159"/>
                    <a:gd name="connsiteX145" fmla="*/ 25559 w 147728"/>
                    <a:gd name="connsiteY145" fmla="*/ 12779 h 30159"/>
                    <a:gd name="connsiteX146" fmla="*/ 29137 w 147728"/>
                    <a:gd name="connsiteY146" fmla="*/ 11757 h 30159"/>
                    <a:gd name="connsiteX147" fmla="*/ 30159 w 147728"/>
                    <a:gd name="connsiteY147" fmla="*/ 11757 h 30159"/>
                    <a:gd name="connsiteX148" fmla="*/ 31181 w 147728"/>
                    <a:gd name="connsiteY148" fmla="*/ 11246 h 30159"/>
                    <a:gd name="connsiteX149" fmla="*/ 31181 w 147728"/>
                    <a:gd name="connsiteY149" fmla="*/ 8690 h 30159"/>
                    <a:gd name="connsiteX150" fmla="*/ 30159 w 147728"/>
                    <a:gd name="connsiteY150" fmla="*/ 8179 h 30159"/>
                    <a:gd name="connsiteX151" fmla="*/ 29137 w 147728"/>
                    <a:gd name="connsiteY151" fmla="*/ 8179 h 30159"/>
                    <a:gd name="connsiteX152" fmla="*/ 24025 w 147728"/>
                    <a:gd name="connsiteY152" fmla="*/ 10735 h 30159"/>
                    <a:gd name="connsiteX153" fmla="*/ 24025 w 147728"/>
                    <a:gd name="connsiteY153" fmla="*/ 10735 h 30159"/>
                    <a:gd name="connsiteX154" fmla="*/ 23514 w 147728"/>
                    <a:gd name="connsiteY154" fmla="*/ 8690 h 30159"/>
                    <a:gd name="connsiteX155" fmla="*/ 4089 w 147728"/>
                    <a:gd name="connsiteY155" fmla="*/ 4601 h 30159"/>
                    <a:gd name="connsiteX156" fmla="*/ 6645 w 147728"/>
                    <a:gd name="connsiteY156" fmla="*/ 4601 h 30159"/>
                    <a:gd name="connsiteX157" fmla="*/ 12779 w 147728"/>
                    <a:gd name="connsiteY157" fmla="*/ 9712 h 30159"/>
                    <a:gd name="connsiteX158" fmla="*/ 12779 w 147728"/>
                    <a:gd name="connsiteY158" fmla="*/ 10223 h 30159"/>
                    <a:gd name="connsiteX159" fmla="*/ 6134 w 147728"/>
                    <a:gd name="connsiteY159" fmla="*/ 15846 h 30159"/>
                    <a:gd name="connsiteX160" fmla="*/ 3578 w 147728"/>
                    <a:gd name="connsiteY160" fmla="*/ 15846 h 30159"/>
                    <a:gd name="connsiteX161" fmla="*/ 3578 w 147728"/>
                    <a:gd name="connsiteY161" fmla="*/ 6134 h 30159"/>
                    <a:gd name="connsiteX162" fmla="*/ 4089 w 147728"/>
                    <a:gd name="connsiteY162" fmla="*/ 4601 h 30159"/>
                    <a:gd name="connsiteX163" fmla="*/ 3578 w 147728"/>
                    <a:gd name="connsiteY163" fmla="*/ 18913 h 30159"/>
                    <a:gd name="connsiteX164" fmla="*/ 7156 w 147728"/>
                    <a:gd name="connsiteY164" fmla="*/ 18913 h 30159"/>
                    <a:gd name="connsiteX165" fmla="*/ 17380 w 147728"/>
                    <a:gd name="connsiteY165" fmla="*/ 10223 h 30159"/>
                    <a:gd name="connsiteX166" fmla="*/ 17380 w 147728"/>
                    <a:gd name="connsiteY166" fmla="*/ 9712 h 30159"/>
                    <a:gd name="connsiteX167" fmla="*/ 7156 w 147728"/>
                    <a:gd name="connsiteY167" fmla="*/ 1534 h 30159"/>
                    <a:gd name="connsiteX168" fmla="*/ 1022 w 147728"/>
                    <a:gd name="connsiteY168" fmla="*/ 2045 h 30159"/>
                    <a:gd name="connsiteX169" fmla="*/ 0 w 147728"/>
                    <a:gd name="connsiteY169" fmla="*/ 3578 h 30159"/>
                    <a:gd name="connsiteX170" fmla="*/ 0 w 147728"/>
                    <a:gd name="connsiteY170" fmla="*/ 28626 h 30159"/>
                    <a:gd name="connsiteX171" fmla="*/ 1022 w 147728"/>
                    <a:gd name="connsiteY171" fmla="*/ 29648 h 30159"/>
                    <a:gd name="connsiteX172" fmla="*/ 3067 w 147728"/>
                    <a:gd name="connsiteY172" fmla="*/ 29648 h 30159"/>
                    <a:gd name="connsiteX173" fmla="*/ 4089 w 147728"/>
                    <a:gd name="connsiteY173" fmla="*/ 28626 h 30159"/>
                    <a:gd name="connsiteX174" fmla="*/ 4089 w 147728"/>
                    <a:gd name="connsiteY174" fmla="*/ 18913 h 30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</a:cxnLst>
                  <a:rect l="l" t="t" r="r" b="b"/>
                  <a:pathLst>
                    <a:path w="147728" h="30159">
                      <a:moveTo>
                        <a:pt x="147217" y="26070"/>
                      </a:moveTo>
                      <a:cubicBezTo>
                        <a:pt x="147217" y="25559"/>
                        <a:pt x="147217" y="25559"/>
                        <a:pt x="146706" y="25559"/>
                      </a:cubicBezTo>
                      <a:lnTo>
                        <a:pt x="137505" y="25559"/>
                      </a:lnTo>
                      <a:lnTo>
                        <a:pt x="146195" y="12268"/>
                      </a:lnTo>
                      <a:cubicBezTo>
                        <a:pt x="147217" y="10735"/>
                        <a:pt x="147217" y="10735"/>
                        <a:pt x="147217" y="9712"/>
                      </a:cubicBezTo>
                      <a:lnTo>
                        <a:pt x="147217" y="8690"/>
                      </a:lnTo>
                      <a:cubicBezTo>
                        <a:pt x="147217" y="8179"/>
                        <a:pt x="147217" y="8179"/>
                        <a:pt x="146706" y="8179"/>
                      </a:cubicBezTo>
                      <a:lnTo>
                        <a:pt x="133927" y="8179"/>
                      </a:lnTo>
                      <a:cubicBezTo>
                        <a:pt x="133416" y="8179"/>
                        <a:pt x="133416" y="8179"/>
                        <a:pt x="133416" y="8690"/>
                      </a:cubicBezTo>
                      <a:lnTo>
                        <a:pt x="133416" y="10735"/>
                      </a:lnTo>
                      <a:cubicBezTo>
                        <a:pt x="133416" y="11246"/>
                        <a:pt x="133416" y="11246"/>
                        <a:pt x="133927" y="11246"/>
                      </a:cubicBezTo>
                      <a:lnTo>
                        <a:pt x="142617" y="11246"/>
                      </a:lnTo>
                      <a:lnTo>
                        <a:pt x="133927" y="25048"/>
                      </a:lnTo>
                      <a:cubicBezTo>
                        <a:pt x="133416" y="26070"/>
                        <a:pt x="132905" y="26581"/>
                        <a:pt x="132905" y="27092"/>
                      </a:cubicBezTo>
                      <a:lnTo>
                        <a:pt x="132905" y="28115"/>
                      </a:lnTo>
                      <a:cubicBezTo>
                        <a:pt x="132905" y="28626"/>
                        <a:pt x="132905" y="28626"/>
                        <a:pt x="133927" y="28626"/>
                      </a:cubicBezTo>
                      <a:lnTo>
                        <a:pt x="147217" y="28626"/>
                      </a:lnTo>
                      <a:cubicBezTo>
                        <a:pt x="147728" y="28626"/>
                        <a:pt x="147728" y="28626"/>
                        <a:pt x="147728" y="28115"/>
                      </a:cubicBezTo>
                      <a:lnTo>
                        <a:pt x="147728" y="26070"/>
                      </a:lnTo>
                      <a:close/>
                      <a:moveTo>
                        <a:pt x="128815" y="28626"/>
                      </a:moveTo>
                      <a:cubicBezTo>
                        <a:pt x="129326" y="28626"/>
                        <a:pt x="129326" y="28626"/>
                        <a:pt x="129326" y="28115"/>
                      </a:cubicBezTo>
                      <a:lnTo>
                        <a:pt x="129326" y="26581"/>
                      </a:lnTo>
                      <a:cubicBezTo>
                        <a:pt x="129326" y="26070"/>
                        <a:pt x="129326" y="25559"/>
                        <a:pt x="128815" y="25559"/>
                      </a:cubicBezTo>
                      <a:lnTo>
                        <a:pt x="126770" y="25559"/>
                      </a:lnTo>
                      <a:cubicBezTo>
                        <a:pt x="125237" y="25559"/>
                        <a:pt x="124726" y="25559"/>
                        <a:pt x="124215" y="24536"/>
                      </a:cubicBezTo>
                      <a:cubicBezTo>
                        <a:pt x="123704" y="24025"/>
                        <a:pt x="123704" y="23514"/>
                        <a:pt x="123704" y="21469"/>
                      </a:cubicBezTo>
                      <a:lnTo>
                        <a:pt x="123704" y="11246"/>
                      </a:lnTo>
                      <a:lnTo>
                        <a:pt x="128304" y="11246"/>
                      </a:lnTo>
                      <a:cubicBezTo>
                        <a:pt x="128815" y="11246"/>
                        <a:pt x="128815" y="10735"/>
                        <a:pt x="128815" y="10735"/>
                      </a:cubicBezTo>
                      <a:lnTo>
                        <a:pt x="128815" y="8690"/>
                      </a:lnTo>
                      <a:cubicBezTo>
                        <a:pt x="128815" y="8179"/>
                        <a:pt x="128815" y="8179"/>
                        <a:pt x="128304" y="8179"/>
                      </a:cubicBezTo>
                      <a:lnTo>
                        <a:pt x="124215" y="8179"/>
                      </a:lnTo>
                      <a:lnTo>
                        <a:pt x="124215" y="3578"/>
                      </a:lnTo>
                      <a:cubicBezTo>
                        <a:pt x="124215" y="3067"/>
                        <a:pt x="124215" y="2556"/>
                        <a:pt x="123192" y="2556"/>
                      </a:cubicBezTo>
                      <a:lnTo>
                        <a:pt x="121148" y="2556"/>
                      </a:lnTo>
                      <a:cubicBezTo>
                        <a:pt x="120636" y="2556"/>
                        <a:pt x="120125" y="2556"/>
                        <a:pt x="120125" y="3578"/>
                      </a:cubicBezTo>
                      <a:lnTo>
                        <a:pt x="120125" y="8179"/>
                      </a:lnTo>
                      <a:lnTo>
                        <a:pt x="117569" y="8690"/>
                      </a:lnTo>
                      <a:cubicBezTo>
                        <a:pt x="117058" y="8690"/>
                        <a:pt x="117058" y="8690"/>
                        <a:pt x="117058" y="9201"/>
                      </a:cubicBezTo>
                      <a:lnTo>
                        <a:pt x="117058" y="10735"/>
                      </a:lnTo>
                      <a:cubicBezTo>
                        <a:pt x="117058" y="11246"/>
                        <a:pt x="117058" y="11246"/>
                        <a:pt x="117569" y="11246"/>
                      </a:cubicBezTo>
                      <a:lnTo>
                        <a:pt x="120125" y="11246"/>
                      </a:lnTo>
                      <a:lnTo>
                        <a:pt x="120125" y="21981"/>
                      </a:lnTo>
                      <a:cubicBezTo>
                        <a:pt x="120125" y="24536"/>
                        <a:pt x="120636" y="26070"/>
                        <a:pt x="121148" y="27092"/>
                      </a:cubicBezTo>
                      <a:cubicBezTo>
                        <a:pt x="122170" y="28115"/>
                        <a:pt x="123704" y="28626"/>
                        <a:pt x="126259" y="28626"/>
                      </a:cubicBezTo>
                      <a:lnTo>
                        <a:pt x="128815" y="28626"/>
                      </a:lnTo>
                      <a:close/>
                      <a:moveTo>
                        <a:pt x="108879" y="3067"/>
                      </a:moveTo>
                      <a:cubicBezTo>
                        <a:pt x="108879" y="4601"/>
                        <a:pt x="109902" y="5623"/>
                        <a:pt x="111435" y="5623"/>
                      </a:cubicBezTo>
                      <a:lnTo>
                        <a:pt x="111435" y="5623"/>
                      </a:lnTo>
                      <a:cubicBezTo>
                        <a:pt x="112969" y="5623"/>
                        <a:pt x="113991" y="5112"/>
                        <a:pt x="113991" y="3067"/>
                      </a:cubicBezTo>
                      <a:lnTo>
                        <a:pt x="113991" y="2556"/>
                      </a:lnTo>
                      <a:cubicBezTo>
                        <a:pt x="113991" y="1022"/>
                        <a:pt x="112969" y="0"/>
                        <a:pt x="111435" y="0"/>
                      </a:cubicBezTo>
                      <a:lnTo>
                        <a:pt x="111435" y="0"/>
                      </a:lnTo>
                      <a:cubicBezTo>
                        <a:pt x="110413" y="0"/>
                        <a:pt x="108879" y="1022"/>
                        <a:pt x="108879" y="3067"/>
                      </a:cubicBezTo>
                      <a:lnTo>
                        <a:pt x="108879" y="3067"/>
                      </a:lnTo>
                      <a:close/>
                      <a:moveTo>
                        <a:pt x="113480" y="8690"/>
                      </a:moveTo>
                      <a:cubicBezTo>
                        <a:pt x="113480" y="8179"/>
                        <a:pt x="113480" y="8179"/>
                        <a:pt x="112458" y="8179"/>
                      </a:cubicBezTo>
                      <a:lnTo>
                        <a:pt x="110413" y="8179"/>
                      </a:lnTo>
                      <a:cubicBezTo>
                        <a:pt x="109902" y="8179"/>
                        <a:pt x="109390" y="8179"/>
                        <a:pt x="109390" y="8690"/>
                      </a:cubicBezTo>
                      <a:lnTo>
                        <a:pt x="109390" y="27604"/>
                      </a:lnTo>
                      <a:cubicBezTo>
                        <a:pt x="109390" y="28115"/>
                        <a:pt x="109902" y="28115"/>
                        <a:pt x="110413" y="28115"/>
                      </a:cubicBezTo>
                      <a:lnTo>
                        <a:pt x="112458" y="28115"/>
                      </a:lnTo>
                      <a:cubicBezTo>
                        <a:pt x="112969" y="28115"/>
                        <a:pt x="113480" y="28115"/>
                        <a:pt x="113480" y="27604"/>
                      </a:cubicBezTo>
                      <a:lnTo>
                        <a:pt x="113480" y="8690"/>
                      </a:lnTo>
                      <a:close/>
                      <a:moveTo>
                        <a:pt x="87410" y="28115"/>
                      </a:moveTo>
                      <a:cubicBezTo>
                        <a:pt x="87410" y="28626"/>
                        <a:pt x="87922" y="28626"/>
                        <a:pt x="88433" y="28626"/>
                      </a:cubicBezTo>
                      <a:lnTo>
                        <a:pt x="90477" y="28626"/>
                      </a:lnTo>
                      <a:cubicBezTo>
                        <a:pt x="90988" y="28626"/>
                        <a:pt x="91499" y="28626"/>
                        <a:pt x="91499" y="28115"/>
                      </a:cubicBezTo>
                      <a:lnTo>
                        <a:pt x="91499" y="15335"/>
                      </a:lnTo>
                      <a:cubicBezTo>
                        <a:pt x="91499" y="11757"/>
                        <a:pt x="93033" y="10735"/>
                        <a:pt x="95589" y="10735"/>
                      </a:cubicBezTo>
                      <a:cubicBezTo>
                        <a:pt x="98656" y="10735"/>
                        <a:pt x="100189" y="12268"/>
                        <a:pt x="100189" y="15846"/>
                      </a:cubicBezTo>
                      <a:lnTo>
                        <a:pt x="100189" y="28115"/>
                      </a:lnTo>
                      <a:cubicBezTo>
                        <a:pt x="100189" y="28626"/>
                        <a:pt x="100701" y="28626"/>
                        <a:pt x="101212" y="28626"/>
                      </a:cubicBezTo>
                      <a:lnTo>
                        <a:pt x="103257" y="28626"/>
                      </a:lnTo>
                      <a:cubicBezTo>
                        <a:pt x="103768" y="28626"/>
                        <a:pt x="104279" y="28626"/>
                        <a:pt x="104279" y="28115"/>
                      </a:cubicBezTo>
                      <a:lnTo>
                        <a:pt x="104279" y="16358"/>
                      </a:lnTo>
                      <a:cubicBezTo>
                        <a:pt x="104279" y="10223"/>
                        <a:pt x="101723" y="8179"/>
                        <a:pt x="97123" y="8179"/>
                      </a:cubicBezTo>
                      <a:cubicBezTo>
                        <a:pt x="94055" y="8179"/>
                        <a:pt x="92522" y="9201"/>
                        <a:pt x="90988" y="10735"/>
                      </a:cubicBezTo>
                      <a:lnTo>
                        <a:pt x="90988" y="10735"/>
                      </a:lnTo>
                      <a:lnTo>
                        <a:pt x="90988" y="9201"/>
                      </a:lnTo>
                      <a:cubicBezTo>
                        <a:pt x="90988" y="8690"/>
                        <a:pt x="90477" y="8690"/>
                        <a:pt x="89966" y="8690"/>
                      </a:cubicBezTo>
                      <a:lnTo>
                        <a:pt x="88433" y="8690"/>
                      </a:lnTo>
                      <a:cubicBezTo>
                        <a:pt x="87922" y="8690"/>
                        <a:pt x="87922" y="8690"/>
                        <a:pt x="87922" y="9201"/>
                      </a:cubicBezTo>
                      <a:lnTo>
                        <a:pt x="87922" y="28115"/>
                      </a:lnTo>
                      <a:close/>
                      <a:moveTo>
                        <a:pt x="82298" y="15846"/>
                      </a:moveTo>
                      <a:cubicBezTo>
                        <a:pt x="82298" y="10223"/>
                        <a:pt x="80254" y="7668"/>
                        <a:pt x="75142" y="7668"/>
                      </a:cubicBezTo>
                      <a:cubicBezTo>
                        <a:pt x="72586" y="7668"/>
                        <a:pt x="70542" y="8690"/>
                        <a:pt x="68497" y="10223"/>
                      </a:cubicBezTo>
                      <a:lnTo>
                        <a:pt x="68497" y="10223"/>
                      </a:lnTo>
                      <a:cubicBezTo>
                        <a:pt x="67475" y="8690"/>
                        <a:pt x="65430" y="7668"/>
                        <a:pt x="62363" y="7668"/>
                      </a:cubicBezTo>
                      <a:cubicBezTo>
                        <a:pt x="59807" y="7668"/>
                        <a:pt x="57762" y="8690"/>
                        <a:pt x="56740" y="10223"/>
                      </a:cubicBezTo>
                      <a:lnTo>
                        <a:pt x="56740" y="10223"/>
                      </a:lnTo>
                      <a:lnTo>
                        <a:pt x="56740" y="8690"/>
                      </a:lnTo>
                      <a:cubicBezTo>
                        <a:pt x="56740" y="8179"/>
                        <a:pt x="56229" y="8179"/>
                        <a:pt x="56229" y="8179"/>
                      </a:cubicBezTo>
                      <a:lnTo>
                        <a:pt x="54695" y="8179"/>
                      </a:lnTo>
                      <a:cubicBezTo>
                        <a:pt x="54184" y="8179"/>
                        <a:pt x="54184" y="8179"/>
                        <a:pt x="54184" y="8690"/>
                      </a:cubicBezTo>
                      <a:lnTo>
                        <a:pt x="54184" y="28115"/>
                      </a:lnTo>
                      <a:cubicBezTo>
                        <a:pt x="54184" y="28626"/>
                        <a:pt x="54695" y="28626"/>
                        <a:pt x="55206" y="28626"/>
                      </a:cubicBezTo>
                      <a:lnTo>
                        <a:pt x="57251" y="28626"/>
                      </a:lnTo>
                      <a:cubicBezTo>
                        <a:pt x="57762" y="28626"/>
                        <a:pt x="58273" y="28626"/>
                        <a:pt x="58273" y="28115"/>
                      </a:cubicBezTo>
                      <a:lnTo>
                        <a:pt x="58273" y="15335"/>
                      </a:lnTo>
                      <a:cubicBezTo>
                        <a:pt x="58273" y="12268"/>
                        <a:pt x="59807" y="10735"/>
                        <a:pt x="62363" y="10735"/>
                      </a:cubicBezTo>
                      <a:cubicBezTo>
                        <a:pt x="65430" y="10735"/>
                        <a:pt x="66963" y="12268"/>
                        <a:pt x="66963" y="15846"/>
                      </a:cubicBezTo>
                      <a:lnTo>
                        <a:pt x="66963" y="28115"/>
                      </a:lnTo>
                      <a:cubicBezTo>
                        <a:pt x="66963" y="28626"/>
                        <a:pt x="67475" y="28626"/>
                        <a:pt x="67986" y="28626"/>
                      </a:cubicBezTo>
                      <a:lnTo>
                        <a:pt x="70031" y="28626"/>
                      </a:lnTo>
                      <a:cubicBezTo>
                        <a:pt x="70542" y="28626"/>
                        <a:pt x="71053" y="28626"/>
                        <a:pt x="71053" y="28115"/>
                      </a:cubicBezTo>
                      <a:lnTo>
                        <a:pt x="71053" y="16358"/>
                      </a:lnTo>
                      <a:cubicBezTo>
                        <a:pt x="71053" y="15335"/>
                        <a:pt x="71053" y="14313"/>
                        <a:pt x="71053" y="13291"/>
                      </a:cubicBezTo>
                      <a:cubicBezTo>
                        <a:pt x="72075" y="12268"/>
                        <a:pt x="73608" y="11246"/>
                        <a:pt x="75653" y="11246"/>
                      </a:cubicBezTo>
                      <a:cubicBezTo>
                        <a:pt x="78720" y="11246"/>
                        <a:pt x="79743" y="12779"/>
                        <a:pt x="79743" y="16358"/>
                      </a:cubicBezTo>
                      <a:lnTo>
                        <a:pt x="79743" y="28626"/>
                      </a:lnTo>
                      <a:cubicBezTo>
                        <a:pt x="79743" y="29137"/>
                        <a:pt x="80254" y="29137"/>
                        <a:pt x="80765" y="29137"/>
                      </a:cubicBezTo>
                      <a:lnTo>
                        <a:pt x="82810" y="29137"/>
                      </a:lnTo>
                      <a:cubicBezTo>
                        <a:pt x="83321" y="29137"/>
                        <a:pt x="83832" y="29137"/>
                        <a:pt x="83832" y="28626"/>
                      </a:cubicBezTo>
                      <a:lnTo>
                        <a:pt x="83832" y="15846"/>
                      </a:lnTo>
                      <a:close/>
                      <a:moveTo>
                        <a:pt x="37315" y="17380"/>
                      </a:moveTo>
                      <a:cubicBezTo>
                        <a:pt x="37315" y="13291"/>
                        <a:pt x="37826" y="11246"/>
                        <a:pt x="41405" y="11246"/>
                      </a:cubicBezTo>
                      <a:cubicBezTo>
                        <a:pt x="44472" y="11246"/>
                        <a:pt x="45494" y="12779"/>
                        <a:pt x="45494" y="16869"/>
                      </a:cubicBezTo>
                      <a:cubicBezTo>
                        <a:pt x="45494" y="17380"/>
                        <a:pt x="45494" y="17380"/>
                        <a:pt x="44983" y="17380"/>
                      </a:cubicBezTo>
                      <a:lnTo>
                        <a:pt x="37315" y="17380"/>
                      </a:lnTo>
                      <a:close/>
                      <a:moveTo>
                        <a:pt x="49072" y="16358"/>
                      </a:moveTo>
                      <a:cubicBezTo>
                        <a:pt x="49072" y="10223"/>
                        <a:pt x="46516" y="8179"/>
                        <a:pt x="41405" y="8179"/>
                      </a:cubicBezTo>
                      <a:cubicBezTo>
                        <a:pt x="35271" y="8179"/>
                        <a:pt x="33226" y="11757"/>
                        <a:pt x="33226" y="18402"/>
                      </a:cubicBezTo>
                      <a:lnTo>
                        <a:pt x="33226" y="19936"/>
                      </a:lnTo>
                      <a:cubicBezTo>
                        <a:pt x="33226" y="27092"/>
                        <a:pt x="35271" y="30159"/>
                        <a:pt x="41916" y="30159"/>
                      </a:cubicBezTo>
                      <a:cubicBezTo>
                        <a:pt x="43961" y="30159"/>
                        <a:pt x="46516" y="29648"/>
                        <a:pt x="48050" y="29137"/>
                      </a:cubicBezTo>
                      <a:cubicBezTo>
                        <a:pt x="48561" y="29137"/>
                        <a:pt x="48561" y="28626"/>
                        <a:pt x="48561" y="28626"/>
                      </a:cubicBezTo>
                      <a:cubicBezTo>
                        <a:pt x="48561" y="28626"/>
                        <a:pt x="48561" y="28115"/>
                        <a:pt x="48561" y="27604"/>
                      </a:cubicBezTo>
                      <a:lnTo>
                        <a:pt x="48050" y="26581"/>
                      </a:lnTo>
                      <a:cubicBezTo>
                        <a:pt x="48050" y="26070"/>
                        <a:pt x="47539" y="26070"/>
                        <a:pt x="47539" y="26070"/>
                      </a:cubicBezTo>
                      <a:cubicBezTo>
                        <a:pt x="47539" y="26070"/>
                        <a:pt x="47028" y="26070"/>
                        <a:pt x="47028" y="26070"/>
                      </a:cubicBezTo>
                      <a:cubicBezTo>
                        <a:pt x="46005" y="26581"/>
                        <a:pt x="43961" y="27092"/>
                        <a:pt x="42427" y="27092"/>
                      </a:cubicBezTo>
                      <a:cubicBezTo>
                        <a:pt x="38338" y="27092"/>
                        <a:pt x="37315" y="25559"/>
                        <a:pt x="37315" y="21469"/>
                      </a:cubicBezTo>
                      <a:lnTo>
                        <a:pt x="48050" y="21469"/>
                      </a:lnTo>
                      <a:cubicBezTo>
                        <a:pt x="49072" y="21469"/>
                        <a:pt x="49072" y="20958"/>
                        <a:pt x="49072" y="20447"/>
                      </a:cubicBezTo>
                      <a:lnTo>
                        <a:pt x="49072" y="16358"/>
                      </a:lnTo>
                      <a:close/>
                      <a:moveTo>
                        <a:pt x="23514" y="8690"/>
                      </a:moveTo>
                      <a:cubicBezTo>
                        <a:pt x="23514" y="8179"/>
                        <a:pt x="23003" y="8179"/>
                        <a:pt x="22491" y="8179"/>
                      </a:cubicBezTo>
                      <a:lnTo>
                        <a:pt x="20958" y="8179"/>
                      </a:lnTo>
                      <a:cubicBezTo>
                        <a:pt x="20447" y="8179"/>
                        <a:pt x="20447" y="8179"/>
                        <a:pt x="20447" y="8690"/>
                      </a:cubicBezTo>
                      <a:lnTo>
                        <a:pt x="20447" y="28115"/>
                      </a:lnTo>
                      <a:cubicBezTo>
                        <a:pt x="20447" y="28626"/>
                        <a:pt x="20447" y="28626"/>
                        <a:pt x="21469" y="28626"/>
                      </a:cubicBezTo>
                      <a:lnTo>
                        <a:pt x="23514" y="28626"/>
                      </a:lnTo>
                      <a:cubicBezTo>
                        <a:pt x="24025" y="28626"/>
                        <a:pt x="24536" y="28626"/>
                        <a:pt x="24536" y="28115"/>
                      </a:cubicBezTo>
                      <a:lnTo>
                        <a:pt x="24536" y="16358"/>
                      </a:lnTo>
                      <a:cubicBezTo>
                        <a:pt x="24536" y="14824"/>
                        <a:pt x="25047" y="13291"/>
                        <a:pt x="25559" y="12779"/>
                      </a:cubicBezTo>
                      <a:cubicBezTo>
                        <a:pt x="26070" y="11757"/>
                        <a:pt x="27092" y="11757"/>
                        <a:pt x="29137" y="11757"/>
                      </a:cubicBezTo>
                      <a:lnTo>
                        <a:pt x="30159" y="11757"/>
                      </a:lnTo>
                      <a:cubicBezTo>
                        <a:pt x="30670" y="11757"/>
                        <a:pt x="31181" y="11757"/>
                        <a:pt x="31181" y="11246"/>
                      </a:cubicBezTo>
                      <a:lnTo>
                        <a:pt x="31181" y="8690"/>
                      </a:lnTo>
                      <a:cubicBezTo>
                        <a:pt x="31181" y="8179"/>
                        <a:pt x="31181" y="8179"/>
                        <a:pt x="30159" y="8179"/>
                      </a:cubicBezTo>
                      <a:lnTo>
                        <a:pt x="29137" y="8179"/>
                      </a:lnTo>
                      <a:cubicBezTo>
                        <a:pt x="26581" y="8179"/>
                        <a:pt x="25047" y="9201"/>
                        <a:pt x="24025" y="10735"/>
                      </a:cubicBezTo>
                      <a:lnTo>
                        <a:pt x="24025" y="10735"/>
                      </a:lnTo>
                      <a:lnTo>
                        <a:pt x="23514" y="8690"/>
                      </a:lnTo>
                      <a:close/>
                      <a:moveTo>
                        <a:pt x="4089" y="4601"/>
                      </a:moveTo>
                      <a:cubicBezTo>
                        <a:pt x="4600" y="4601"/>
                        <a:pt x="5623" y="4601"/>
                        <a:pt x="6645" y="4601"/>
                      </a:cubicBezTo>
                      <a:cubicBezTo>
                        <a:pt x="11246" y="4601"/>
                        <a:pt x="12779" y="6134"/>
                        <a:pt x="12779" y="9712"/>
                      </a:cubicBezTo>
                      <a:lnTo>
                        <a:pt x="12779" y="10223"/>
                      </a:lnTo>
                      <a:cubicBezTo>
                        <a:pt x="12779" y="14313"/>
                        <a:pt x="10734" y="15846"/>
                        <a:pt x="6134" y="15846"/>
                      </a:cubicBezTo>
                      <a:cubicBezTo>
                        <a:pt x="5623" y="15846"/>
                        <a:pt x="4600" y="15846"/>
                        <a:pt x="3578" y="15846"/>
                      </a:cubicBezTo>
                      <a:lnTo>
                        <a:pt x="3578" y="6134"/>
                      </a:lnTo>
                      <a:cubicBezTo>
                        <a:pt x="3578" y="5112"/>
                        <a:pt x="3578" y="4601"/>
                        <a:pt x="4089" y="4601"/>
                      </a:cubicBezTo>
                      <a:moveTo>
                        <a:pt x="3578" y="18913"/>
                      </a:moveTo>
                      <a:cubicBezTo>
                        <a:pt x="4600" y="18913"/>
                        <a:pt x="5623" y="18913"/>
                        <a:pt x="7156" y="18913"/>
                      </a:cubicBezTo>
                      <a:cubicBezTo>
                        <a:pt x="13290" y="18913"/>
                        <a:pt x="17380" y="16358"/>
                        <a:pt x="17380" y="10223"/>
                      </a:cubicBezTo>
                      <a:lnTo>
                        <a:pt x="17380" y="9712"/>
                      </a:lnTo>
                      <a:cubicBezTo>
                        <a:pt x="17380" y="3578"/>
                        <a:pt x="14313" y="1534"/>
                        <a:pt x="7156" y="1534"/>
                      </a:cubicBezTo>
                      <a:cubicBezTo>
                        <a:pt x="4600" y="1534"/>
                        <a:pt x="2556" y="1534"/>
                        <a:pt x="1022" y="2045"/>
                      </a:cubicBezTo>
                      <a:cubicBezTo>
                        <a:pt x="0" y="2045"/>
                        <a:pt x="0" y="2556"/>
                        <a:pt x="0" y="3578"/>
                      </a:cubicBezTo>
                      <a:lnTo>
                        <a:pt x="0" y="28626"/>
                      </a:lnTo>
                      <a:cubicBezTo>
                        <a:pt x="0" y="29137"/>
                        <a:pt x="0" y="29648"/>
                        <a:pt x="1022" y="29648"/>
                      </a:cubicBezTo>
                      <a:lnTo>
                        <a:pt x="3067" y="29648"/>
                      </a:lnTo>
                      <a:cubicBezTo>
                        <a:pt x="3578" y="29648"/>
                        <a:pt x="4089" y="29648"/>
                        <a:pt x="4089" y="28626"/>
                      </a:cubicBezTo>
                      <a:lnTo>
                        <a:pt x="4089" y="18913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7" name="Freihandform: Form 126">
                  <a:extLst>
                    <a:ext uri="{FF2B5EF4-FFF2-40B4-BE49-F238E27FC236}">
                      <a16:creationId xmlns:a16="http://schemas.microsoft.com/office/drawing/2014/main" id="{496F4362-3EC1-4CB9-93B9-ECE9082B7016}"/>
                    </a:ext>
                  </a:extLst>
                </p:cNvPr>
                <p:cNvSpPr/>
                <p:nvPr/>
              </p:nvSpPr>
              <p:spPr>
                <a:xfrm>
                  <a:off x="8558416" y="1456492"/>
                  <a:ext cx="141594" cy="29648"/>
                </a:xfrm>
                <a:custGeom>
                  <a:avLst/>
                  <a:gdLst>
                    <a:gd name="connsiteX0" fmla="*/ 141083 w 141594"/>
                    <a:gd name="connsiteY0" fmla="*/ 28626 h 29648"/>
                    <a:gd name="connsiteX1" fmla="*/ 141594 w 141594"/>
                    <a:gd name="connsiteY1" fmla="*/ 28115 h 29648"/>
                    <a:gd name="connsiteX2" fmla="*/ 141594 w 141594"/>
                    <a:gd name="connsiteY2" fmla="*/ 26581 h 29648"/>
                    <a:gd name="connsiteX3" fmla="*/ 141083 w 141594"/>
                    <a:gd name="connsiteY3" fmla="*/ 25559 h 29648"/>
                    <a:gd name="connsiteX4" fmla="*/ 139038 w 141594"/>
                    <a:gd name="connsiteY4" fmla="*/ 25559 h 29648"/>
                    <a:gd name="connsiteX5" fmla="*/ 136483 w 141594"/>
                    <a:gd name="connsiteY5" fmla="*/ 24536 h 29648"/>
                    <a:gd name="connsiteX6" fmla="*/ 135971 w 141594"/>
                    <a:gd name="connsiteY6" fmla="*/ 21469 h 29648"/>
                    <a:gd name="connsiteX7" fmla="*/ 135971 w 141594"/>
                    <a:gd name="connsiteY7" fmla="*/ 11246 h 29648"/>
                    <a:gd name="connsiteX8" fmla="*/ 140572 w 141594"/>
                    <a:gd name="connsiteY8" fmla="*/ 11246 h 29648"/>
                    <a:gd name="connsiteX9" fmla="*/ 141083 w 141594"/>
                    <a:gd name="connsiteY9" fmla="*/ 10735 h 29648"/>
                    <a:gd name="connsiteX10" fmla="*/ 141083 w 141594"/>
                    <a:gd name="connsiteY10" fmla="*/ 8690 h 29648"/>
                    <a:gd name="connsiteX11" fmla="*/ 140572 w 141594"/>
                    <a:gd name="connsiteY11" fmla="*/ 8179 h 29648"/>
                    <a:gd name="connsiteX12" fmla="*/ 135971 w 141594"/>
                    <a:gd name="connsiteY12" fmla="*/ 8179 h 29648"/>
                    <a:gd name="connsiteX13" fmla="*/ 135971 w 141594"/>
                    <a:gd name="connsiteY13" fmla="*/ 3578 h 29648"/>
                    <a:gd name="connsiteX14" fmla="*/ 134949 w 141594"/>
                    <a:gd name="connsiteY14" fmla="*/ 2556 h 29648"/>
                    <a:gd name="connsiteX15" fmla="*/ 133416 w 141594"/>
                    <a:gd name="connsiteY15" fmla="*/ 2556 h 29648"/>
                    <a:gd name="connsiteX16" fmla="*/ 132393 w 141594"/>
                    <a:gd name="connsiteY16" fmla="*/ 3578 h 29648"/>
                    <a:gd name="connsiteX17" fmla="*/ 132393 w 141594"/>
                    <a:gd name="connsiteY17" fmla="*/ 8179 h 29648"/>
                    <a:gd name="connsiteX18" fmla="*/ 129837 w 141594"/>
                    <a:gd name="connsiteY18" fmla="*/ 8690 h 29648"/>
                    <a:gd name="connsiteX19" fmla="*/ 129326 w 141594"/>
                    <a:gd name="connsiteY19" fmla="*/ 9201 h 29648"/>
                    <a:gd name="connsiteX20" fmla="*/ 129326 w 141594"/>
                    <a:gd name="connsiteY20" fmla="*/ 10735 h 29648"/>
                    <a:gd name="connsiteX21" fmla="*/ 129837 w 141594"/>
                    <a:gd name="connsiteY21" fmla="*/ 11246 h 29648"/>
                    <a:gd name="connsiteX22" fmla="*/ 132393 w 141594"/>
                    <a:gd name="connsiteY22" fmla="*/ 11246 h 29648"/>
                    <a:gd name="connsiteX23" fmla="*/ 132393 w 141594"/>
                    <a:gd name="connsiteY23" fmla="*/ 21980 h 29648"/>
                    <a:gd name="connsiteX24" fmla="*/ 133416 w 141594"/>
                    <a:gd name="connsiteY24" fmla="*/ 27092 h 29648"/>
                    <a:gd name="connsiteX25" fmla="*/ 138527 w 141594"/>
                    <a:gd name="connsiteY25" fmla="*/ 28626 h 29648"/>
                    <a:gd name="connsiteX26" fmla="*/ 141083 w 141594"/>
                    <a:gd name="connsiteY26" fmla="*/ 28626 h 29648"/>
                    <a:gd name="connsiteX27" fmla="*/ 126259 w 141594"/>
                    <a:gd name="connsiteY27" fmla="*/ 511 h 29648"/>
                    <a:gd name="connsiteX28" fmla="*/ 125237 w 141594"/>
                    <a:gd name="connsiteY28" fmla="*/ 0 h 29648"/>
                    <a:gd name="connsiteX29" fmla="*/ 123192 w 141594"/>
                    <a:gd name="connsiteY29" fmla="*/ 0 h 29648"/>
                    <a:gd name="connsiteX30" fmla="*/ 122170 w 141594"/>
                    <a:gd name="connsiteY30" fmla="*/ 511 h 29648"/>
                    <a:gd name="connsiteX31" fmla="*/ 122170 w 141594"/>
                    <a:gd name="connsiteY31" fmla="*/ 8690 h 29648"/>
                    <a:gd name="connsiteX32" fmla="*/ 122170 w 141594"/>
                    <a:gd name="connsiteY32" fmla="*/ 8690 h 29648"/>
                    <a:gd name="connsiteX33" fmla="*/ 117569 w 141594"/>
                    <a:gd name="connsiteY33" fmla="*/ 7156 h 29648"/>
                    <a:gd name="connsiteX34" fmla="*/ 108879 w 141594"/>
                    <a:gd name="connsiteY34" fmla="*/ 16869 h 29648"/>
                    <a:gd name="connsiteX35" fmla="*/ 108879 w 141594"/>
                    <a:gd name="connsiteY35" fmla="*/ 18402 h 29648"/>
                    <a:gd name="connsiteX36" fmla="*/ 117569 w 141594"/>
                    <a:gd name="connsiteY36" fmla="*/ 28626 h 29648"/>
                    <a:gd name="connsiteX37" fmla="*/ 125748 w 141594"/>
                    <a:gd name="connsiteY37" fmla="*/ 20958 h 29648"/>
                    <a:gd name="connsiteX38" fmla="*/ 125748 w 141594"/>
                    <a:gd name="connsiteY38" fmla="*/ 511 h 29648"/>
                    <a:gd name="connsiteX39" fmla="*/ 122170 w 141594"/>
                    <a:gd name="connsiteY39" fmla="*/ 20958 h 29648"/>
                    <a:gd name="connsiteX40" fmla="*/ 117569 w 141594"/>
                    <a:gd name="connsiteY40" fmla="*/ 25559 h 29648"/>
                    <a:gd name="connsiteX41" fmla="*/ 112969 w 141594"/>
                    <a:gd name="connsiteY41" fmla="*/ 18402 h 29648"/>
                    <a:gd name="connsiteX42" fmla="*/ 112969 w 141594"/>
                    <a:gd name="connsiteY42" fmla="*/ 17380 h 29648"/>
                    <a:gd name="connsiteX43" fmla="*/ 117569 w 141594"/>
                    <a:gd name="connsiteY43" fmla="*/ 10735 h 29648"/>
                    <a:gd name="connsiteX44" fmla="*/ 122170 w 141594"/>
                    <a:gd name="connsiteY44" fmla="*/ 15846 h 29648"/>
                    <a:gd name="connsiteX45" fmla="*/ 122170 w 141594"/>
                    <a:gd name="connsiteY45" fmla="*/ 20958 h 29648"/>
                    <a:gd name="connsiteX46" fmla="*/ 93544 w 141594"/>
                    <a:gd name="connsiteY46" fmla="*/ 16869 h 29648"/>
                    <a:gd name="connsiteX47" fmla="*/ 97634 w 141594"/>
                    <a:gd name="connsiteY47" fmla="*/ 10735 h 29648"/>
                    <a:gd name="connsiteX48" fmla="*/ 101723 w 141594"/>
                    <a:gd name="connsiteY48" fmla="*/ 16358 h 29648"/>
                    <a:gd name="connsiteX49" fmla="*/ 101212 w 141594"/>
                    <a:gd name="connsiteY49" fmla="*/ 16869 h 29648"/>
                    <a:gd name="connsiteX50" fmla="*/ 93544 w 141594"/>
                    <a:gd name="connsiteY50" fmla="*/ 16869 h 29648"/>
                    <a:gd name="connsiteX51" fmla="*/ 105301 w 141594"/>
                    <a:gd name="connsiteY51" fmla="*/ 15846 h 29648"/>
                    <a:gd name="connsiteX52" fmla="*/ 97634 w 141594"/>
                    <a:gd name="connsiteY52" fmla="*/ 7668 h 29648"/>
                    <a:gd name="connsiteX53" fmla="*/ 89455 w 141594"/>
                    <a:gd name="connsiteY53" fmla="*/ 17891 h 29648"/>
                    <a:gd name="connsiteX54" fmla="*/ 89455 w 141594"/>
                    <a:gd name="connsiteY54" fmla="*/ 19425 h 29648"/>
                    <a:gd name="connsiteX55" fmla="*/ 98145 w 141594"/>
                    <a:gd name="connsiteY55" fmla="*/ 29648 h 29648"/>
                    <a:gd name="connsiteX56" fmla="*/ 104279 w 141594"/>
                    <a:gd name="connsiteY56" fmla="*/ 28626 h 29648"/>
                    <a:gd name="connsiteX57" fmla="*/ 104790 w 141594"/>
                    <a:gd name="connsiteY57" fmla="*/ 28115 h 29648"/>
                    <a:gd name="connsiteX58" fmla="*/ 104790 w 141594"/>
                    <a:gd name="connsiteY58" fmla="*/ 27092 h 29648"/>
                    <a:gd name="connsiteX59" fmla="*/ 104279 w 141594"/>
                    <a:gd name="connsiteY59" fmla="*/ 26070 h 29648"/>
                    <a:gd name="connsiteX60" fmla="*/ 103768 w 141594"/>
                    <a:gd name="connsiteY60" fmla="*/ 25559 h 29648"/>
                    <a:gd name="connsiteX61" fmla="*/ 103256 w 141594"/>
                    <a:gd name="connsiteY61" fmla="*/ 25559 h 29648"/>
                    <a:gd name="connsiteX62" fmla="*/ 98656 w 141594"/>
                    <a:gd name="connsiteY62" fmla="*/ 26581 h 29648"/>
                    <a:gd name="connsiteX63" fmla="*/ 93544 w 141594"/>
                    <a:gd name="connsiteY63" fmla="*/ 20958 h 29648"/>
                    <a:gd name="connsiteX64" fmla="*/ 104279 w 141594"/>
                    <a:gd name="connsiteY64" fmla="*/ 20958 h 29648"/>
                    <a:gd name="connsiteX65" fmla="*/ 105301 w 141594"/>
                    <a:gd name="connsiteY65" fmla="*/ 19936 h 29648"/>
                    <a:gd name="connsiteX66" fmla="*/ 105301 w 141594"/>
                    <a:gd name="connsiteY66" fmla="*/ 15846 h 29648"/>
                    <a:gd name="connsiteX67" fmla="*/ 80765 w 141594"/>
                    <a:gd name="connsiteY67" fmla="*/ 28626 h 29648"/>
                    <a:gd name="connsiteX68" fmla="*/ 82298 w 141594"/>
                    <a:gd name="connsiteY68" fmla="*/ 27092 h 29648"/>
                    <a:gd name="connsiteX69" fmla="*/ 86388 w 141594"/>
                    <a:gd name="connsiteY69" fmla="*/ 9712 h 29648"/>
                    <a:gd name="connsiteX70" fmla="*/ 86388 w 141594"/>
                    <a:gd name="connsiteY70" fmla="*/ 8179 h 29648"/>
                    <a:gd name="connsiteX71" fmla="*/ 85365 w 141594"/>
                    <a:gd name="connsiteY71" fmla="*/ 7668 h 29648"/>
                    <a:gd name="connsiteX72" fmla="*/ 83321 w 141594"/>
                    <a:gd name="connsiteY72" fmla="*/ 7668 h 29648"/>
                    <a:gd name="connsiteX73" fmla="*/ 82298 w 141594"/>
                    <a:gd name="connsiteY73" fmla="*/ 8179 h 29648"/>
                    <a:gd name="connsiteX74" fmla="*/ 78720 w 141594"/>
                    <a:gd name="connsiteY74" fmla="*/ 24536 h 29648"/>
                    <a:gd name="connsiteX75" fmla="*/ 78720 w 141594"/>
                    <a:gd name="connsiteY75" fmla="*/ 24536 h 29648"/>
                    <a:gd name="connsiteX76" fmla="*/ 75142 w 141594"/>
                    <a:gd name="connsiteY76" fmla="*/ 9712 h 29648"/>
                    <a:gd name="connsiteX77" fmla="*/ 73608 w 141594"/>
                    <a:gd name="connsiteY77" fmla="*/ 8690 h 29648"/>
                    <a:gd name="connsiteX78" fmla="*/ 72075 w 141594"/>
                    <a:gd name="connsiteY78" fmla="*/ 8690 h 29648"/>
                    <a:gd name="connsiteX79" fmla="*/ 70542 w 141594"/>
                    <a:gd name="connsiteY79" fmla="*/ 9712 h 29648"/>
                    <a:gd name="connsiteX80" fmla="*/ 66963 w 141594"/>
                    <a:gd name="connsiteY80" fmla="*/ 24536 h 29648"/>
                    <a:gd name="connsiteX81" fmla="*/ 66963 w 141594"/>
                    <a:gd name="connsiteY81" fmla="*/ 24536 h 29648"/>
                    <a:gd name="connsiteX82" fmla="*/ 63385 w 141594"/>
                    <a:gd name="connsiteY82" fmla="*/ 8179 h 29648"/>
                    <a:gd name="connsiteX83" fmla="*/ 62363 w 141594"/>
                    <a:gd name="connsiteY83" fmla="*/ 7668 h 29648"/>
                    <a:gd name="connsiteX84" fmla="*/ 60318 w 141594"/>
                    <a:gd name="connsiteY84" fmla="*/ 7668 h 29648"/>
                    <a:gd name="connsiteX85" fmla="*/ 59296 w 141594"/>
                    <a:gd name="connsiteY85" fmla="*/ 8179 h 29648"/>
                    <a:gd name="connsiteX86" fmla="*/ 59296 w 141594"/>
                    <a:gd name="connsiteY86" fmla="*/ 9712 h 29648"/>
                    <a:gd name="connsiteX87" fmla="*/ 63385 w 141594"/>
                    <a:gd name="connsiteY87" fmla="*/ 27092 h 29648"/>
                    <a:gd name="connsiteX88" fmla="*/ 64919 w 141594"/>
                    <a:gd name="connsiteY88" fmla="*/ 28626 h 29648"/>
                    <a:gd name="connsiteX89" fmla="*/ 66963 w 141594"/>
                    <a:gd name="connsiteY89" fmla="*/ 28626 h 29648"/>
                    <a:gd name="connsiteX90" fmla="*/ 69008 w 141594"/>
                    <a:gd name="connsiteY90" fmla="*/ 27092 h 29648"/>
                    <a:gd name="connsiteX91" fmla="*/ 72586 w 141594"/>
                    <a:gd name="connsiteY91" fmla="*/ 12779 h 29648"/>
                    <a:gd name="connsiteX92" fmla="*/ 73097 w 141594"/>
                    <a:gd name="connsiteY92" fmla="*/ 12779 h 29648"/>
                    <a:gd name="connsiteX93" fmla="*/ 76676 w 141594"/>
                    <a:gd name="connsiteY93" fmla="*/ 27092 h 29648"/>
                    <a:gd name="connsiteX94" fmla="*/ 78720 w 141594"/>
                    <a:gd name="connsiteY94" fmla="*/ 28626 h 29648"/>
                    <a:gd name="connsiteX95" fmla="*/ 80765 w 141594"/>
                    <a:gd name="connsiteY95" fmla="*/ 28626 h 29648"/>
                    <a:gd name="connsiteX96" fmla="*/ 56740 w 141594"/>
                    <a:gd name="connsiteY96" fmla="*/ 15846 h 29648"/>
                    <a:gd name="connsiteX97" fmla="*/ 49583 w 141594"/>
                    <a:gd name="connsiteY97" fmla="*/ 7668 h 29648"/>
                    <a:gd name="connsiteX98" fmla="*/ 43961 w 141594"/>
                    <a:gd name="connsiteY98" fmla="*/ 9201 h 29648"/>
                    <a:gd name="connsiteX99" fmla="*/ 43961 w 141594"/>
                    <a:gd name="connsiteY99" fmla="*/ 511 h 29648"/>
                    <a:gd name="connsiteX100" fmla="*/ 42938 w 141594"/>
                    <a:gd name="connsiteY100" fmla="*/ 0 h 29648"/>
                    <a:gd name="connsiteX101" fmla="*/ 40894 w 141594"/>
                    <a:gd name="connsiteY101" fmla="*/ 0 h 29648"/>
                    <a:gd name="connsiteX102" fmla="*/ 39871 w 141594"/>
                    <a:gd name="connsiteY102" fmla="*/ 511 h 29648"/>
                    <a:gd name="connsiteX103" fmla="*/ 39871 w 141594"/>
                    <a:gd name="connsiteY103" fmla="*/ 27603 h 29648"/>
                    <a:gd name="connsiteX104" fmla="*/ 40894 w 141594"/>
                    <a:gd name="connsiteY104" fmla="*/ 28115 h 29648"/>
                    <a:gd name="connsiteX105" fmla="*/ 42938 w 141594"/>
                    <a:gd name="connsiteY105" fmla="*/ 28115 h 29648"/>
                    <a:gd name="connsiteX106" fmla="*/ 43961 w 141594"/>
                    <a:gd name="connsiteY106" fmla="*/ 27603 h 29648"/>
                    <a:gd name="connsiteX107" fmla="*/ 43961 w 141594"/>
                    <a:gd name="connsiteY107" fmla="*/ 15335 h 29648"/>
                    <a:gd name="connsiteX108" fmla="*/ 48050 w 141594"/>
                    <a:gd name="connsiteY108" fmla="*/ 10735 h 29648"/>
                    <a:gd name="connsiteX109" fmla="*/ 52651 w 141594"/>
                    <a:gd name="connsiteY109" fmla="*/ 15846 h 29648"/>
                    <a:gd name="connsiteX110" fmla="*/ 52651 w 141594"/>
                    <a:gd name="connsiteY110" fmla="*/ 28115 h 29648"/>
                    <a:gd name="connsiteX111" fmla="*/ 53673 w 141594"/>
                    <a:gd name="connsiteY111" fmla="*/ 28626 h 29648"/>
                    <a:gd name="connsiteX112" fmla="*/ 55717 w 141594"/>
                    <a:gd name="connsiteY112" fmla="*/ 28626 h 29648"/>
                    <a:gd name="connsiteX113" fmla="*/ 56740 w 141594"/>
                    <a:gd name="connsiteY113" fmla="*/ 28115 h 29648"/>
                    <a:gd name="connsiteX114" fmla="*/ 56740 w 141594"/>
                    <a:gd name="connsiteY114" fmla="*/ 15846 h 29648"/>
                    <a:gd name="connsiteX115" fmla="*/ 35271 w 141594"/>
                    <a:gd name="connsiteY115" fmla="*/ 25047 h 29648"/>
                    <a:gd name="connsiteX116" fmla="*/ 34760 w 141594"/>
                    <a:gd name="connsiteY116" fmla="*/ 24536 h 29648"/>
                    <a:gd name="connsiteX117" fmla="*/ 34248 w 141594"/>
                    <a:gd name="connsiteY117" fmla="*/ 24536 h 29648"/>
                    <a:gd name="connsiteX118" fmla="*/ 30159 w 141594"/>
                    <a:gd name="connsiteY118" fmla="*/ 25047 h 29648"/>
                    <a:gd name="connsiteX119" fmla="*/ 26070 w 141594"/>
                    <a:gd name="connsiteY119" fmla="*/ 23514 h 29648"/>
                    <a:gd name="connsiteX120" fmla="*/ 25047 w 141594"/>
                    <a:gd name="connsiteY120" fmla="*/ 17891 h 29648"/>
                    <a:gd name="connsiteX121" fmla="*/ 25047 w 141594"/>
                    <a:gd name="connsiteY121" fmla="*/ 17380 h 29648"/>
                    <a:gd name="connsiteX122" fmla="*/ 26581 w 141594"/>
                    <a:gd name="connsiteY122" fmla="*/ 11246 h 29648"/>
                    <a:gd name="connsiteX123" fmla="*/ 30159 w 141594"/>
                    <a:gd name="connsiteY123" fmla="*/ 10223 h 29648"/>
                    <a:gd name="connsiteX124" fmla="*/ 34760 w 141594"/>
                    <a:gd name="connsiteY124" fmla="*/ 11757 h 29648"/>
                    <a:gd name="connsiteX125" fmla="*/ 35271 w 141594"/>
                    <a:gd name="connsiteY125" fmla="*/ 11757 h 29648"/>
                    <a:gd name="connsiteX126" fmla="*/ 35782 w 141594"/>
                    <a:gd name="connsiteY126" fmla="*/ 11246 h 29648"/>
                    <a:gd name="connsiteX127" fmla="*/ 36293 w 141594"/>
                    <a:gd name="connsiteY127" fmla="*/ 10223 h 29648"/>
                    <a:gd name="connsiteX128" fmla="*/ 36804 w 141594"/>
                    <a:gd name="connsiteY128" fmla="*/ 9201 h 29648"/>
                    <a:gd name="connsiteX129" fmla="*/ 36293 w 141594"/>
                    <a:gd name="connsiteY129" fmla="*/ 8690 h 29648"/>
                    <a:gd name="connsiteX130" fmla="*/ 30159 w 141594"/>
                    <a:gd name="connsiteY130" fmla="*/ 7156 h 29648"/>
                    <a:gd name="connsiteX131" fmla="*/ 24025 w 141594"/>
                    <a:gd name="connsiteY131" fmla="*/ 9201 h 29648"/>
                    <a:gd name="connsiteX132" fmla="*/ 21980 w 141594"/>
                    <a:gd name="connsiteY132" fmla="*/ 16869 h 29648"/>
                    <a:gd name="connsiteX133" fmla="*/ 21980 w 141594"/>
                    <a:gd name="connsiteY133" fmla="*/ 18402 h 29648"/>
                    <a:gd name="connsiteX134" fmla="*/ 24536 w 141594"/>
                    <a:gd name="connsiteY134" fmla="*/ 26581 h 29648"/>
                    <a:gd name="connsiteX135" fmla="*/ 30670 w 141594"/>
                    <a:gd name="connsiteY135" fmla="*/ 28626 h 29648"/>
                    <a:gd name="connsiteX136" fmla="*/ 36293 w 141594"/>
                    <a:gd name="connsiteY136" fmla="*/ 27603 h 29648"/>
                    <a:gd name="connsiteX137" fmla="*/ 36804 w 141594"/>
                    <a:gd name="connsiteY137" fmla="*/ 27092 h 29648"/>
                    <a:gd name="connsiteX138" fmla="*/ 36804 w 141594"/>
                    <a:gd name="connsiteY138" fmla="*/ 26070 h 29648"/>
                    <a:gd name="connsiteX139" fmla="*/ 35271 w 141594"/>
                    <a:gd name="connsiteY139" fmla="*/ 25047 h 29648"/>
                    <a:gd name="connsiteX140" fmla="*/ 8690 w 141594"/>
                    <a:gd name="connsiteY140" fmla="*/ 28626 h 29648"/>
                    <a:gd name="connsiteX141" fmla="*/ 17891 w 141594"/>
                    <a:gd name="connsiteY141" fmla="*/ 20447 h 29648"/>
                    <a:gd name="connsiteX142" fmla="*/ 17891 w 141594"/>
                    <a:gd name="connsiteY142" fmla="*/ 19936 h 29648"/>
                    <a:gd name="connsiteX143" fmla="*/ 11757 w 141594"/>
                    <a:gd name="connsiteY143" fmla="*/ 12779 h 29648"/>
                    <a:gd name="connsiteX144" fmla="*/ 8690 w 141594"/>
                    <a:gd name="connsiteY144" fmla="*/ 12268 h 29648"/>
                    <a:gd name="connsiteX145" fmla="*/ 4600 w 141594"/>
                    <a:gd name="connsiteY145" fmla="*/ 8179 h 29648"/>
                    <a:gd name="connsiteX146" fmla="*/ 4600 w 141594"/>
                    <a:gd name="connsiteY146" fmla="*/ 7668 h 29648"/>
                    <a:gd name="connsiteX147" fmla="*/ 9201 w 141594"/>
                    <a:gd name="connsiteY147" fmla="*/ 3578 h 29648"/>
                    <a:gd name="connsiteX148" fmla="*/ 14313 w 141594"/>
                    <a:gd name="connsiteY148" fmla="*/ 4601 h 29648"/>
                    <a:gd name="connsiteX149" fmla="*/ 14824 w 141594"/>
                    <a:gd name="connsiteY149" fmla="*/ 4601 h 29648"/>
                    <a:gd name="connsiteX150" fmla="*/ 15335 w 141594"/>
                    <a:gd name="connsiteY150" fmla="*/ 4089 h 29648"/>
                    <a:gd name="connsiteX151" fmla="*/ 15335 w 141594"/>
                    <a:gd name="connsiteY151" fmla="*/ 3067 h 29648"/>
                    <a:gd name="connsiteX152" fmla="*/ 15846 w 141594"/>
                    <a:gd name="connsiteY152" fmla="*/ 1533 h 29648"/>
                    <a:gd name="connsiteX153" fmla="*/ 15335 w 141594"/>
                    <a:gd name="connsiteY153" fmla="*/ 1022 h 29648"/>
                    <a:gd name="connsiteX154" fmla="*/ 8690 w 141594"/>
                    <a:gd name="connsiteY154" fmla="*/ 0 h 29648"/>
                    <a:gd name="connsiteX155" fmla="*/ 0 w 141594"/>
                    <a:gd name="connsiteY155" fmla="*/ 7156 h 29648"/>
                    <a:gd name="connsiteX156" fmla="*/ 0 w 141594"/>
                    <a:gd name="connsiteY156" fmla="*/ 7668 h 29648"/>
                    <a:gd name="connsiteX157" fmla="*/ 6134 w 141594"/>
                    <a:gd name="connsiteY157" fmla="*/ 14824 h 29648"/>
                    <a:gd name="connsiteX158" fmla="*/ 9201 w 141594"/>
                    <a:gd name="connsiteY158" fmla="*/ 15335 h 29648"/>
                    <a:gd name="connsiteX159" fmla="*/ 13290 w 141594"/>
                    <a:gd name="connsiteY159" fmla="*/ 19425 h 29648"/>
                    <a:gd name="connsiteX160" fmla="*/ 13290 w 141594"/>
                    <a:gd name="connsiteY160" fmla="*/ 19936 h 29648"/>
                    <a:gd name="connsiteX161" fmla="*/ 8179 w 141594"/>
                    <a:gd name="connsiteY161" fmla="*/ 24536 h 29648"/>
                    <a:gd name="connsiteX162" fmla="*/ 1533 w 141594"/>
                    <a:gd name="connsiteY162" fmla="*/ 23514 h 29648"/>
                    <a:gd name="connsiteX163" fmla="*/ 1022 w 141594"/>
                    <a:gd name="connsiteY163" fmla="*/ 23514 h 29648"/>
                    <a:gd name="connsiteX164" fmla="*/ 511 w 141594"/>
                    <a:gd name="connsiteY164" fmla="*/ 24025 h 29648"/>
                    <a:gd name="connsiteX165" fmla="*/ 0 w 141594"/>
                    <a:gd name="connsiteY165" fmla="*/ 25559 h 29648"/>
                    <a:gd name="connsiteX166" fmla="*/ 0 w 141594"/>
                    <a:gd name="connsiteY166" fmla="*/ 26581 h 29648"/>
                    <a:gd name="connsiteX167" fmla="*/ 511 w 141594"/>
                    <a:gd name="connsiteY167" fmla="*/ 27092 h 29648"/>
                    <a:gd name="connsiteX168" fmla="*/ 8690 w 141594"/>
                    <a:gd name="connsiteY168" fmla="*/ 28626 h 296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</a:cxnLst>
                  <a:rect l="l" t="t" r="r" b="b"/>
                  <a:pathLst>
                    <a:path w="141594" h="29648">
                      <a:moveTo>
                        <a:pt x="141083" y="28626"/>
                      </a:moveTo>
                      <a:cubicBezTo>
                        <a:pt x="141594" y="28626"/>
                        <a:pt x="141594" y="28626"/>
                        <a:pt x="141594" y="28115"/>
                      </a:cubicBezTo>
                      <a:lnTo>
                        <a:pt x="141594" y="26581"/>
                      </a:lnTo>
                      <a:cubicBezTo>
                        <a:pt x="141594" y="26070"/>
                        <a:pt x="141594" y="25559"/>
                        <a:pt x="141083" y="25559"/>
                      </a:cubicBezTo>
                      <a:lnTo>
                        <a:pt x="139038" y="25559"/>
                      </a:lnTo>
                      <a:cubicBezTo>
                        <a:pt x="137505" y="25559"/>
                        <a:pt x="136994" y="25559"/>
                        <a:pt x="136483" y="24536"/>
                      </a:cubicBezTo>
                      <a:cubicBezTo>
                        <a:pt x="135971" y="24025"/>
                        <a:pt x="135971" y="23514"/>
                        <a:pt x="135971" y="21469"/>
                      </a:cubicBezTo>
                      <a:lnTo>
                        <a:pt x="135971" y="11246"/>
                      </a:lnTo>
                      <a:lnTo>
                        <a:pt x="140572" y="11246"/>
                      </a:lnTo>
                      <a:cubicBezTo>
                        <a:pt x="141083" y="11246"/>
                        <a:pt x="141083" y="10735"/>
                        <a:pt x="141083" y="10735"/>
                      </a:cubicBezTo>
                      <a:lnTo>
                        <a:pt x="141083" y="8690"/>
                      </a:lnTo>
                      <a:cubicBezTo>
                        <a:pt x="141083" y="8179"/>
                        <a:pt x="141083" y="8179"/>
                        <a:pt x="140572" y="8179"/>
                      </a:cubicBezTo>
                      <a:lnTo>
                        <a:pt x="135971" y="8179"/>
                      </a:lnTo>
                      <a:lnTo>
                        <a:pt x="135971" y="3578"/>
                      </a:lnTo>
                      <a:cubicBezTo>
                        <a:pt x="135971" y="3067"/>
                        <a:pt x="135971" y="2556"/>
                        <a:pt x="134949" y="2556"/>
                      </a:cubicBezTo>
                      <a:lnTo>
                        <a:pt x="133416" y="2556"/>
                      </a:lnTo>
                      <a:cubicBezTo>
                        <a:pt x="132905" y="2556"/>
                        <a:pt x="132393" y="2556"/>
                        <a:pt x="132393" y="3578"/>
                      </a:cubicBezTo>
                      <a:lnTo>
                        <a:pt x="132393" y="8179"/>
                      </a:lnTo>
                      <a:lnTo>
                        <a:pt x="129837" y="8690"/>
                      </a:lnTo>
                      <a:cubicBezTo>
                        <a:pt x="129326" y="8690"/>
                        <a:pt x="129326" y="8690"/>
                        <a:pt x="129326" y="9201"/>
                      </a:cubicBezTo>
                      <a:lnTo>
                        <a:pt x="129326" y="10735"/>
                      </a:lnTo>
                      <a:cubicBezTo>
                        <a:pt x="129326" y="11246"/>
                        <a:pt x="129326" y="11246"/>
                        <a:pt x="129837" y="11246"/>
                      </a:cubicBezTo>
                      <a:lnTo>
                        <a:pt x="132393" y="11246"/>
                      </a:lnTo>
                      <a:lnTo>
                        <a:pt x="132393" y="21980"/>
                      </a:lnTo>
                      <a:cubicBezTo>
                        <a:pt x="132393" y="24536"/>
                        <a:pt x="132905" y="26070"/>
                        <a:pt x="133416" y="27092"/>
                      </a:cubicBezTo>
                      <a:cubicBezTo>
                        <a:pt x="134438" y="28115"/>
                        <a:pt x="135971" y="28626"/>
                        <a:pt x="138527" y="28626"/>
                      </a:cubicBezTo>
                      <a:lnTo>
                        <a:pt x="141083" y="28626"/>
                      </a:lnTo>
                      <a:close/>
                      <a:moveTo>
                        <a:pt x="126259" y="511"/>
                      </a:moveTo>
                      <a:cubicBezTo>
                        <a:pt x="126259" y="0"/>
                        <a:pt x="126259" y="0"/>
                        <a:pt x="125237" y="0"/>
                      </a:cubicBezTo>
                      <a:lnTo>
                        <a:pt x="123192" y="0"/>
                      </a:lnTo>
                      <a:cubicBezTo>
                        <a:pt x="122681" y="0"/>
                        <a:pt x="122170" y="0"/>
                        <a:pt x="122170" y="511"/>
                      </a:cubicBezTo>
                      <a:lnTo>
                        <a:pt x="122170" y="8690"/>
                      </a:lnTo>
                      <a:lnTo>
                        <a:pt x="122170" y="8690"/>
                      </a:lnTo>
                      <a:cubicBezTo>
                        <a:pt x="121147" y="7668"/>
                        <a:pt x="119614" y="7156"/>
                        <a:pt x="117569" y="7156"/>
                      </a:cubicBezTo>
                      <a:cubicBezTo>
                        <a:pt x="111946" y="7156"/>
                        <a:pt x="108879" y="9712"/>
                        <a:pt x="108879" y="16869"/>
                      </a:cubicBezTo>
                      <a:lnTo>
                        <a:pt x="108879" y="18402"/>
                      </a:lnTo>
                      <a:cubicBezTo>
                        <a:pt x="108879" y="25559"/>
                        <a:pt x="110924" y="28626"/>
                        <a:pt x="117569" y="28626"/>
                      </a:cubicBezTo>
                      <a:cubicBezTo>
                        <a:pt x="123192" y="28626"/>
                        <a:pt x="125748" y="26070"/>
                        <a:pt x="125748" y="20958"/>
                      </a:cubicBezTo>
                      <a:lnTo>
                        <a:pt x="125748" y="511"/>
                      </a:lnTo>
                      <a:close/>
                      <a:moveTo>
                        <a:pt x="122170" y="20958"/>
                      </a:moveTo>
                      <a:cubicBezTo>
                        <a:pt x="122170" y="24536"/>
                        <a:pt x="121147" y="25559"/>
                        <a:pt x="117569" y="25559"/>
                      </a:cubicBezTo>
                      <a:cubicBezTo>
                        <a:pt x="113991" y="25559"/>
                        <a:pt x="112969" y="24025"/>
                        <a:pt x="112969" y="18402"/>
                      </a:cubicBezTo>
                      <a:lnTo>
                        <a:pt x="112969" y="17380"/>
                      </a:lnTo>
                      <a:cubicBezTo>
                        <a:pt x="112969" y="12268"/>
                        <a:pt x="113991" y="10735"/>
                        <a:pt x="117569" y="10735"/>
                      </a:cubicBezTo>
                      <a:cubicBezTo>
                        <a:pt x="120636" y="10735"/>
                        <a:pt x="122170" y="12268"/>
                        <a:pt x="122170" y="15846"/>
                      </a:cubicBezTo>
                      <a:lnTo>
                        <a:pt x="122170" y="20958"/>
                      </a:lnTo>
                      <a:close/>
                      <a:moveTo>
                        <a:pt x="93544" y="16869"/>
                      </a:moveTo>
                      <a:cubicBezTo>
                        <a:pt x="93544" y="12779"/>
                        <a:pt x="94055" y="10735"/>
                        <a:pt x="97634" y="10735"/>
                      </a:cubicBezTo>
                      <a:cubicBezTo>
                        <a:pt x="100701" y="10735"/>
                        <a:pt x="101723" y="12268"/>
                        <a:pt x="101723" y="16358"/>
                      </a:cubicBezTo>
                      <a:cubicBezTo>
                        <a:pt x="101723" y="16869"/>
                        <a:pt x="101723" y="16869"/>
                        <a:pt x="101212" y="16869"/>
                      </a:cubicBezTo>
                      <a:lnTo>
                        <a:pt x="93544" y="16869"/>
                      </a:lnTo>
                      <a:close/>
                      <a:moveTo>
                        <a:pt x="105301" y="15846"/>
                      </a:moveTo>
                      <a:cubicBezTo>
                        <a:pt x="105301" y="9712"/>
                        <a:pt x="102745" y="7668"/>
                        <a:pt x="97634" y="7668"/>
                      </a:cubicBezTo>
                      <a:cubicBezTo>
                        <a:pt x="91499" y="7668"/>
                        <a:pt x="89455" y="11246"/>
                        <a:pt x="89455" y="17891"/>
                      </a:cubicBezTo>
                      <a:lnTo>
                        <a:pt x="89455" y="19425"/>
                      </a:lnTo>
                      <a:cubicBezTo>
                        <a:pt x="89455" y="26581"/>
                        <a:pt x="91499" y="29648"/>
                        <a:pt x="98145" y="29648"/>
                      </a:cubicBezTo>
                      <a:cubicBezTo>
                        <a:pt x="100189" y="29648"/>
                        <a:pt x="102745" y="29137"/>
                        <a:pt x="104279" y="28626"/>
                      </a:cubicBezTo>
                      <a:cubicBezTo>
                        <a:pt x="104790" y="28626"/>
                        <a:pt x="104790" y="28115"/>
                        <a:pt x="104790" y="28115"/>
                      </a:cubicBezTo>
                      <a:cubicBezTo>
                        <a:pt x="104790" y="28115"/>
                        <a:pt x="104790" y="27603"/>
                        <a:pt x="104790" y="27092"/>
                      </a:cubicBezTo>
                      <a:lnTo>
                        <a:pt x="104279" y="26070"/>
                      </a:lnTo>
                      <a:cubicBezTo>
                        <a:pt x="104279" y="25559"/>
                        <a:pt x="103768" y="25559"/>
                        <a:pt x="103768" y="25559"/>
                      </a:cubicBezTo>
                      <a:cubicBezTo>
                        <a:pt x="103768" y="25559"/>
                        <a:pt x="103256" y="25559"/>
                        <a:pt x="103256" y="25559"/>
                      </a:cubicBezTo>
                      <a:cubicBezTo>
                        <a:pt x="102234" y="26070"/>
                        <a:pt x="100189" y="26581"/>
                        <a:pt x="98656" y="26581"/>
                      </a:cubicBezTo>
                      <a:cubicBezTo>
                        <a:pt x="94567" y="26581"/>
                        <a:pt x="93544" y="25047"/>
                        <a:pt x="93544" y="20958"/>
                      </a:cubicBezTo>
                      <a:lnTo>
                        <a:pt x="104279" y="20958"/>
                      </a:lnTo>
                      <a:cubicBezTo>
                        <a:pt x="105301" y="20958"/>
                        <a:pt x="105301" y="20447"/>
                        <a:pt x="105301" y="19936"/>
                      </a:cubicBezTo>
                      <a:lnTo>
                        <a:pt x="105301" y="15846"/>
                      </a:lnTo>
                      <a:close/>
                      <a:moveTo>
                        <a:pt x="80765" y="28626"/>
                      </a:moveTo>
                      <a:cubicBezTo>
                        <a:pt x="81787" y="28626"/>
                        <a:pt x="82298" y="28115"/>
                        <a:pt x="82298" y="27092"/>
                      </a:cubicBezTo>
                      <a:cubicBezTo>
                        <a:pt x="83832" y="22492"/>
                        <a:pt x="85365" y="15846"/>
                        <a:pt x="86388" y="9712"/>
                      </a:cubicBezTo>
                      <a:cubicBezTo>
                        <a:pt x="86388" y="9201"/>
                        <a:pt x="86388" y="8690"/>
                        <a:pt x="86388" y="8179"/>
                      </a:cubicBezTo>
                      <a:cubicBezTo>
                        <a:pt x="86388" y="7668"/>
                        <a:pt x="85877" y="7668"/>
                        <a:pt x="85365" y="7668"/>
                      </a:cubicBezTo>
                      <a:lnTo>
                        <a:pt x="83321" y="7668"/>
                      </a:lnTo>
                      <a:cubicBezTo>
                        <a:pt x="82810" y="7668"/>
                        <a:pt x="82298" y="7668"/>
                        <a:pt x="82298" y="8179"/>
                      </a:cubicBezTo>
                      <a:cubicBezTo>
                        <a:pt x="81276" y="13290"/>
                        <a:pt x="80254" y="19425"/>
                        <a:pt x="78720" y="24536"/>
                      </a:cubicBezTo>
                      <a:lnTo>
                        <a:pt x="78720" y="24536"/>
                      </a:lnTo>
                      <a:cubicBezTo>
                        <a:pt x="77698" y="19936"/>
                        <a:pt x="76164" y="14824"/>
                        <a:pt x="75142" y="9712"/>
                      </a:cubicBezTo>
                      <a:cubicBezTo>
                        <a:pt x="75142" y="8690"/>
                        <a:pt x="74631" y="8690"/>
                        <a:pt x="73608" y="8690"/>
                      </a:cubicBezTo>
                      <a:lnTo>
                        <a:pt x="72075" y="8690"/>
                      </a:lnTo>
                      <a:cubicBezTo>
                        <a:pt x="71053" y="8690"/>
                        <a:pt x="70542" y="9201"/>
                        <a:pt x="70542" y="9712"/>
                      </a:cubicBezTo>
                      <a:cubicBezTo>
                        <a:pt x="69519" y="14824"/>
                        <a:pt x="68497" y="19936"/>
                        <a:pt x="66963" y="24536"/>
                      </a:cubicBezTo>
                      <a:lnTo>
                        <a:pt x="66963" y="24536"/>
                      </a:lnTo>
                      <a:cubicBezTo>
                        <a:pt x="65941" y="19425"/>
                        <a:pt x="64407" y="13290"/>
                        <a:pt x="63385" y="8179"/>
                      </a:cubicBezTo>
                      <a:cubicBezTo>
                        <a:pt x="63385" y="7668"/>
                        <a:pt x="62874" y="7668"/>
                        <a:pt x="62363" y="7668"/>
                      </a:cubicBezTo>
                      <a:lnTo>
                        <a:pt x="60318" y="7668"/>
                      </a:lnTo>
                      <a:cubicBezTo>
                        <a:pt x="59807" y="7668"/>
                        <a:pt x="59296" y="7668"/>
                        <a:pt x="59296" y="8179"/>
                      </a:cubicBezTo>
                      <a:cubicBezTo>
                        <a:pt x="59296" y="8690"/>
                        <a:pt x="59296" y="9201"/>
                        <a:pt x="59296" y="9712"/>
                      </a:cubicBezTo>
                      <a:cubicBezTo>
                        <a:pt x="60318" y="15846"/>
                        <a:pt x="62363" y="22492"/>
                        <a:pt x="63385" y="27092"/>
                      </a:cubicBezTo>
                      <a:cubicBezTo>
                        <a:pt x="63896" y="28115"/>
                        <a:pt x="63896" y="28626"/>
                        <a:pt x="64919" y="28626"/>
                      </a:cubicBezTo>
                      <a:lnTo>
                        <a:pt x="66963" y="28626"/>
                      </a:lnTo>
                      <a:cubicBezTo>
                        <a:pt x="67986" y="28626"/>
                        <a:pt x="68497" y="28115"/>
                        <a:pt x="69008" y="27092"/>
                      </a:cubicBezTo>
                      <a:cubicBezTo>
                        <a:pt x="70542" y="21980"/>
                        <a:pt x="71564" y="17380"/>
                        <a:pt x="72586" y="12779"/>
                      </a:cubicBezTo>
                      <a:lnTo>
                        <a:pt x="73097" y="12779"/>
                      </a:lnTo>
                      <a:cubicBezTo>
                        <a:pt x="74120" y="17380"/>
                        <a:pt x="75142" y="21980"/>
                        <a:pt x="76676" y="27092"/>
                      </a:cubicBezTo>
                      <a:cubicBezTo>
                        <a:pt x="77187" y="28115"/>
                        <a:pt x="77698" y="28626"/>
                        <a:pt x="78720" y="28626"/>
                      </a:cubicBezTo>
                      <a:lnTo>
                        <a:pt x="80765" y="28626"/>
                      </a:lnTo>
                      <a:close/>
                      <a:moveTo>
                        <a:pt x="56740" y="15846"/>
                      </a:moveTo>
                      <a:cubicBezTo>
                        <a:pt x="56740" y="9712"/>
                        <a:pt x="54184" y="7668"/>
                        <a:pt x="49583" y="7668"/>
                      </a:cubicBezTo>
                      <a:cubicBezTo>
                        <a:pt x="47028" y="7668"/>
                        <a:pt x="44983" y="8179"/>
                        <a:pt x="43961" y="9201"/>
                      </a:cubicBezTo>
                      <a:lnTo>
                        <a:pt x="43961" y="511"/>
                      </a:lnTo>
                      <a:cubicBezTo>
                        <a:pt x="43961" y="0"/>
                        <a:pt x="43961" y="0"/>
                        <a:pt x="42938" y="0"/>
                      </a:cubicBezTo>
                      <a:lnTo>
                        <a:pt x="40894" y="0"/>
                      </a:lnTo>
                      <a:cubicBezTo>
                        <a:pt x="40382" y="0"/>
                        <a:pt x="39871" y="0"/>
                        <a:pt x="39871" y="511"/>
                      </a:cubicBezTo>
                      <a:lnTo>
                        <a:pt x="39871" y="27603"/>
                      </a:lnTo>
                      <a:cubicBezTo>
                        <a:pt x="39871" y="28115"/>
                        <a:pt x="39871" y="28115"/>
                        <a:pt x="40894" y="28115"/>
                      </a:cubicBezTo>
                      <a:lnTo>
                        <a:pt x="42938" y="28115"/>
                      </a:lnTo>
                      <a:cubicBezTo>
                        <a:pt x="43450" y="28115"/>
                        <a:pt x="43961" y="28115"/>
                        <a:pt x="43961" y="27603"/>
                      </a:cubicBezTo>
                      <a:lnTo>
                        <a:pt x="43961" y="15335"/>
                      </a:lnTo>
                      <a:cubicBezTo>
                        <a:pt x="43961" y="12268"/>
                        <a:pt x="45494" y="10735"/>
                        <a:pt x="48050" y="10735"/>
                      </a:cubicBezTo>
                      <a:cubicBezTo>
                        <a:pt x="51117" y="10735"/>
                        <a:pt x="52651" y="11757"/>
                        <a:pt x="52651" y="15846"/>
                      </a:cubicBezTo>
                      <a:lnTo>
                        <a:pt x="52651" y="28115"/>
                      </a:lnTo>
                      <a:cubicBezTo>
                        <a:pt x="52651" y="28626"/>
                        <a:pt x="52651" y="28626"/>
                        <a:pt x="53673" y="28626"/>
                      </a:cubicBezTo>
                      <a:lnTo>
                        <a:pt x="55717" y="28626"/>
                      </a:lnTo>
                      <a:cubicBezTo>
                        <a:pt x="56229" y="28626"/>
                        <a:pt x="56740" y="28626"/>
                        <a:pt x="56740" y="28115"/>
                      </a:cubicBezTo>
                      <a:lnTo>
                        <a:pt x="56740" y="15846"/>
                      </a:lnTo>
                      <a:close/>
                      <a:moveTo>
                        <a:pt x="35271" y="25047"/>
                      </a:moveTo>
                      <a:cubicBezTo>
                        <a:pt x="35271" y="24536"/>
                        <a:pt x="34760" y="24536"/>
                        <a:pt x="34760" y="24536"/>
                      </a:cubicBezTo>
                      <a:cubicBezTo>
                        <a:pt x="34760" y="24536"/>
                        <a:pt x="34248" y="24536"/>
                        <a:pt x="34248" y="24536"/>
                      </a:cubicBezTo>
                      <a:cubicBezTo>
                        <a:pt x="33226" y="25047"/>
                        <a:pt x="31692" y="25047"/>
                        <a:pt x="30159" y="25047"/>
                      </a:cubicBezTo>
                      <a:cubicBezTo>
                        <a:pt x="28625" y="25047"/>
                        <a:pt x="27092" y="24536"/>
                        <a:pt x="26070" y="23514"/>
                      </a:cubicBezTo>
                      <a:cubicBezTo>
                        <a:pt x="25047" y="22492"/>
                        <a:pt x="25047" y="20958"/>
                        <a:pt x="25047" y="17891"/>
                      </a:cubicBezTo>
                      <a:lnTo>
                        <a:pt x="25047" y="17380"/>
                      </a:lnTo>
                      <a:cubicBezTo>
                        <a:pt x="25047" y="14313"/>
                        <a:pt x="25047" y="12779"/>
                        <a:pt x="26581" y="11246"/>
                      </a:cubicBezTo>
                      <a:cubicBezTo>
                        <a:pt x="27603" y="10735"/>
                        <a:pt x="28625" y="10223"/>
                        <a:pt x="30159" y="10223"/>
                      </a:cubicBezTo>
                      <a:cubicBezTo>
                        <a:pt x="31692" y="10223"/>
                        <a:pt x="33226" y="10735"/>
                        <a:pt x="34760" y="11757"/>
                      </a:cubicBezTo>
                      <a:cubicBezTo>
                        <a:pt x="34760" y="11757"/>
                        <a:pt x="35271" y="11757"/>
                        <a:pt x="35271" y="11757"/>
                      </a:cubicBezTo>
                      <a:cubicBezTo>
                        <a:pt x="35271" y="11757"/>
                        <a:pt x="35782" y="11757"/>
                        <a:pt x="35782" y="11246"/>
                      </a:cubicBezTo>
                      <a:lnTo>
                        <a:pt x="36293" y="10223"/>
                      </a:lnTo>
                      <a:cubicBezTo>
                        <a:pt x="36804" y="9712"/>
                        <a:pt x="36804" y="9201"/>
                        <a:pt x="36804" y="9201"/>
                      </a:cubicBezTo>
                      <a:cubicBezTo>
                        <a:pt x="36804" y="9201"/>
                        <a:pt x="36804" y="8690"/>
                        <a:pt x="36293" y="8690"/>
                      </a:cubicBezTo>
                      <a:cubicBezTo>
                        <a:pt x="34760" y="7668"/>
                        <a:pt x="32204" y="7156"/>
                        <a:pt x="30159" y="7156"/>
                      </a:cubicBezTo>
                      <a:cubicBezTo>
                        <a:pt x="27603" y="7156"/>
                        <a:pt x="25559" y="7668"/>
                        <a:pt x="24025" y="9201"/>
                      </a:cubicBezTo>
                      <a:cubicBezTo>
                        <a:pt x="22491" y="10735"/>
                        <a:pt x="21980" y="12779"/>
                        <a:pt x="21980" y="16869"/>
                      </a:cubicBezTo>
                      <a:lnTo>
                        <a:pt x="21980" y="18402"/>
                      </a:lnTo>
                      <a:cubicBezTo>
                        <a:pt x="21980" y="21980"/>
                        <a:pt x="22491" y="25047"/>
                        <a:pt x="24536" y="26581"/>
                      </a:cubicBezTo>
                      <a:cubicBezTo>
                        <a:pt x="25559" y="27603"/>
                        <a:pt x="28114" y="28626"/>
                        <a:pt x="30670" y="28626"/>
                      </a:cubicBezTo>
                      <a:cubicBezTo>
                        <a:pt x="32715" y="28626"/>
                        <a:pt x="34760" y="28115"/>
                        <a:pt x="36293" y="27603"/>
                      </a:cubicBezTo>
                      <a:cubicBezTo>
                        <a:pt x="36804" y="27603"/>
                        <a:pt x="36804" y="27092"/>
                        <a:pt x="36804" y="27092"/>
                      </a:cubicBezTo>
                      <a:cubicBezTo>
                        <a:pt x="36804" y="27092"/>
                        <a:pt x="36804" y="26581"/>
                        <a:pt x="36804" y="26070"/>
                      </a:cubicBezTo>
                      <a:lnTo>
                        <a:pt x="35271" y="25047"/>
                      </a:lnTo>
                      <a:close/>
                      <a:moveTo>
                        <a:pt x="8690" y="28626"/>
                      </a:moveTo>
                      <a:cubicBezTo>
                        <a:pt x="15335" y="28626"/>
                        <a:pt x="17891" y="26581"/>
                        <a:pt x="17891" y="20447"/>
                      </a:cubicBezTo>
                      <a:lnTo>
                        <a:pt x="17891" y="19936"/>
                      </a:lnTo>
                      <a:cubicBezTo>
                        <a:pt x="17891" y="14824"/>
                        <a:pt x="15846" y="13802"/>
                        <a:pt x="11757" y="12779"/>
                      </a:cubicBezTo>
                      <a:lnTo>
                        <a:pt x="8690" y="12268"/>
                      </a:lnTo>
                      <a:cubicBezTo>
                        <a:pt x="6134" y="11757"/>
                        <a:pt x="4600" y="11246"/>
                        <a:pt x="4600" y="8179"/>
                      </a:cubicBezTo>
                      <a:lnTo>
                        <a:pt x="4600" y="7668"/>
                      </a:lnTo>
                      <a:cubicBezTo>
                        <a:pt x="4600" y="5112"/>
                        <a:pt x="6134" y="3578"/>
                        <a:pt x="9201" y="3578"/>
                      </a:cubicBezTo>
                      <a:cubicBezTo>
                        <a:pt x="11246" y="3578"/>
                        <a:pt x="12779" y="4089"/>
                        <a:pt x="14313" y="4601"/>
                      </a:cubicBezTo>
                      <a:cubicBezTo>
                        <a:pt x="14313" y="4601"/>
                        <a:pt x="14824" y="4601"/>
                        <a:pt x="14824" y="4601"/>
                      </a:cubicBezTo>
                      <a:cubicBezTo>
                        <a:pt x="15335" y="4601"/>
                        <a:pt x="15335" y="4601"/>
                        <a:pt x="15335" y="4089"/>
                      </a:cubicBezTo>
                      <a:lnTo>
                        <a:pt x="15335" y="3067"/>
                      </a:lnTo>
                      <a:cubicBezTo>
                        <a:pt x="15335" y="2556"/>
                        <a:pt x="15846" y="2045"/>
                        <a:pt x="15846" y="1533"/>
                      </a:cubicBezTo>
                      <a:cubicBezTo>
                        <a:pt x="15846" y="1022"/>
                        <a:pt x="15846" y="1022"/>
                        <a:pt x="15335" y="1022"/>
                      </a:cubicBezTo>
                      <a:cubicBezTo>
                        <a:pt x="13801" y="511"/>
                        <a:pt x="11757" y="0"/>
                        <a:pt x="8690" y="0"/>
                      </a:cubicBezTo>
                      <a:cubicBezTo>
                        <a:pt x="3067" y="0"/>
                        <a:pt x="0" y="2556"/>
                        <a:pt x="0" y="7156"/>
                      </a:cubicBezTo>
                      <a:lnTo>
                        <a:pt x="0" y="7668"/>
                      </a:lnTo>
                      <a:cubicBezTo>
                        <a:pt x="0" y="11757"/>
                        <a:pt x="2044" y="13802"/>
                        <a:pt x="6134" y="14824"/>
                      </a:cubicBezTo>
                      <a:lnTo>
                        <a:pt x="9201" y="15335"/>
                      </a:lnTo>
                      <a:cubicBezTo>
                        <a:pt x="12779" y="16358"/>
                        <a:pt x="13290" y="16869"/>
                        <a:pt x="13290" y="19425"/>
                      </a:cubicBezTo>
                      <a:lnTo>
                        <a:pt x="13290" y="19936"/>
                      </a:lnTo>
                      <a:cubicBezTo>
                        <a:pt x="13290" y="23003"/>
                        <a:pt x="12268" y="24536"/>
                        <a:pt x="8179" y="24536"/>
                      </a:cubicBezTo>
                      <a:cubicBezTo>
                        <a:pt x="5623" y="24536"/>
                        <a:pt x="3578" y="24025"/>
                        <a:pt x="1533" y="23514"/>
                      </a:cubicBezTo>
                      <a:cubicBezTo>
                        <a:pt x="1022" y="23514"/>
                        <a:pt x="1022" y="23514"/>
                        <a:pt x="1022" y="23514"/>
                      </a:cubicBezTo>
                      <a:cubicBezTo>
                        <a:pt x="1022" y="23514"/>
                        <a:pt x="511" y="23514"/>
                        <a:pt x="511" y="24025"/>
                      </a:cubicBezTo>
                      <a:lnTo>
                        <a:pt x="0" y="25559"/>
                      </a:lnTo>
                      <a:cubicBezTo>
                        <a:pt x="0" y="26070"/>
                        <a:pt x="0" y="26581"/>
                        <a:pt x="0" y="26581"/>
                      </a:cubicBezTo>
                      <a:cubicBezTo>
                        <a:pt x="0" y="27092"/>
                        <a:pt x="0" y="27092"/>
                        <a:pt x="511" y="27092"/>
                      </a:cubicBezTo>
                      <a:cubicBezTo>
                        <a:pt x="3067" y="28115"/>
                        <a:pt x="6134" y="28626"/>
                        <a:pt x="8690" y="28626"/>
                      </a:cubicBezTo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8" name="Freihandform: Form 127">
                  <a:extLst>
                    <a:ext uri="{FF2B5EF4-FFF2-40B4-BE49-F238E27FC236}">
                      <a16:creationId xmlns:a16="http://schemas.microsoft.com/office/drawing/2014/main" id="{93158B38-6A91-4DAA-9AB1-64C23FB549EA}"/>
                    </a:ext>
                  </a:extLst>
                </p:cNvPr>
                <p:cNvSpPr/>
                <p:nvPr/>
              </p:nvSpPr>
              <p:spPr>
                <a:xfrm>
                  <a:off x="6048053" y="1418665"/>
                  <a:ext cx="113480" cy="36293"/>
                </a:xfrm>
                <a:custGeom>
                  <a:avLst/>
                  <a:gdLst>
                    <a:gd name="connsiteX0" fmla="*/ 109902 w 113480"/>
                    <a:gd name="connsiteY0" fmla="*/ 1534 h 36293"/>
                    <a:gd name="connsiteX1" fmla="*/ 108880 w 113480"/>
                    <a:gd name="connsiteY1" fmla="*/ 1022 h 36293"/>
                    <a:gd name="connsiteX2" fmla="*/ 106835 w 113480"/>
                    <a:gd name="connsiteY2" fmla="*/ 1022 h 36293"/>
                    <a:gd name="connsiteX3" fmla="*/ 105812 w 113480"/>
                    <a:gd name="connsiteY3" fmla="*/ 1534 h 36293"/>
                    <a:gd name="connsiteX4" fmla="*/ 105812 w 113480"/>
                    <a:gd name="connsiteY4" fmla="*/ 24536 h 36293"/>
                    <a:gd name="connsiteX5" fmla="*/ 110924 w 113480"/>
                    <a:gd name="connsiteY5" fmla="*/ 29648 h 36293"/>
                    <a:gd name="connsiteX6" fmla="*/ 112969 w 113480"/>
                    <a:gd name="connsiteY6" fmla="*/ 29648 h 36293"/>
                    <a:gd name="connsiteX7" fmla="*/ 113480 w 113480"/>
                    <a:gd name="connsiteY7" fmla="*/ 29137 h 36293"/>
                    <a:gd name="connsiteX8" fmla="*/ 113480 w 113480"/>
                    <a:gd name="connsiteY8" fmla="*/ 27092 h 36293"/>
                    <a:gd name="connsiteX9" fmla="*/ 112969 w 113480"/>
                    <a:gd name="connsiteY9" fmla="*/ 26581 h 36293"/>
                    <a:gd name="connsiteX10" fmla="*/ 111947 w 113480"/>
                    <a:gd name="connsiteY10" fmla="*/ 26581 h 36293"/>
                    <a:gd name="connsiteX11" fmla="*/ 110413 w 113480"/>
                    <a:gd name="connsiteY11" fmla="*/ 24536 h 36293"/>
                    <a:gd name="connsiteX12" fmla="*/ 110413 w 113480"/>
                    <a:gd name="connsiteY12" fmla="*/ 1534 h 36293"/>
                    <a:gd name="connsiteX13" fmla="*/ 95589 w 113480"/>
                    <a:gd name="connsiteY13" fmla="*/ 3067 h 36293"/>
                    <a:gd name="connsiteX14" fmla="*/ 98145 w 113480"/>
                    <a:gd name="connsiteY14" fmla="*/ 5623 h 36293"/>
                    <a:gd name="connsiteX15" fmla="*/ 98145 w 113480"/>
                    <a:gd name="connsiteY15" fmla="*/ 5623 h 36293"/>
                    <a:gd name="connsiteX16" fmla="*/ 100701 w 113480"/>
                    <a:gd name="connsiteY16" fmla="*/ 3067 h 36293"/>
                    <a:gd name="connsiteX17" fmla="*/ 100701 w 113480"/>
                    <a:gd name="connsiteY17" fmla="*/ 2556 h 36293"/>
                    <a:gd name="connsiteX18" fmla="*/ 98145 w 113480"/>
                    <a:gd name="connsiteY18" fmla="*/ 0 h 36293"/>
                    <a:gd name="connsiteX19" fmla="*/ 98145 w 113480"/>
                    <a:gd name="connsiteY19" fmla="*/ 0 h 36293"/>
                    <a:gd name="connsiteX20" fmla="*/ 95589 w 113480"/>
                    <a:gd name="connsiteY20" fmla="*/ 3067 h 36293"/>
                    <a:gd name="connsiteX21" fmla="*/ 95589 w 113480"/>
                    <a:gd name="connsiteY21" fmla="*/ 3067 h 36293"/>
                    <a:gd name="connsiteX22" fmla="*/ 100190 w 113480"/>
                    <a:gd name="connsiteY22" fmla="*/ 9201 h 36293"/>
                    <a:gd name="connsiteX23" fmla="*/ 99167 w 113480"/>
                    <a:gd name="connsiteY23" fmla="*/ 8690 h 36293"/>
                    <a:gd name="connsiteX24" fmla="*/ 97123 w 113480"/>
                    <a:gd name="connsiteY24" fmla="*/ 8690 h 36293"/>
                    <a:gd name="connsiteX25" fmla="*/ 96100 w 113480"/>
                    <a:gd name="connsiteY25" fmla="*/ 9201 h 36293"/>
                    <a:gd name="connsiteX26" fmla="*/ 96100 w 113480"/>
                    <a:gd name="connsiteY26" fmla="*/ 28115 h 36293"/>
                    <a:gd name="connsiteX27" fmla="*/ 95589 w 113480"/>
                    <a:gd name="connsiteY27" fmla="*/ 32204 h 36293"/>
                    <a:gd name="connsiteX28" fmla="*/ 92522 w 113480"/>
                    <a:gd name="connsiteY28" fmla="*/ 33226 h 36293"/>
                    <a:gd name="connsiteX29" fmla="*/ 91500 w 113480"/>
                    <a:gd name="connsiteY29" fmla="*/ 33226 h 36293"/>
                    <a:gd name="connsiteX30" fmla="*/ 90989 w 113480"/>
                    <a:gd name="connsiteY30" fmla="*/ 33738 h 36293"/>
                    <a:gd name="connsiteX31" fmla="*/ 90989 w 113480"/>
                    <a:gd name="connsiteY31" fmla="*/ 35782 h 36293"/>
                    <a:gd name="connsiteX32" fmla="*/ 91500 w 113480"/>
                    <a:gd name="connsiteY32" fmla="*/ 36293 h 36293"/>
                    <a:gd name="connsiteX33" fmla="*/ 93033 w 113480"/>
                    <a:gd name="connsiteY33" fmla="*/ 36293 h 36293"/>
                    <a:gd name="connsiteX34" fmla="*/ 99167 w 113480"/>
                    <a:gd name="connsiteY34" fmla="*/ 33738 h 36293"/>
                    <a:gd name="connsiteX35" fmla="*/ 100701 w 113480"/>
                    <a:gd name="connsiteY35" fmla="*/ 28115 h 36293"/>
                    <a:gd name="connsiteX36" fmla="*/ 100701 w 113480"/>
                    <a:gd name="connsiteY36" fmla="*/ 9201 h 36293"/>
                    <a:gd name="connsiteX37" fmla="*/ 85877 w 113480"/>
                    <a:gd name="connsiteY37" fmla="*/ 3067 h 36293"/>
                    <a:gd name="connsiteX38" fmla="*/ 88433 w 113480"/>
                    <a:gd name="connsiteY38" fmla="*/ 5623 h 36293"/>
                    <a:gd name="connsiteX39" fmla="*/ 88433 w 113480"/>
                    <a:gd name="connsiteY39" fmla="*/ 5623 h 36293"/>
                    <a:gd name="connsiteX40" fmla="*/ 90989 w 113480"/>
                    <a:gd name="connsiteY40" fmla="*/ 3067 h 36293"/>
                    <a:gd name="connsiteX41" fmla="*/ 90989 w 113480"/>
                    <a:gd name="connsiteY41" fmla="*/ 2556 h 36293"/>
                    <a:gd name="connsiteX42" fmla="*/ 88433 w 113480"/>
                    <a:gd name="connsiteY42" fmla="*/ 0 h 36293"/>
                    <a:gd name="connsiteX43" fmla="*/ 88433 w 113480"/>
                    <a:gd name="connsiteY43" fmla="*/ 0 h 36293"/>
                    <a:gd name="connsiteX44" fmla="*/ 85877 w 113480"/>
                    <a:gd name="connsiteY44" fmla="*/ 3067 h 36293"/>
                    <a:gd name="connsiteX45" fmla="*/ 85877 w 113480"/>
                    <a:gd name="connsiteY45" fmla="*/ 3067 h 36293"/>
                    <a:gd name="connsiteX46" fmla="*/ 89966 w 113480"/>
                    <a:gd name="connsiteY46" fmla="*/ 9201 h 36293"/>
                    <a:gd name="connsiteX47" fmla="*/ 88944 w 113480"/>
                    <a:gd name="connsiteY47" fmla="*/ 8690 h 36293"/>
                    <a:gd name="connsiteX48" fmla="*/ 86899 w 113480"/>
                    <a:gd name="connsiteY48" fmla="*/ 8690 h 36293"/>
                    <a:gd name="connsiteX49" fmla="*/ 85877 w 113480"/>
                    <a:gd name="connsiteY49" fmla="*/ 9201 h 36293"/>
                    <a:gd name="connsiteX50" fmla="*/ 85877 w 113480"/>
                    <a:gd name="connsiteY50" fmla="*/ 28115 h 36293"/>
                    <a:gd name="connsiteX51" fmla="*/ 86899 w 113480"/>
                    <a:gd name="connsiteY51" fmla="*/ 28626 h 36293"/>
                    <a:gd name="connsiteX52" fmla="*/ 88944 w 113480"/>
                    <a:gd name="connsiteY52" fmla="*/ 28626 h 36293"/>
                    <a:gd name="connsiteX53" fmla="*/ 89966 w 113480"/>
                    <a:gd name="connsiteY53" fmla="*/ 28115 h 36293"/>
                    <a:gd name="connsiteX54" fmla="*/ 89966 w 113480"/>
                    <a:gd name="connsiteY54" fmla="*/ 9201 h 36293"/>
                    <a:gd name="connsiteX55" fmla="*/ 82299 w 113480"/>
                    <a:gd name="connsiteY55" fmla="*/ 26581 h 36293"/>
                    <a:gd name="connsiteX56" fmla="*/ 81787 w 113480"/>
                    <a:gd name="connsiteY56" fmla="*/ 26070 h 36293"/>
                    <a:gd name="connsiteX57" fmla="*/ 72586 w 113480"/>
                    <a:gd name="connsiteY57" fmla="*/ 26070 h 36293"/>
                    <a:gd name="connsiteX58" fmla="*/ 81276 w 113480"/>
                    <a:gd name="connsiteY58" fmla="*/ 12779 h 36293"/>
                    <a:gd name="connsiteX59" fmla="*/ 82299 w 113480"/>
                    <a:gd name="connsiteY59" fmla="*/ 10223 h 36293"/>
                    <a:gd name="connsiteX60" fmla="*/ 82299 w 113480"/>
                    <a:gd name="connsiteY60" fmla="*/ 9201 h 36293"/>
                    <a:gd name="connsiteX61" fmla="*/ 81787 w 113480"/>
                    <a:gd name="connsiteY61" fmla="*/ 8690 h 36293"/>
                    <a:gd name="connsiteX62" fmla="*/ 69008 w 113480"/>
                    <a:gd name="connsiteY62" fmla="*/ 8690 h 36293"/>
                    <a:gd name="connsiteX63" fmla="*/ 68497 w 113480"/>
                    <a:gd name="connsiteY63" fmla="*/ 9201 h 36293"/>
                    <a:gd name="connsiteX64" fmla="*/ 68497 w 113480"/>
                    <a:gd name="connsiteY64" fmla="*/ 11246 h 36293"/>
                    <a:gd name="connsiteX65" fmla="*/ 69008 w 113480"/>
                    <a:gd name="connsiteY65" fmla="*/ 11757 h 36293"/>
                    <a:gd name="connsiteX66" fmla="*/ 77698 w 113480"/>
                    <a:gd name="connsiteY66" fmla="*/ 11757 h 36293"/>
                    <a:gd name="connsiteX67" fmla="*/ 69008 w 113480"/>
                    <a:gd name="connsiteY67" fmla="*/ 25559 h 36293"/>
                    <a:gd name="connsiteX68" fmla="*/ 67986 w 113480"/>
                    <a:gd name="connsiteY68" fmla="*/ 27603 h 36293"/>
                    <a:gd name="connsiteX69" fmla="*/ 67986 w 113480"/>
                    <a:gd name="connsiteY69" fmla="*/ 28626 h 36293"/>
                    <a:gd name="connsiteX70" fmla="*/ 69008 w 113480"/>
                    <a:gd name="connsiteY70" fmla="*/ 29137 h 36293"/>
                    <a:gd name="connsiteX71" fmla="*/ 82299 w 113480"/>
                    <a:gd name="connsiteY71" fmla="*/ 29137 h 36293"/>
                    <a:gd name="connsiteX72" fmla="*/ 82810 w 113480"/>
                    <a:gd name="connsiteY72" fmla="*/ 28626 h 36293"/>
                    <a:gd name="connsiteX73" fmla="*/ 82810 w 113480"/>
                    <a:gd name="connsiteY73" fmla="*/ 26581 h 36293"/>
                    <a:gd name="connsiteX74" fmla="*/ 60318 w 113480"/>
                    <a:gd name="connsiteY74" fmla="*/ 11757 h 36293"/>
                    <a:gd name="connsiteX75" fmla="*/ 64408 w 113480"/>
                    <a:gd name="connsiteY75" fmla="*/ 11757 h 36293"/>
                    <a:gd name="connsiteX76" fmla="*/ 64919 w 113480"/>
                    <a:gd name="connsiteY76" fmla="*/ 11246 h 36293"/>
                    <a:gd name="connsiteX77" fmla="*/ 64919 w 113480"/>
                    <a:gd name="connsiteY77" fmla="*/ 9201 h 36293"/>
                    <a:gd name="connsiteX78" fmla="*/ 64408 w 113480"/>
                    <a:gd name="connsiteY78" fmla="*/ 8690 h 36293"/>
                    <a:gd name="connsiteX79" fmla="*/ 60318 w 113480"/>
                    <a:gd name="connsiteY79" fmla="*/ 8690 h 36293"/>
                    <a:gd name="connsiteX80" fmla="*/ 60318 w 113480"/>
                    <a:gd name="connsiteY80" fmla="*/ 7668 h 36293"/>
                    <a:gd name="connsiteX81" fmla="*/ 61341 w 113480"/>
                    <a:gd name="connsiteY81" fmla="*/ 4601 h 36293"/>
                    <a:gd name="connsiteX82" fmla="*/ 63896 w 113480"/>
                    <a:gd name="connsiteY82" fmla="*/ 4089 h 36293"/>
                    <a:gd name="connsiteX83" fmla="*/ 66452 w 113480"/>
                    <a:gd name="connsiteY83" fmla="*/ 4089 h 36293"/>
                    <a:gd name="connsiteX84" fmla="*/ 67475 w 113480"/>
                    <a:gd name="connsiteY84" fmla="*/ 3578 h 36293"/>
                    <a:gd name="connsiteX85" fmla="*/ 67475 w 113480"/>
                    <a:gd name="connsiteY85" fmla="*/ 3067 h 36293"/>
                    <a:gd name="connsiteX86" fmla="*/ 67475 w 113480"/>
                    <a:gd name="connsiteY86" fmla="*/ 1534 h 36293"/>
                    <a:gd name="connsiteX87" fmla="*/ 66963 w 113480"/>
                    <a:gd name="connsiteY87" fmla="*/ 1022 h 36293"/>
                    <a:gd name="connsiteX88" fmla="*/ 63385 w 113480"/>
                    <a:gd name="connsiteY88" fmla="*/ 511 h 36293"/>
                    <a:gd name="connsiteX89" fmla="*/ 58274 w 113480"/>
                    <a:gd name="connsiteY89" fmla="*/ 2556 h 36293"/>
                    <a:gd name="connsiteX90" fmla="*/ 56740 w 113480"/>
                    <a:gd name="connsiteY90" fmla="*/ 7668 h 36293"/>
                    <a:gd name="connsiteX91" fmla="*/ 56740 w 113480"/>
                    <a:gd name="connsiteY91" fmla="*/ 9201 h 36293"/>
                    <a:gd name="connsiteX92" fmla="*/ 54184 w 113480"/>
                    <a:gd name="connsiteY92" fmla="*/ 9712 h 36293"/>
                    <a:gd name="connsiteX93" fmla="*/ 53673 w 113480"/>
                    <a:gd name="connsiteY93" fmla="*/ 10223 h 36293"/>
                    <a:gd name="connsiteX94" fmla="*/ 53673 w 113480"/>
                    <a:gd name="connsiteY94" fmla="*/ 11757 h 36293"/>
                    <a:gd name="connsiteX95" fmla="*/ 54184 w 113480"/>
                    <a:gd name="connsiteY95" fmla="*/ 12268 h 36293"/>
                    <a:gd name="connsiteX96" fmla="*/ 56740 w 113480"/>
                    <a:gd name="connsiteY96" fmla="*/ 12268 h 36293"/>
                    <a:gd name="connsiteX97" fmla="*/ 56740 w 113480"/>
                    <a:gd name="connsiteY97" fmla="*/ 28626 h 36293"/>
                    <a:gd name="connsiteX98" fmla="*/ 57762 w 113480"/>
                    <a:gd name="connsiteY98" fmla="*/ 29137 h 36293"/>
                    <a:gd name="connsiteX99" fmla="*/ 59807 w 113480"/>
                    <a:gd name="connsiteY99" fmla="*/ 29137 h 36293"/>
                    <a:gd name="connsiteX100" fmla="*/ 60829 w 113480"/>
                    <a:gd name="connsiteY100" fmla="*/ 28626 h 36293"/>
                    <a:gd name="connsiteX101" fmla="*/ 60829 w 113480"/>
                    <a:gd name="connsiteY101" fmla="*/ 11757 h 36293"/>
                    <a:gd name="connsiteX102" fmla="*/ 48561 w 113480"/>
                    <a:gd name="connsiteY102" fmla="*/ 1534 h 36293"/>
                    <a:gd name="connsiteX103" fmla="*/ 47539 w 113480"/>
                    <a:gd name="connsiteY103" fmla="*/ 1022 h 36293"/>
                    <a:gd name="connsiteX104" fmla="*/ 45494 w 113480"/>
                    <a:gd name="connsiteY104" fmla="*/ 1022 h 36293"/>
                    <a:gd name="connsiteX105" fmla="*/ 44472 w 113480"/>
                    <a:gd name="connsiteY105" fmla="*/ 1534 h 36293"/>
                    <a:gd name="connsiteX106" fmla="*/ 44472 w 113480"/>
                    <a:gd name="connsiteY106" fmla="*/ 24536 h 36293"/>
                    <a:gd name="connsiteX107" fmla="*/ 49584 w 113480"/>
                    <a:gd name="connsiteY107" fmla="*/ 29648 h 36293"/>
                    <a:gd name="connsiteX108" fmla="*/ 51628 w 113480"/>
                    <a:gd name="connsiteY108" fmla="*/ 29648 h 36293"/>
                    <a:gd name="connsiteX109" fmla="*/ 52139 w 113480"/>
                    <a:gd name="connsiteY109" fmla="*/ 29137 h 36293"/>
                    <a:gd name="connsiteX110" fmla="*/ 52139 w 113480"/>
                    <a:gd name="connsiteY110" fmla="*/ 27092 h 36293"/>
                    <a:gd name="connsiteX111" fmla="*/ 51628 w 113480"/>
                    <a:gd name="connsiteY111" fmla="*/ 26581 h 36293"/>
                    <a:gd name="connsiteX112" fmla="*/ 50606 w 113480"/>
                    <a:gd name="connsiteY112" fmla="*/ 26581 h 36293"/>
                    <a:gd name="connsiteX113" fmla="*/ 49072 w 113480"/>
                    <a:gd name="connsiteY113" fmla="*/ 24536 h 36293"/>
                    <a:gd name="connsiteX114" fmla="*/ 49072 w 113480"/>
                    <a:gd name="connsiteY114" fmla="*/ 1534 h 36293"/>
                    <a:gd name="connsiteX115" fmla="*/ 28114 w 113480"/>
                    <a:gd name="connsiteY115" fmla="*/ 17380 h 36293"/>
                    <a:gd name="connsiteX116" fmla="*/ 32204 w 113480"/>
                    <a:gd name="connsiteY116" fmla="*/ 11246 h 36293"/>
                    <a:gd name="connsiteX117" fmla="*/ 36293 w 113480"/>
                    <a:gd name="connsiteY117" fmla="*/ 16869 h 36293"/>
                    <a:gd name="connsiteX118" fmla="*/ 35782 w 113480"/>
                    <a:gd name="connsiteY118" fmla="*/ 17380 h 36293"/>
                    <a:gd name="connsiteX119" fmla="*/ 28114 w 113480"/>
                    <a:gd name="connsiteY119" fmla="*/ 17380 h 36293"/>
                    <a:gd name="connsiteX120" fmla="*/ 39871 w 113480"/>
                    <a:gd name="connsiteY120" fmla="*/ 16358 h 36293"/>
                    <a:gd name="connsiteX121" fmla="*/ 32204 w 113480"/>
                    <a:gd name="connsiteY121" fmla="*/ 8179 h 36293"/>
                    <a:gd name="connsiteX122" fmla="*/ 24025 w 113480"/>
                    <a:gd name="connsiteY122" fmla="*/ 18402 h 36293"/>
                    <a:gd name="connsiteX123" fmla="*/ 24025 w 113480"/>
                    <a:gd name="connsiteY123" fmla="*/ 19936 h 36293"/>
                    <a:gd name="connsiteX124" fmla="*/ 32715 w 113480"/>
                    <a:gd name="connsiteY124" fmla="*/ 30159 h 36293"/>
                    <a:gd name="connsiteX125" fmla="*/ 38849 w 113480"/>
                    <a:gd name="connsiteY125" fmla="*/ 29137 h 36293"/>
                    <a:gd name="connsiteX126" fmla="*/ 39360 w 113480"/>
                    <a:gd name="connsiteY126" fmla="*/ 28626 h 36293"/>
                    <a:gd name="connsiteX127" fmla="*/ 39360 w 113480"/>
                    <a:gd name="connsiteY127" fmla="*/ 27603 h 36293"/>
                    <a:gd name="connsiteX128" fmla="*/ 38849 w 113480"/>
                    <a:gd name="connsiteY128" fmla="*/ 26581 h 36293"/>
                    <a:gd name="connsiteX129" fmla="*/ 38338 w 113480"/>
                    <a:gd name="connsiteY129" fmla="*/ 26070 h 36293"/>
                    <a:gd name="connsiteX130" fmla="*/ 37827 w 113480"/>
                    <a:gd name="connsiteY130" fmla="*/ 26070 h 36293"/>
                    <a:gd name="connsiteX131" fmla="*/ 33226 w 113480"/>
                    <a:gd name="connsiteY131" fmla="*/ 27092 h 36293"/>
                    <a:gd name="connsiteX132" fmla="*/ 28114 w 113480"/>
                    <a:gd name="connsiteY132" fmla="*/ 21469 h 36293"/>
                    <a:gd name="connsiteX133" fmla="*/ 38849 w 113480"/>
                    <a:gd name="connsiteY133" fmla="*/ 21469 h 36293"/>
                    <a:gd name="connsiteX134" fmla="*/ 39871 w 113480"/>
                    <a:gd name="connsiteY134" fmla="*/ 20447 h 36293"/>
                    <a:gd name="connsiteX135" fmla="*/ 39871 w 113480"/>
                    <a:gd name="connsiteY135" fmla="*/ 16358 h 36293"/>
                    <a:gd name="connsiteX136" fmla="*/ 7156 w 113480"/>
                    <a:gd name="connsiteY136" fmla="*/ 5112 h 36293"/>
                    <a:gd name="connsiteX137" fmla="*/ 15846 w 113480"/>
                    <a:gd name="connsiteY137" fmla="*/ 14824 h 36293"/>
                    <a:gd name="connsiteX138" fmla="*/ 15846 w 113480"/>
                    <a:gd name="connsiteY138" fmla="*/ 15846 h 36293"/>
                    <a:gd name="connsiteX139" fmla="*/ 7156 w 113480"/>
                    <a:gd name="connsiteY139" fmla="*/ 25559 h 36293"/>
                    <a:gd name="connsiteX140" fmla="*/ 4601 w 113480"/>
                    <a:gd name="connsiteY140" fmla="*/ 25559 h 36293"/>
                    <a:gd name="connsiteX141" fmla="*/ 4089 w 113480"/>
                    <a:gd name="connsiteY141" fmla="*/ 25048 h 36293"/>
                    <a:gd name="connsiteX142" fmla="*/ 4089 w 113480"/>
                    <a:gd name="connsiteY142" fmla="*/ 5623 h 36293"/>
                    <a:gd name="connsiteX143" fmla="*/ 4601 w 113480"/>
                    <a:gd name="connsiteY143" fmla="*/ 5112 h 36293"/>
                    <a:gd name="connsiteX144" fmla="*/ 7156 w 113480"/>
                    <a:gd name="connsiteY144" fmla="*/ 5112 h 36293"/>
                    <a:gd name="connsiteX145" fmla="*/ 6645 w 113480"/>
                    <a:gd name="connsiteY145" fmla="*/ 29137 h 36293"/>
                    <a:gd name="connsiteX146" fmla="*/ 19936 w 113480"/>
                    <a:gd name="connsiteY146" fmla="*/ 16358 h 36293"/>
                    <a:gd name="connsiteX147" fmla="*/ 19936 w 113480"/>
                    <a:gd name="connsiteY147" fmla="*/ 14313 h 36293"/>
                    <a:gd name="connsiteX148" fmla="*/ 6645 w 113480"/>
                    <a:gd name="connsiteY148" fmla="*/ 1534 h 36293"/>
                    <a:gd name="connsiteX149" fmla="*/ 1022 w 113480"/>
                    <a:gd name="connsiteY149" fmla="*/ 2045 h 36293"/>
                    <a:gd name="connsiteX150" fmla="*/ 0 w 113480"/>
                    <a:gd name="connsiteY150" fmla="*/ 3578 h 36293"/>
                    <a:gd name="connsiteX151" fmla="*/ 0 w 113480"/>
                    <a:gd name="connsiteY151" fmla="*/ 28115 h 36293"/>
                    <a:gd name="connsiteX152" fmla="*/ 1022 w 113480"/>
                    <a:gd name="connsiteY152" fmla="*/ 29137 h 36293"/>
                    <a:gd name="connsiteX153" fmla="*/ 6645 w 113480"/>
                    <a:gd name="connsiteY153" fmla="*/ 29137 h 36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</a:cxnLst>
                  <a:rect l="l" t="t" r="r" b="b"/>
                  <a:pathLst>
                    <a:path w="113480" h="36293">
                      <a:moveTo>
                        <a:pt x="109902" y="1534"/>
                      </a:moveTo>
                      <a:cubicBezTo>
                        <a:pt x="109902" y="1022"/>
                        <a:pt x="109902" y="1022"/>
                        <a:pt x="108880" y="1022"/>
                      </a:cubicBezTo>
                      <a:lnTo>
                        <a:pt x="106835" y="1022"/>
                      </a:lnTo>
                      <a:cubicBezTo>
                        <a:pt x="106324" y="1022"/>
                        <a:pt x="105812" y="1022"/>
                        <a:pt x="105812" y="1534"/>
                      </a:cubicBezTo>
                      <a:lnTo>
                        <a:pt x="105812" y="24536"/>
                      </a:lnTo>
                      <a:cubicBezTo>
                        <a:pt x="105812" y="28115"/>
                        <a:pt x="107346" y="29648"/>
                        <a:pt x="110924" y="29648"/>
                      </a:cubicBezTo>
                      <a:lnTo>
                        <a:pt x="112969" y="29648"/>
                      </a:lnTo>
                      <a:cubicBezTo>
                        <a:pt x="113480" y="29648"/>
                        <a:pt x="113480" y="29648"/>
                        <a:pt x="113480" y="29137"/>
                      </a:cubicBezTo>
                      <a:lnTo>
                        <a:pt x="113480" y="27092"/>
                      </a:lnTo>
                      <a:cubicBezTo>
                        <a:pt x="113480" y="26581"/>
                        <a:pt x="113480" y="26581"/>
                        <a:pt x="112969" y="26581"/>
                      </a:cubicBezTo>
                      <a:lnTo>
                        <a:pt x="111947" y="26581"/>
                      </a:lnTo>
                      <a:cubicBezTo>
                        <a:pt x="110413" y="26581"/>
                        <a:pt x="110413" y="26070"/>
                        <a:pt x="110413" y="24536"/>
                      </a:cubicBezTo>
                      <a:lnTo>
                        <a:pt x="110413" y="1534"/>
                      </a:lnTo>
                      <a:close/>
                      <a:moveTo>
                        <a:pt x="95589" y="3067"/>
                      </a:moveTo>
                      <a:cubicBezTo>
                        <a:pt x="95589" y="4601"/>
                        <a:pt x="96611" y="5623"/>
                        <a:pt x="98145" y="5623"/>
                      </a:cubicBezTo>
                      <a:lnTo>
                        <a:pt x="98145" y="5623"/>
                      </a:lnTo>
                      <a:cubicBezTo>
                        <a:pt x="99678" y="5623"/>
                        <a:pt x="100701" y="5112"/>
                        <a:pt x="100701" y="3067"/>
                      </a:cubicBezTo>
                      <a:lnTo>
                        <a:pt x="100701" y="2556"/>
                      </a:lnTo>
                      <a:cubicBezTo>
                        <a:pt x="100701" y="1022"/>
                        <a:pt x="99678" y="0"/>
                        <a:pt x="98145" y="0"/>
                      </a:cubicBezTo>
                      <a:lnTo>
                        <a:pt x="98145" y="0"/>
                      </a:lnTo>
                      <a:cubicBezTo>
                        <a:pt x="96611" y="511"/>
                        <a:pt x="95589" y="1534"/>
                        <a:pt x="95589" y="3067"/>
                      </a:cubicBezTo>
                      <a:lnTo>
                        <a:pt x="95589" y="3067"/>
                      </a:lnTo>
                      <a:close/>
                      <a:moveTo>
                        <a:pt x="100190" y="9201"/>
                      </a:moveTo>
                      <a:cubicBezTo>
                        <a:pt x="100190" y="8690"/>
                        <a:pt x="100190" y="8690"/>
                        <a:pt x="99167" y="8690"/>
                      </a:cubicBezTo>
                      <a:lnTo>
                        <a:pt x="97123" y="8690"/>
                      </a:lnTo>
                      <a:cubicBezTo>
                        <a:pt x="96611" y="8690"/>
                        <a:pt x="96100" y="8690"/>
                        <a:pt x="96100" y="9201"/>
                      </a:cubicBezTo>
                      <a:lnTo>
                        <a:pt x="96100" y="28115"/>
                      </a:lnTo>
                      <a:cubicBezTo>
                        <a:pt x="96100" y="30159"/>
                        <a:pt x="96100" y="31182"/>
                        <a:pt x="95589" y="32204"/>
                      </a:cubicBezTo>
                      <a:cubicBezTo>
                        <a:pt x="95078" y="33226"/>
                        <a:pt x="94056" y="33226"/>
                        <a:pt x="92522" y="33226"/>
                      </a:cubicBezTo>
                      <a:lnTo>
                        <a:pt x="91500" y="33226"/>
                      </a:lnTo>
                      <a:cubicBezTo>
                        <a:pt x="90989" y="33226"/>
                        <a:pt x="90989" y="33738"/>
                        <a:pt x="90989" y="33738"/>
                      </a:cubicBezTo>
                      <a:lnTo>
                        <a:pt x="90989" y="35782"/>
                      </a:lnTo>
                      <a:cubicBezTo>
                        <a:pt x="90989" y="36293"/>
                        <a:pt x="90989" y="36293"/>
                        <a:pt x="91500" y="36293"/>
                      </a:cubicBezTo>
                      <a:lnTo>
                        <a:pt x="93033" y="36293"/>
                      </a:lnTo>
                      <a:cubicBezTo>
                        <a:pt x="96100" y="36293"/>
                        <a:pt x="98145" y="35782"/>
                        <a:pt x="99167" y="33738"/>
                      </a:cubicBezTo>
                      <a:cubicBezTo>
                        <a:pt x="100190" y="32204"/>
                        <a:pt x="100701" y="30159"/>
                        <a:pt x="100701" y="28115"/>
                      </a:cubicBezTo>
                      <a:lnTo>
                        <a:pt x="100701" y="9201"/>
                      </a:lnTo>
                      <a:close/>
                      <a:moveTo>
                        <a:pt x="85877" y="3067"/>
                      </a:moveTo>
                      <a:cubicBezTo>
                        <a:pt x="85877" y="4601"/>
                        <a:pt x="86899" y="5623"/>
                        <a:pt x="88433" y="5623"/>
                      </a:cubicBezTo>
                      <a:lnTo>
                        <a:pt x="88433" y="5623"/>
                      </a:lnTo>
                      <a:cubicBezTo>
                        <a:pt x="89966" y="5623"/>
                        <a:pt x="90989" y="5112"/>
                        <a:pt x="90989" y="3067"/>
                      </a:cubicBezTo>
                      <a:lnTo>
                        <a:pt x="90989" y="2556"/>
                      </a:lnTo>
                      <a:cubicBezTo>
                        <a:pt x="90989" y="1022"/>
                        <a:pt x="89966" y="0"/>
                        <a:pt x="88433" y="0"/>
                      </a:cubicBezTo>
                      <a:lnTo>
                        <a:pt x="88433" y="0"/>
                      </a:lnTo>
                      <a:cubicBezTo>
                        <a:pt x="86899" y="511"/>
                        <a:pt x="85877" y="1534"/>
                        <a:pt x="85877" y="3067"/>
                      </a:cubicBezTo>
                      <a:lnTo>
                        <a:pt x="85877" y="3067"/>
                      </a:lnTo>
                      <a:close/>
                      <a:moveTo>
                        <a:pt x="89966" y="9201"/>
                      </a:moveTo>
                      <a:cubicBezTo>
                        <a:pt x="89966" y="8690"/>
                        <a:pt x="89966" y="8690"/>
                        <a:pt x="88944" y="8690"/>
                      </a:cubicBezTo>
                      <a:lnTo>
                        <a:pt x="86899" y="8690"/>
                      </a:lnTo>
                      <a:cubicBezTo>
                        <a:pt x="86388" y="8690"/>
                        <a:pt x="85877" y="8690"/>
                        <a:pt x="85877" y="9201"/>
                      </a:cubicBezTo>
                      <a:lnTo>
                        <a:pt x="85877" y="28115"/>
                      </a:lnTo>
                      <a:cubicBezTo>
                        <a:pt x="85877" y="28626"/>
                        <a:pt x="86388" y="28626"/>
                        <a:pt x="86899" y="28626"/>
                      </a:cubicBezTo>
                      <a:lnTo>
                        <a:pt x="88944" y="28626"/>
                      </a:lnTo>
                      <a:cubicBezTo>
                        <a:pt x="89455" y="28626"/>
                        <a:pt x="89966" y="28626"/>
                        <a:pt x="89966" y="28115"/>
                      </a:cubicBezTo>
                      <a:lnTo>
                        <a:pt x="89966" y="9201"/>
                      </a:lnTo>
                      <a:close/>
                      <a:moveTo>
                        <a:pt x="82299" y="26581"/>
                      </a:moveTo>
                      <a:cubicBezTo>
                        <a:pt x="82299" y="26070"/>
                        <a:pt x="82299" y="26070"/>
                        <a:pt x="81787" y="26070"/>
                      </a:cubicBezTo>
                      <a:lnTo>
                        <a:pt x="72586" y="26070"/>
                      </a:lnTo>
                      <a:lnTo>
                        <a:pt x="81276" y="12779"/>
                      </a:lnTo>
                      <a:cubicBezTo>
                        <a:pt x="82299" y="11246"/>
                        <a:pt x="82299" y="11246"/>
                        <a:pt x="82299" y="10223"/>
                      </a:cubicBezTo>
                      <a:lnTo>
                        <a:pt x="82299" y="9201"/>
                      </a:lnTo>
                      <a:cubicBezTo>
                        <a:pt x="82299" y="8690"/>
                        <a:pt x="82299" y="8690"/>
                        <a:pt x="81787" y="8690"/>
                      </a:cubicBezTo>
                      <a:lnTo>
                        <a:pt x="69008" y="8690"/>
                      </a:lnTo>
                      <a:cubicBezTo>
                        <a:pt x="68497" y="8690"/>
                        <a:pt x="68497" y="8690"/>
                        <a:pt x="68497" y="9201"/>
                      </a:cubicBezTo>
                      <a:lnTo>
                        <a:pt x="68497" y="11246"/>
                      </a:lnTo>
                      <a:cubicBezTo>
                        <a:pt x="68497" y="11757"/>
                        <a:pt x="68497" y="11757"/>
                        <a:pt x="69008" y="11757"/>
                      </a:cubicBezTo>
                      <a:lnTo>
                        <a:pt x="77698" y="11757"/>
                      </a:lnTo>
                      <a:lnTo>
                        <a:pt x="69008" y="25559"/>
                      </a:lnTo>
                      <a:cubicBezTo>
                        <a:pt x="68497" y="26581"/>
                        <a:pt x="67986" y="27092"/>
                        <a:pt x="67986" y="27603"/>
                      </a:cubicBezTo>
                      <a:lnTo>
                        <a:pt x="67986" y="28626"/>
                      </a:lnTo>
                      <a:cubicBezTo>
                        <a:pt x="67986" y="29137"/>
                        <a:pt x="68497" y="29137"/>
                        <a:pt x="69008" y="29137"/>
                      </a:cubicBezTo>
                      <a:lnTo>
                        <a:pt x="82299" y="29137"/>
                      </a:lnTo>
                      <a:cubicBezTo>
                        <a:pt x="82810" y="29137"/>
                        <a:pt x="82810" y="29137"/>
                        <a:pt x="82810" y="28626"/>
                      </a:cubicBezTo>
                      <a:lnTo>
                        <a:pt x="82810" y="26581"/>
                      </a:lnTo>
                      <a:close/>
                      <a:moveTo>
                        <a:pt x="60318" y="11757"/>
                      </a:moveTo>
                      <a:lnTo>
                        <a:pt x="64408" y="11757"/>
                      </a:lnTo>
                      <a:cubicBezTo>
                        <a:pt x="64919" y="11757"/>
                        <a:pt x="64919" y="11757"/>
                        <a:pt x="64919" y="11246"/>
                      </a:cubicBezTo>
                      <a:lnTo>
                        <a:pt x="64919" y="9201"/>
                      </a:lnTo>
                      <a:cubicBezTo>
                        <a:pt x="64919" y="8690"/>
                        <a:pt x="64919" y="8690"/>
                        <a:pt x="64408" y="8690"/>
                      </a:cubicBezTo>
                      <a:lnTo>
                        <a:pt x="60318" y="8690"/>
                      </a:lnTo>
                      <a:lnTo>
                        <a:pt x="60318" y="7668"/>
                      </a:lnTo>
                      <a:cubicBezTo>
                        <a:pt x="60318" y="6134"/>
                        <a:pt x="60829" y="5112"/>
                        <a:pt x="61341" y="4601"/>
                      </a:cubicBezTo>
                      <a:cubicBezTo>
                        <a:pt x="61852" y="4089"/>
                        <a:pt x="62874" y="4089"/>
                        <a:pt x="63896" y="4089"/>
                      </a:cubicBezTo>
                      <a:cubicBezTo>
                        <a:pt x="64919" y="4089"/>
                        <a:pt x="65430" y="4089"/>
                        <a:pt x="66452" y="4089"/>
                      </a:cubicBezTo>
                      <a:cubicBezTo>
                        <a:pt x="66963" y="4089"/>
                        <a:pt x="67475" y="4089"/>
                        <a:pt x="67475" y="3578"/>
                      </a:cubicBezTo>
                      <a:lnTo>
                        <a:pt x="67475" y="3067"/>
                      </a:lnTo>
                      <a:cubicBezTo>
                        <a:pt x="67475" y="2556"/>
                        <a:pt x="67475" y="1534"/>
                        <a:pt x="67475" y="1534"/>
                      </a:cubicBezTo>
                      <a:cubicBezTo>
                        <a:pt x="67475" y="1534"/>
                        <a:pt x="67475" y="1022"/>
                        <a:pt x="66963" y="1022"/>
                      </a:cubicBezTo>
                      <a:cubicBezTo>
                        <a:pt x="66452" y="1022"/>
                        <a:pt x="64919" y="511"/>
                        <a:pt x="63385" y="511"/>
                      </a:cubicBezTo>
                      <a:cubicBezTo>
                        <a:pt x="60829" y="511"/>
                        <a:pt x="59296" y="1022"/>
                        <a:pt x="58274" y="2556"/>
                      </a:cubicBezTo>
                      <a:cubicBezTo>
                        <a:pt x="57251" y="3578"/>
                        <a:pt x="56740" y="5112"/>
                        <a:pt x="56740" y="7668"/>
                      </a:cubicBezTo>
                      <a:lnTo>
                        <a:pt x="56740" y="9201"/>
                      </a:lnTo>
                      <a:lnTo>
                        <a:pt x="54184" y="9712"/>
                      </a:lnTo>
                      <a:cubicBezTo>
                        <a:pt x="53673" y="9712"/>
                        <a:pt x="53673" y="10223"/>
                        <a:pt x="53673" y="10223"/>
                      </a:cubicBezTo>
                      <a:lnTo>
                        <a:pt x="53673" y="11757"/>
                      </a:lnTo>
                      <a:cubicBezTo>
                        <a:pt x="53673" y="12268"/>
                        <a:pt x="53673" y="12268"/>
                        <a:pt x="54184" y="12268"/>
                      </a:cubicBezTo>
                      <a:lnTo>
                        <a:pt x="56740" y="12268"/>
                      </a:lnTo>
                      <a:lnTo>
                        <a:pt x="56740" y="28626"/>
                      </a:lnTo>
                      <a:cubicBezTo>
                        <a:pt x="56740" y="29137"/>
                        <a:pt x="56740" y="29137"/>
                        <a:pt x="57762" y="29137"/>
                      </a:cubicBezTo>
                      <a:lnTo>
                        <a:pt x="59807" y="29137"/>
                      </a:lnTo>
                      <a:cubicBezTo>
                        <a:pt x="60318" y="29137"/>
                        <a:pt x="60829" y="29137"/>
                        <a:pt x="60829" y="28626"/>
                      </a:cubicBezTo>
                      <a:lnTo>
                        <a:pt x="60829" y="11757"/>
                      </a:lnTo>
                      <a:close/>
                      <a:moveTo>
                        <a:pt x="48561" y="1534"/>
                      </a:moveTo>
                      <a:cubicBezTo>
                        <a:pt x="48561" y="1022"/>
                        <a:pt x="48561" y="1022"/>
                        <a:pt x="47539" y="1022"/>
                      </a:cubicBezTo>
                      <a:lnTo>
                        <a:pt x="45494" y="1022"/>
                      </a:lnTo>
                      <a:cubicBezTo>
                        <a:pt x="44983" y="1022"/>
                        <a:pt x="44472" y="1022"/>
                        <a:pt x="44472" y="1534"/>
                      </a:cubicBezTo>
                      <a:lnTo>
                        <a:pt x="44472" y="24536"/>
                      </a:lnTo>
                      <a:cubicBezTo>
                        <a:pt x="44472" y="28115"/>
                        <a:pt x="46005" y="29648"/>
                        <a:pt x="49584" y="29648"/>
                      </a:cubicBezTo>
                      <a:lnTo>
                        <a:pt x="51628" y="29648"/>
                      </a:lnTo>
                      <a:cubicBezTo>
                        <a:pt x="52139" y="29648"/>
                        <a:pt x="52139" y="29648"/>
                        <a:pt x="52139" y="29137"/>
                      </a:cubicBezTo>
                      <a:lnTo>
                        <a:pt x="52139" y="27092"/>
                      </a:lnTo>
                      <a:cubicBezTo>
                        <a:pt x="52139" y="26581"/>
                        <a:pt x="52139" y="26581"/>
                        <a:pt x="51628" y="26581"/>
                      </a:cubicBezTo>
                      <a:lnTo>
                        <a:pt x="50606" y="26581"/>
                      </a:lnTo>
                      <a:cubicBezTo>
                        <a:pt x="49072" y="26581"/>
                        <a:pt x="49072" y="26070"/>
                        <a:pt x="49072" y="24536"/>
                      </a:cubicBezTo>
                      <a:lnTo>
                        <a:pt x="49072" y="1534"/>
                      </a:lnTo>
                      <a:close/>
                      <a:moveTo>
                        <a:pt x="28114" y="17380"/>
                      </a:moveTo>
                      <a:cubicBezTo>
                        <a:pt x="28114" y="13291"/>
                        <a:pt x="28626" y="11246"/>
                        <a:pt x="32204" y="11246"/>
                      </a:cubicBezTo>
                      <a:cubicBezTo>
                        <a:pt x="35271" y="11246"/>
                        <a:pt x="36293" y="12779"/>
                        <a:pt x="36293" y="16869"/>
                      </a:cubicBezTo>
                      <a:cubicBezTo>
                        <a:pt x="36293" y="17380"/>
                        <a:pt x="36293" y="17380"/>
                        <a:pt x="35782" y="17380"/>
                      </a:cubicBezTo>
                      <a:lnTo>
                        <a:pt x="28114" y="17380"/>
                      </a:lnTo>
                      <a:close/>
                      <a:moveTo>
                        <a:pt x="39871" y="16358"/>
                      </a:moveTo>
                      <a:cubicBezTo>
                        <a:pt x="39871" y="10223"/>
                        <a:pt x="37316" y="8179"/>
                        <a:pt x="32204" y="8179"/>
                      </a:cubicBezTo>
                      <a:cubicBezTo>
                        <a:pt x="26070" y="8179"/>
                        <a:pt x="24025" y="11757"/>
                        <a:pt x="24025" y="18402"/>
                      </a:cubicBezTo>
                      <a:lnTo>
                        <a:pt x="24025" y="19936"/>
                      </a:lnTo>
                      <a:cubicBezTo>
                        <a:pt x="24025" y="27092"/>
                        <a:pt x="26070" y="30159"/>
                        <a:pt x="32715" y="30159"/>
                      </a:cubicBezTo>
                      <a:cubicBezTo>
                        <a:pt x="34760" y="30159"/>
                        <a:pt x="37316" y="29648"/>
                        <a:pt x="38849" y="29137"/>
                      </a:cubicBezTo>
                      <a:cubicBezTo>
                        <a:pt x="39360" y="29137"/>
                        <a:pt x="39360" y="28626"/>
                        <a:pt x="39360" y="28626"/>
                      </a:cubicBezTo>
                      <a:cubicBezTo>
                        <a:pt x="39360" y="28626"/>
                        <a:pt x="39360" y="28115"/>
                        <a:pt x="39360" y="27603"/>
                      </a:cubicBezTo>
                      <a:lnTo>
                        <a:pt x="38849" y="26581"/>
                      </a:lnTo>
                      <a:cubicBezTo>
                        <a:pt x="38849" y="26070"/>
                        <a:pt x="38338" y="26070"/>
                        <a:pt x="38338" y="26070"/>
                      </a:cubicBezTo>
                      <a:cubicBezTo>
                        <a:pt x="38338" y="26070"/>
                        <a:pt x="37827" y="26070"/>
                        <a:pt x="37827" y="26070"/>
                      </a:cubicBezTo>
                      <a:cubicBezTo>
                        <a:pt x="36804" y="26581"/>
                        <a:pt x="34760" y="27092"/>
                        <a:pt x="33226" y="27092"/>
                      </a:cubicBezTo>
                      <a:cubicBezTo>
                        <a:pt x="29137" y="27092"/>
                        <a:pt x="28114" y="25559"/>
                        <a:pt x="28114" y="21469"/>
                      </a:cubicBezTo>
                      <a:lnTo>
                        <a:pt x="38849" y="21469"/>
                      </a:lnTo>
                      <a:cubicBezTo>
                        <a:pt x="39871" y="21469"/>
                        <a:pt x="39871" y="20958"/>
                        <a:pt x="39871" y="20447"/>
                      </a:cubicBezTo>
                      <a:lnTo>
                        <a:pt x="39871" y="16358"/>
                      </a:lnTo>
                      <a:close/>
                      <a:moveTo>
                        <a:pt x="7156" y="5112"/>
                      </a:moveTo>
                      <a:cubicBezTo>
                        <a:pt x="13802" y="5112"/>
                        <a:pt x="15846" y="7156"/>
                        <a:pt x="15846" y="14824"/>
                      </a:cubicBezTo>
                      <a:lnTo>
                        <a:pt x="15846" y="15846"/>
                      </a:lnTo>
                      <a:cubicBezTo>
                        <a:pt x="15846" y="23514"/>
                        <a:pt x="13290" y="25559"/>
                        <a:pt x="7156" y="25559"/>
                      </a:cubicBezTo>
                      <a:lnTo>
                        <a:pt x="4601" y="25559"/>
                      </a:lnTo>
                      <a:cubicBezTo>
                        <a:pt x="4089" y="25559"/>
                        <a:pt x="4089" y="25559"/>
                        <a:pt x="4089" y="25048"/>
                      </a:cubicBezTo>
                      <a:lnTo>
                        <a:pt x="4089" y="5623"/>
                      </a:lnTo>
                      <a:cubicBezTo>
                        <a:pt x="4089" y="5112"/>
                        <a:pt x="4089" y="5112"/>
                        <a:pt x="4601" y="5112"/>
                      </a:cubicBezTo>
                      <a:cubicBezTo>
                        <a:pt x="5112" y="5112"/>
                        <a:pt x="6134" y="5112"/>
                        <a:pt x="7156" y="5112"/>
                      </a:cubicBezTo>
                      <a:moveTo>
                        <a:pt x="6645" y="29137"/>
                      </a:moveTo>
                      <a:cubicBezTo>
                        <a:pt x="16869" y="29137"/>
                        <a:pt x="19936" y="25559"/>
                        <a:pt x="19936" y="16358"/>
                      </a:cubicBezTo>
                      <a:lnTo>
                        <a:pt x="19936" y="14313"/>
                      </a:lnTo>
                      <a:cubicBezTo>
                        <a:pt x="19936" y="4601"/>
                        <a:pt x="15846" y="1534"/>
                        <a:pt x="6645" y="1534"/>
                      </a:cubicBezTo>
                      <a:cubicBezTo>
                        <a:pt x="4601" y="1534"/>
                        <a:pt x="3067" y="1534"/>
                        <a:pt x="1022" y="2045"/>
                      </a:cubicBezTo>
                      <a:cubicBezTo>
                        <a:pt x="0" y="2045"/>
                        <a:pt x="0" y="2556"/>
                        <a:pt x="0" y="3578"/>
                      </a:cubicBezTo>
                      <a:lnTo>
                        <a:pt x="0" y="28115"/>
                      </a:lnTo>
                      <a:cubicBezTo>
                        <a:pt x="0" y="29137"/>
                        <a:pt x="511" y="29137"/>
                        <a:pt x="1022" y="29137"/>
                      </a:cubicBezTo>
                      <a:cubicBezTo>
                        <a:pt x="2556" y="29137"/>
                        <a:pt x="4601" y="29137"/>
                        <a:pt x="6645" y="29137"/>
                      </a:cubicBezTo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29" name="Freihandform: Form 128">
                  <a:extLst>
                    <a:ext uri="{FF2B5EF4-FFF2-40B4-BE49-F238E27FC236}">
                      <a16:creationId xmlns:a16="http://schemas.microsoft.com/office/drawing/2014/main" id="{65AB7E45-7C4C-44EA-99B2-2ED81E0AE2E7}"/>
                    </a:ext>
                  </a:extLst>
                </p:cNvPr>
                <p:cNvSpPr/>
                <p:nvPr/>
              </p:nvSpPr>
              <p:spPr>
                <a:xfrm>
                  <a:off x="6193226" y="2858131"/>
                  <a:ext cx="157440" cy="35782"/>
                </a:xfrm>
                <a:custGeom>
                  <a:avLst/>
                  <a:gdLst>
                    <a:gd name="connsiteX0" fmla="*/ 146195 w 157440"/>
                    <a:gd name="connsiteY0" fmla="*/ 19425 h 35782"/>
                    <a:gd name="connsiteX1" fmla="*/ 147729 w 157440"/>
                    <a:gd name="connsiteY1" fmla="*/ 19425 h 35782"/>
                    <a:gd name="connsiteX2" fmla="*/ 148240 w 157440"/>
                    <a:gd name="connsiteY2" fmla="*/ 19936 h 35782"/>
                    <a:gd name="connsiteX3" fmla="*/ 153351 w 157440"/>
                    <a:gd name="connsiteY3" fmla="*/ 28115 h 35782"/>
                    <a:gd name="connsiteX4" fmla="*/ 154374 w 157440"/>
                    <a:gd name="connsiteY4" fmla="*/ 28626 h 35782"/>
                    <a:gd name="connsiteX5" fmla="*/ 156930 w 157440"/>
                    <a:gd name="connsiteY5" fmla="*/ 28626 h 35782"/>
                    <a:gd name="connsiteX6" fmla="*/ 157441 w 157440"/>
                    <a:gd name="connsiteY6" fmla="*/ 28115 h 35782"/>
                    <a:gd name="connsiteX7" fmla="*/ 156930 w 157440"/>
                    <a:gd name="connsiteY7" fmla="*/ 27092 h 35782"/>
                    <a:gd name="connsiteX8" fmla="*/ 151307 w 157440"/>
                    <a:gd name="connsiteY8" fmla="*/ 18402 h 35782"/>
                    <a:gd name="connsiteX9" fmla="*/ 151307 w 157440"/>
                    <a:gd name="connsiteY9" fmla="*/ 17891 h 35782"/>
                    <a:gd name="connsiteX10" fmla="*/ 151307 w 157440"/>
                    <a:gd name="connsiteY10" fmla="*/ 17380 h 35782"/>
                    <a:gd name="connsiteX11" fmla="*/ 156930 w 157440"/>
                    <a:gd name="connsiteY11" fmla="*/ 8690 h 35782"/>
                    <a:gd name="connsiteX12" fmla="*/ 156418 w 157440"/>
                    <a:gd name="connsiteY12" fmla="*/ 7668 h 35782"/>
                    <a:gd name="connsiteX13" fmla="*/ 153863 w 157440"/>
                    <a:gd name="connsiteY13" fmla="*/ 7668 h 35782"/>
                    <a:gd name="connsiteX14" fmla="*/ 152840 w 157440"/>
                    <a:gd name="connsiteY14" fmla="*/ 8179 h 35782"/>
                    <a:gd name="connsiteX15" fmla="*/ 148240 w 157440"/>
                    <a:gd name="connsiteY15" fmla="*/ 15335 h 35782"/>
                    <a:gd name="connsiteX16" fmla="*/ 147217 w 157440"/>
                    <a:gd name="connsiteY16" fmla="*/ 15846 h 35782"/>
                    <a:gd name="connsiteX17" fmla="*/ 145684 w 157440"/>
                    <a:gd name="connsiteY17" fmla="*/ 15846 h 35782"/>
                    <a:gd name="connsiteX18" fmla="*/ 145684 w 157440"/>
                    <a:gd name="connsiteY18" fmla="*/ 511 h 35782"/>
                    <a:gd name="connsiteX19" fmla="*/ 144662 w 157440"/>
                    <a:gd name="connsiteY19" fmla="*/ 0 h 35782"/>
                    <a:gd name="connsiteX20" fmla="*/ 142617 w 157440"/>
                    <a:gd name="connsiteY20" fmla="*/ 0 h 35782"/>
                    <a:gd name="connsiteX21" fmla="*/ 141594 w 157440"/>
                    <a:gd name="connsiteY21" fmla="*/ 511 h 35782"/>
                    <a:gd name="connsiteX22" fmla="*/ 141594 w 157440"/>
                    <a:gd name="connsiteY22" fmla="*/ 27604 h 35782"/>
                    <a:gd name="connsiteX23" fmla="*/ 142617 w 157440"/>
                    <a:gd name="connsiteY23" fmla="*/ 28115 h 35782"/>
                    <a:gd name="connsiteX24" fmla="*/ 144662 w 157440"/>
                    <a:gd name="connsiteY24" fmla="*/ 28115 h 35782"/>
                    <a:gd name="connsiteX25" fmla="*/ 145684 w 157440"/>
                    <a:gd name="connsiteY25" fmla="*/ 27604 h 35782"/>
                    <a:gd name="connsiteX26" fmla="*/ 145684 w 157440"/>
                    <a:gd name="connsiteY26" fmla="*/ 19425 h 35782"/>
                    <a:gd name="connsiteX27" fmla="*/ 137505 w 157440"/>
                    <a:gd name="connsiteY27" fmla="*/ 25559 h 35782"/>
                    <a:gd name="connsiteX28" fmla="*/ 136994 w 157440"/>
                    <a:gd name="connsiteY28" fmla="*/ 25048 h 35782"/>
                    <a:gd name="connsiteX29" fmla="*/ 136483 w 157440"/>
                    <a:gd name="connsiteY29" fmla="*/ 25048 h 35782"/>
                    <a:gd name="connsiteX30" fmla="*/ 132393 w 157440"/>
                    <a:gd name="connsiteY30" fmla="*/ 25559 h 35782"/>
                    <a:gd name="connsiteX31" fmla="*/ 128304 w 157440"/>
                    <a:gd name="connsiteY31" fmla="*/ 24025 h 35782"/>
                    <a:gd name="connsiteX32" fmla="*/ 127282 w 157440"/>
                    <a:gd name="connsiteY32" fmla="*/ 18402 h 35782"/>
                    <a:gd name="connsiteX33" fmla="*/ 127282 w 157440"/>
                    <a:gd name="connsiteY33" fmla="*/ 17891 h 35782"/>
                    <a:gd name="connsiteX34" fmla="*/ 128815 w 157440"/>
                    <a:gd name="connsiteY34" fmla="*/ 11757 h 35782"/>
                    <a:gd name="connsiteX35" fmla="*/ 132393 w 157440"/>
                    <a:gd name="connsiteY35" fmla="*/ 10735 h 35782"/>
                    <a:gd name="connsiteX36" fmla="*/ 136994 w 157440"/>
                    <a:gd name="connsiteY36" fmla="*/ 12268 h 35782"/>
                    <a:gd name="connsiteX37" fmla="*/ 137505 w 157440"/>
                    <a:gd name="connsiteY37" fmla="*/ 12268 h 35782"/>
                    <a:gd name="connsiteX38" fmla="*/ 138016 w 157440"/>
                    <a:gd name="connsiteY38" fmla="*/ 11757 h 35782"/>
                    <a:gd name="connsiteX39" fmla="*/ 138527 w 157440"/>
                    <a:gd name="connsiteY39" fmla="*/ 10735 h 35782"/>
                    <a:gd name="connsiteX40" fmla="*/ 139039 w 157440"/>
                    <a:gd name="connsiteY40" fmla="*/ 9712 h 35782"/>
                    <a:gd name="connsiteX41" fmla="*/ 138527 w 157440"/>
                    <a:gd name="connsiteY41" fmla="*/ 9201 h 35782"/>
                    <a:gd name="connsiteX42" fmla="*/ 132393 w 157440"/>
                    <a:gd name="connsiteY42" fmla="*/ 7668 h 35782"/>
                    <a:gd name="connsiteX43" fmla="*/ 126259 w 157440"/>
                    <a:gd name="connsiteY43" fmla="*/ 9712 h 35782"/>
                    <a:gd name="connsiteX44" fmla="*/ 124215 w 157440"/>
                    <a:gd name="connsiteY44" fmla="*/ 17380 h 35782"/>
                    <a:gd name="connsiteX45" fmla="*/ 124215 w 157440"/>
                    <a:gd name="connsiteY45" fmla="*/ 18913 h 35782"/>
                    <a:gd name="connsiteX46" fmla="*/ 126771 w 157440"/>
                    <a:gd name="connsiteY46" fmla="*/ 27092 h 35782"/>
                    <a:gd name="connsiteX47" fmla="*/ 132905 w 157440"/>
                    <a:gd name="connsiteY47" fmla="*/ 29137 h 35782"/>
                    <a:gd name="connsiteX48" fmla="*/ 138527 w 157440"/>
                    <a:gd name="connsiteY48" fmla="*/ 28115 h 35782"/>
                    <a:gd name="connsiteX49" fmla="*/ 139039 w 157440"/>
                    <a:gd name="connsiteY49" fmla="*/ 27604 h 35782"/>
                    <a:gd name="connsiteX50" fmla="*/ 139039 w 157440"/>
                    <a:gd name="connsiteY50" fmla="*/ 26581 h 35782"/>
                    <a:gd name="connsiteX51" fmla="*/ 137505 w 157440"/>
                    <a:gd name="connsiteY51" fmla="*/ 25559 h 35782"/>
                    <a:gd name="connsiteX52" fmla="*/ 115014 w 157440"/>
                    <a:gd name="connsiteY52" fmla="*/ 22492 h 35782"/>
                    <a:gd name="connsiteX53" fmla="*/ 110924 w 157440"/>
                    <a:gd name="connsiteY53" fmla="*/ 26070 h 35782"/>
                    <a:gd name="connsiteX54" fmla="*/ 109391 w 157440"/>
                    <a:gd name="connsiteY54" fmla="*/ 26070 h 35782"/>
                    <a:gd name="connsiteX55" fmla="*/ 106324 w 157440"/>
                    <a:gd name="connsiteY55" fmla="*/ 23003 h 35782"/>
                    <a:gd name="connsiteX56" fmla="*/ 106324 w 157440"/>
                    <a:gd name="connsiteY56" fmla="*/ 22492 h 35782"/>
                    <a:gd name="connsiteX57" fmla="*/ 110413 w 157440"/>
                    <a:gd name="connsiteY57" fmla="*/ 19425 h 35782"/>
                    <a:gd name="connsiteX58" fmla="*/ 112458 w 157440"/>
                    <a:gd name="connsiteY58" fmla="*/ 19425 h 35782"/>
                    <a:gd name="connsiteX59" fmla="*/ 114502 w 157440"/>
                    <a:gd name="connsiteY59" fmla="*/ 19425 h 35782"/>
                    <a:gd name="connsiteX60" fmla="*/ 114502 w 157440"/>
                    <a:gd name="connsiteY60" fmla="*/ 22492 h 35782"/>
                    <a:gd name="connsiteX61" fmla="*/ 115525 w 157440"/>
                    <a:gd name="connsiteY61" fmla="*/ 28115 h 35782"/>
                    <a:gd name="connsiteX62" fmla="*/ 116547 w 157440"/>
                    <a:gd name="connsiteY62" fmla="*/ 28626 h 35782"/>
                    <a:gd name="connsiteX63" fmla="*/ 118081 w 157440"/>
                    <a:gd name="connsiteY63" fmla="*/ 28626 h 35782"/>
                    <a:gd name="connsiteX64" fmla="*/ 118592 w 157440"/>
                    <a:gd name="connsiteY64" fmla="*/ 28115 h 35782"/>
                    <a:gd name="connsiteX65" fmla="*/ 118592 w 157440"/>
                    <a:gd name="connsiteY65" fmla="*/ 14824 h 35782"/>
                    <a:gd name="connsiteX66" fmla="*/ 110924 w 157440"/>
                    <a:gd name="connsiteY66" fmla="*/ 7668 h 35782"/>
                    <a:gd name="connsiteX67" fmla="*/ 104790 w 157440"/>
                    <a:gd name="connsiteY67" fmla="*/ 8690 h 35782"/>
                    <a:gd name="connsiteX68" fmla="*/ 104279 w 157440"/>
                    <a:gd name="connsiteY68" fmla="*/ 9201 h 35782"/>
                    <a:gd name="connsiteX69" fmla="*/ 104279 w 157440"/>
                    <a:gd name="connsiteY69" fmla="*/ 10223 h 35782"/>
                    <a:gd name="connsiteX70" fmla="*/ 104279 w 157440"/>
                    <a:gd name="connsiteY70" fmla="*/ 11246 h 35782"/>
                    <a:gd name="connsiteX71" fmla="*/ 104790 w 157440"/>
                    <a:gd name="connsiteY71" fmla="*/ 11757 h 35782"/>
                    <a:gd name="connsiteX72" fmla="*/ 105812 w 157440"/>
                    <a:gd name="connsiteY72" fmla="*/ 11757 h 35782"/>
                    <a:gd name="connsiteX73" fmla="*/ 110413 w 157440"/>
                    <a:gd name="connsiteY73" fmla="*/ 11246 h 35782"/>
                    <a:gd name="connsiteX74" fmla="*/ 114502 w 157440"/>
                    <a:gd name="connsiteY74" fmla="*/ 14824 h 35782"/>
                    <a:gd name="connsiteX75" fmla="*/ 114502 w 157440"/>
                    <a:gd name="connsiteY75" fmla="*/ 16358 h 35782"/>
                    <a:gd name="connsiteX76" fmla="*/ 111947 w 157440"/>
                    <a:gd name="connsiteY76" fmla="*/ 16358 h 35782"/>
                    <a:gd name="connsiteX77" fmla="*/ 111435 w 157440"/>
                    <a:gd name="connsiteY77" fmla="*/ 16358 h 35782"/>
                    <a:gd name="connsiteX78" fmla="*/ 104790 w 157440"/>
                    <a:gd name="connsiteY78" fmla="*/ 17891 h 35782"/>
                    <a:gd name="connsiteX79" fmla="*/ 102745 w 157440"/>
                    <a:gd name="connsiteY79" fmla="*/ 23003 h 35782"/>
                    <a:gd name="connsiteX80" fmla="*/ 102745 w 157440"/>
                    <a:gd name="connsiteY80" fmla="*/ 23514 h 35782"/>
                    <a:gd name="connsiteX81" fmla="*/ 108880 w 157440"/>
                    <a:gd name="connsiteY81" fmla="*/ 29648 h 35782"/>
                    <a:gd name="connsiteX82" fmla="*/ 110413 w 157440"/>
                    <a:gd name="connsiteY82" fmla="*/ 29648 h 35782"/>
                    <a:gd name="connsiteX83" fmla="*/ 115525 w 157440"/>
                    <a:gd name="connsiteY83" fmla="*/ 27604 h 35782"/>
                    <a:gd name="connsiteX84" fmla="*/ 115525 w 157440"/>
                    <a:gd name="connsiteY84" fmla="*/ 27604 h 35782"/>
                    <a:gd name="connsiteX85" fmla="*/ 115525 w 157440"/>
                    <a:gd name="connsiteY85" fmla="*/ 28115 h 35782"/>
                    <a:gd name="connsiteX86" fmla="*/ 92011 w 157440"/>
                    <a:gd name="connsiteY86" fmla="*/ 29137 h 35782"/>
                    <a:gd name="connsiteX87" fmla="*/ 99678 w 157440"/>
                    <a:gd name="connsiteY87" fmla="*/ 23003 h 35782"/>
                    <a:gd name="connsiteX88" fmla="*/ 99678 w 157440"/>
                    <a:gd name="connsiteY88" fmla="*/ 22492 h 35782"/>
                    <a:gd name="connsiteX89" fmla="*/ 94567 w 157440"/>
                    <a:gd name="connsiteY89" fmla="*/ 16358 h 35782"/>
                    <a:gd name="connsiteX90" fmla="*/ 92522 w 157440"/>
                    <a:gd name="connsiteY90" fmla="*/ 15846 h 35782"/>
                    <a:gd name="connsiteX91" fmla="*/ 89455 w 157440"/>
                    <a:gd name="connsiteY91" fmla="*/ 13291 h 35782"/>
                    <a:gd name="connsiteX92" fmla="*/ 89455 w 157440"/>
                    <a:gd name="connsiteY92" fmla="*/ 13291 h 35782"/>
                    <a:gd name="connsiteX93" fmla="*/ 93033 w 157440"/>
                    <a:gd name="connsiteY93" fmla="*/ 10735 h 35782"/>
                    <a:gd name="connsiteX94" fmla="*/ 96611 w 157440"/>
                    <a:gd name="connsiteY94" fmla="*/ 11246 h 35782"/>
                    <a:gd name="connsiteX95" fmla="*/ 97634 w 157440"/>
                    <a:gd name="connsiteY95" fmla="*/ 11246 h 35782"/>
                    <a:gd name="connsiteX96" fmla="*/ 98145 w 157440"/>
                    <a:gd name="connsiteY96" fmla="*/ 10735 h 35782"/>
                    <a:gd name="connsiteX97" fmla="*/ 98145 w 157440"/>
                    <a:gd name="connsiteY97" fmla="*/ 9712 h 35782"/>
                    <a:gd name="connsiteX98" fmla="*/ 98656 w 157440"/>
                    <a:gd name="connsiteY98" fmla="*/ 8690 h 35782"/>
                    <a:gd name="connsiteX99" fmla="*/ 98145 w 157440"/>
                    <a:gd name="connsiteY99" fmla="*/ 8179 h 35782"/>
                    <a:gd name="connsiteX100" fmla="*/ 93033 w 157440"/>
                    <a:gd name="connsiteY100" fmla="*/ 7668 h 35782"/>
                    <a:gd name="connsiteX101" fmla="*/ 85877 w 157440"/>
                    <a:gd name="connsiteY101" fmla="*/ 13291 h 35782"/>
                    <a:gd name="connsiteX102" fmla="*/ 85877 w 157440"/>
                    <a:gd name="connsiteY102" fmla="*/ 13802 h 35782"/>
                    <a:gd name="connsiteX103" fmla="*/ 90989 w 157440"/>
                    <a:gd name="connsiteY103" fmla="*/ 19425 h 35782"/>
                    <a:gd name="connsiteX104" fmla="*/ 93033 w 157440"/>
                    <a:gd name="connsiteY104" fmla="*/ 19936 h 35782"/>
                    <a:gd name="connsiteX105" fmla="*/ 96100 w 157440"/>
                    <a:gd name="connsiteY105" fmla="*/ 23003 h 35782"/>
                    <a:gd name="connsiteX106" fmla="*/ 96100 w 157440"/>
                    <a:gd name="connsiteY106" fmla="*/ 23003 h 35782"/>
                    <a:gd name="connsiteX107" fmla="*/ 92011 w 157440"/>
                    <a:gd name="connsiteY107" fmla="*/ 26070 h 35782"/>
                    <a:gd name="connsiteX108" fmla="*/ 87921 w 157440"/>
                    <a:gd name="connsiteY108" fmla="*/ 25559 h 35782"/>
                    <a:gd name="connsiteX109" fmla="*/ 86388 w 157440"/>
                    <a:gd name="connsiteY109" fmla="*/ 25048 h 35782"/>
                    <a:gd name="connsiteX110" fmla="*/ 85877 w 157440"/>
                    <a:gd name="connsiteY110" fmla="*/ 25559 h 35782"/>
                    <a:gd name="connsiteX111" fmla="*/ 85877 w 157440"/>
                    <a:gd name="connsiteY111" fmla="*/ 26070 h 35782"/>
                    <a:gd name="connsiteX112" fmla="*/ 85366 w 157440"/>
                    <a:gd name="connsiteY112" fmla="*/ 27092 h 35782"/>
                    <a:gd name="connsiteX113" fmla="*/ 85877 w 157440"/>
                    <a:gd name="connsiteY113" fmla="*/ 27604 h 35782"/>
                    <a:gd name="connsiteX114" fmla="*/ 92011 w 157440"/>
                    <a:gd name="connsiteY114" fmla="*/ 29137 h 35782"/>
                    <a:gd name="connsiteX115" fmla="*/ 73098 w 157440"/>
                    <a:gd name="connsiteY115" fmla="*/ 11246 h 35782"/>
                    <a:gd name="connsiteX116" fmla="*/ 77698 w 157440"/>
                    <a:gd name="connsiteY116" fmla="*/ 17891 h 35782"/>
                    <a:gd name="connsiteX117" fmla="*/ 77698 w 157440"/>
                    <a:gd name="connsiteY117" fmla="*/ 19425 h 35782"/>
                    <a:gd name="connsiteX118" fmla="*/ 73098 w 157440"/>
                    <a:gd name="connsiteY118" fmla="*/ 26070 h 35782"/>
                    <a:gd name="connsiteX119" fmla="*/ 68497 w 157440"/>
                    <a:gd name="connsiteY119" fmla="*/ 21469 h 35782"/>
                    <a:gd name="connsiteX120" fmla="*/ 68497 w 157440"/>
                    <a:gd name="connsiteY120" fmla="*/ 15846 h 35782"/>
                    <a:gd name="connsiteX121" fmla="*/ 73098 w 157440"/>
                    <a:gd name="connsiteY121" fmla="*/ 11246 h 35782"/>
                    <a:gd name="connsiteX122" fmla="*/ 68497 w 157440"/>
                    <a:gd name="connsiteY122" fmla="*/ 27604 h 35782"/>
                    <a:gd name="connsiteX123" fmla="*/ 68497 w 157440"/>
                    <a:gd name="connsiteY123" fmla="*/ 27604 h 35782"/>
                    <a:gd name="connsiteX124" fmla="*/ 73609 w 157440"/>
                    <a:gd name="connsiteY124" fmla="*/ 29137 h 35782"/>
                    <a:gd name="connsiteX125" fmla="*/ 81787 w 157440"/>
                    <a:gd name="connsiteY125" fmla="*/ 19425 h 35782"/>
                    <a:gd name="connsiteX126" fmla="*/ 81787 w 157440"/>
                    <a:gd name="connsiteY126" fmla="*/ 17380 h 35782"/>
                    <a:gd name="connsiteX127" fmla="*/ 74120 w 157440"/>
                    <a:gd name="connsiteY127" fmla="*/ 7668 h 35782"/>
                    <a:gd name="connsiteX128" fmla="*/ 67986 w 157440"/>
                    <a:gd name="connsiteY128" fmla="*/ 10223 h 35782"/>
                    <a:gd name="connsiteX129" fmla="*/ 67986 w 157440"/>
                    <a:gd name="connsiteY129" fmla="*/ 10223 h 35782"/>
                    <a:gd name="connsiteX130" fmla="*/ 67475 w 157440"/>
                    <a:gd name="connsiteY130" fmla="*/ 8690 h 35782"/>
                    <a:gd name="connsiteX131" fmla="*/ 66963 w 157440"/>
                    <a:gd name="connsiteY131" fmla="*/ 8179 h 35782"/>
                    <a:gd name="connsiteX132" fmla="*/ 65430 w 157440"/>
                    <a:gd name="connsiteY132" fmla="*/ 8179 h 35782"/>
                    <a:gd name="connsiteX133" fmla="*/ 64919 w 157440"/>
                    <a:gd name="connsiteY133" fmla="*/ 8690 h 35782"/>
                    <a:gd name="connsiteX134" fmla="*/ 64919 w 157440"/>
                    <a:gd name="connsiteY134" fmla="*/ 35271 h 35782"/>
                    <a:gd name="connsiteX135" fmla="*/ 65941 w 157440"/>
                    <a:gd name="connsiteY135" fmla="*/ 35782 h 35782"/>
                    <a:gd name="connsiteX136" fmla="*/ 67986 w 157440"/>
                    <a:gd name="connsiteY136" fmla="*/ 35782 h 35782"/>
                    <a:gd name="connsiteX137" fmla="*/ 69008 w 157440"/>
                    <a:gd name="connsiteY137" fmla="*/ 35271 h 35782"/>
                    <a:gd name="connsiteX138" fmla="*/ 69008 w 157440"/>
                    <a:gd name="connsiteY138" fmla="*/ 27604 h 35782"/>
                    <a:gd name="connsiteX139" fmla="*/ 55718 w 157440"/>
                    <a:gd name="connsiteY139" fmla="*/ 22492 h 35782"/>
                    <a:gd name="connsiteX140" fmla="*/ 51628 w 157440"/>
                    <a:gd name="connsiteY140" fmla="*/ 26070 h 35782"/>
                    <a:gd name="connsiteX141" fmla="*/ 50095 w 157440"/>
                    <a:gd name="connsiteY141" fmla="*/ 26070 h 35782"/>
                    <a:gd name="connsiteX142" fmla="*/ 47028 w 157440"/>
                    <a:gd name="connsiteY142" fmla="*/ 23003 h 35782"/>
                    <a:gd name="connsiteX143" fmla="*/ 47028 w 157440"/>
                    <a:gd name="connsiteY143" fmla="*/ 22492 h 35782"/>
                    <a:gd name="connsiteX144" fmla="*/ 51117 w 157440"/>
                    <a:gd name="connsiteY144" fmla="*/ 19425 h 35782"/>
                    <a:gd name="connsiteX145" fmla="*/ 53162 w 157440"/>
                    <a:gd name="connsiteY145" fmla="*/ 19425 h 35782"/>
                    <a:gd name="connsiteX146" fmla="*/ 55207 w 157440"/>
                    <a:gd name="connsiteY146" fmla="*/ 19425 h 35782"/>
                    <a:gd name="connsiteX147" fmla="*/ 55207 w 157440"/>
                    <a:gd name="connsiteY147" fmla="*/ 22492 h 35782"/>
                    <a:gd name="connsiteX148" fmla="*/ 56229 w 157440"/>
                    <a:gd name="connsiteY148" fmla="*/ 28115 h 35782"/>
                    <a:gd name="connsiteX149" fmla="*/ 57251 w 157440"/>
                    <a:gd name="connsiteY149" fmla="*/ 28626 h 35782"/>
                    <a:gd name="connsiteX150" fmla="*/ 58785 w 157440"/>
                    <a:gd name="connsiteY150" fmla="*/ 28626 h 35782"/>
                    <a:gd name="connsiteX151" fmla="*/ 59296 w 157440"/>
                    <a:gd name="connsiteY151" fmla="*/ 28115 h 35782"/>
                    <a:gd name="connsiteX152" fmla="*/ 59296 w 157440"/>
                    <a:gd name="connsiteY152" fmla="*/ 14824 h 35782"/>
                    <a:gd name="connsiteX153" fmla="*/ 51628 w 157440"/>
                    <a:gd name="connsiteY153" fmla="*/ 7668 h 35782"/>
                    <a:gd name="connsiteX154" fmla="*/ 45494 w 157440"/>
                    <a:gd name="connsiteY154" fmla="*/ 8690 h 35782"/>
                    <a:gd name="connsiteX155" fmla="*/ 44983 w 157440"/>
                    <a:gd name="connsiteY155" fmla="*/ 9201 h 35782"/>
                    <a:gd name="connsiteX156" fmla="*/ 44983 w 157440"/>
                    <a:gd name="connsiteY156" fmla="*/ 10223 h 35782"/>
                    <a:gd name="connsiteX157" fmla="*/ 44983 w 157440"/>
                    <a:gd name="connsiteY157" fmla="*/ 11246 h 35782"/>
                    <a:gd name="connsiteX158" fmla="*/ 45494 w 157440"/>
                    <a:gd name="connsiteY158" fmla="*/ 11757 h 35782"/>
                    <a:gd name="connsiteX159" fmla="*/ 46517 w 157440"/>
                    <a:gd name="connsiteY159" fmla="*/ 11757 h 35782"/>
                    <a:gd name="connsiteX160" fmla="*/ 51117 w 157440"/>
                    <a:gd name="connsiteY160" fmla="*/ 11246 h 35782"/>
                    <a:gd name="connsiteX161" fmla="*/ 55207 w 157440"/>
                    <a:gd name="connsiteY161" fmla="*/ 14824 h 35782"/>
                    <a:gd name="connsiteX162" fmla="*/ 55207 w 157440"/>
                    <a:gd name="connsiteY162" fmla="*/ 16358 h 35782"/>
                    <a:gd name="connsiteX163" fmla="*/ 52651 w 157440"/>
                    <a:gd name="connsiteY163" fmla="*/ 16358 h 35782"/>
                    <a:gd name="connsiteX164" fmla="*/ 51628 w 157440"/>
                    <a:gd name="connsiteY164" fmla="*/ 16358 h 35782"/>
                    <a:gd name="connsiteX165" fmla="*/ 44983 w 157440"/>
                    <a:gd name="connsiteY165" fmla="*/ 17891 h 35782"/>
                    <a:gd name="connsiteX166" fmla="*/ 42938 w 157440"/>
                    <a:gd name="connsiteY166" fmla="*/ 23003 h 35782"/>
                    <a:gd name="connsiteX167" fmla="*/ 42938 w 157440"/>
                    <a:gd name="connsiteY167" fmla="*/ 23514 h 35782"/>
                    <a:gd name="connsiteX168" fmla="*/ 49072 w 157440"/>
                    <a:gd name="connsiteY168" fmla="*/ 29648 h 35782"/>
                    <a:gd name="connsiteX169" fmla="*/ 50606 w 157440"/>
                    <a:gd name="connsiteY169" fmla="*/ 29648 h 35782"/>
                    <a:gd name="connsiteX170" fmla="*/ 55718 w 157440"/>
                    <a:gd name="connsiteY170" fmla="*/ 27604 h 35782"/>
                    <a:gd name="connsiteX171" fmla="*/ 55718 w 157440"/>
                    <a:gd name="connsiteY171" fmla="*/ 27604 h 35782"/>
                    <a:gd name="connsiteX172" fmla="*/ 56229 w 157440"/>
                    <a:gd name="connsiteY172" fmla="*/ 28115 h 35782"/>
                    <a:gd name="connsiteX173" fmla="*/ 23003 w 157440"/>
                    <a:gd name="connsiteY173" fmla="*/ 28115 h 35782"/>
                    <a:gd name="connsiteX174" fmla="*/ 24025 w 157440"/>
                    <a:gd name="connsiteY174" fmla="*/ 28626 h 35782"/>
                    <a:gd name="connsiteX175" fmla="*/ 26070 w 157440"/>
                    <a:gd name="connsiteY175" fmla="*/ 28626 h 35782"/>
                    <a:gd name="connsiteX176" fmla="*/ 27092 w 157440"/>
                    <a:gd name="connsiteY176" fmla="*/ 28115 h 35782"/>
                    <a:gd name="connsiteX177" fmla="*/ 27092 w 157440"/>
                    <a:gd name="connsiteY177" fmla="*/ 15335 h 35782"/>
                    <a:gd name="connsiteX178" fmla="*/ 31181 w 157440"/>
                    <a:gd name="connsiteY178" fmla="*/ 10735 h 35782"/>
                    <a:gd name="connsiteX179" fmla="*/ 35782 w 157440"/>
                    <a:gd name="connsiteY179" fmla="*/ 15846 h 35782"/>
                    <a:gd name="connsiteX180" fmla="*/ 35782 w 157440"/>
                    <a:gd name="connsiteY180" fmla="*/ 28115 h 35782"/>
                    <a:gd name="connsiteX181" fmla="*/ 36804 w 157440"/>
                    <a:gd name="connsiteY181" fmla="*/ 28626 h 35782"/>
                    <a:gd name="connsiteX182" fmla="*/ 38849 w 157440"/>
                    <a:gd name="connsiteY182" fmla="*/ 28626 h 35782"/>
                    <a:gd name="connsiteX183" fmla="*/ 39871 w 157440"/>
                    <a:gd name="connsiteY183" fmla="*/ 28115 h 35782"/>
                    <a:gd name="connsiteX184" fmla="*/ 39871 w 157440"/>
                    <a:gd name="connsiteY184" fmla="*/ 16358 h 35782"/>
                    <a:gd name="connsiteX185" fmla="*/ 32715 w 157440"/>
                    <a:gd name="connsiteY185" fmla="*/ 8179 h 35782"/>
                    <a:gd name="connsiteX186" fmla="*/ 26581 w 157440"/>
                    <a:gd name="connsiteY186" fmla="*/ 10735 h 35782"/>
                    <a:gd name="connsiteX187" fmla="*/ 26581 w 157440"/>
                    <a:gd name="connsiteY187" fmla="*/ 10735 h 35782"/>
                    <a:gd name="connsiteX188" fmla="*/ 26581 w 157440"/>
                    <a:gd name="connsiteY188" fmla="*/ 9201 h 35782"/>
                    <a:gd name="connsiteX189" fmla="*/ 25559 w 157440"/>
                    <a:gd name="connsiteY189" fmla="*/ 8690 h 35782"/>
                    <a:gd name="connsiteX190" fmla="*/ 24025 w 157440"/>
                    <a:gd name="connsiteY190" fmla="*/ 8690 h 35782"/>
                    <a:gd name="connsiteX191" fmla="*/ 23514 w 157440"/>
                    <a:gd name="connsiteY191" fmla="*/ 9201 h 35782"/>
                    <a:gd name="connsiteX192" fmla="*/ 23514 w 157440"/>
                    <a:gd name="connsiteY192" fmla="*/ 28115 h 35782"/>
                    <a:gd name="connsiteX193" fmla="*/ 5112 w 157440"/>
                    <a:gd name="connsiteY193" fmla="*/ 16358 h 35782"/>
                    <a:gd name="connsiteX194" fmla="*/ 7156 w 157440"/>
                    <a:gd name="connsiteY194" fmla="*/ 16358 h 35782"/>
                    <a:gd name="connsiteX195" fmla="*/ 8179 w 157440"/>
                    <a:gd name="connsiteY195" fmla="*/ 16869 h 35782"/>
                    <a:gd name="connsiteX196" fmla="*/ 14824 w 157440"/>
                    <a:gd name="connsiteY196" fmla="*/ 28115 h 35782"/>
                    <a:gd name="connsiteX197" fmla="*/ 15846 w 157440"/>
                    <a:gd name="connsiteY197" fmla="*/ 28626 h 35782"/>
                    <a:gd name="connsiteX198" fmla="*/ 18402 w 157440"/>
                    <a:gd name="connsiteY198" fmla="*/ 28626 h 35782"/>
                    <a:gd name="connsiteX199" fmla="*/ 18913 w 157440"/>
                    <a:gd name="connsiteY199" fmla="*/ 28115 h 35782"/>
                    <a:gd name="connsiteX200" fmla="*/ 17891 w 157440"/>
                    <a:gd name="connsiteY200" fmla="*/ 26581 h 35782"/>
                    <a:gd name="connsiteX201" fmla="*/ 10735 w 157440"/>
                    <a:gd name="connsiteY201" fmla="*/ 15335 h 35782"/>
                    <a:gd name="connsiteX202" fmla="*/ 10223 w 157440"/>
                    <a:gd name="connsiteY202" fmla="*/ 14824 h 35782"/>
                    <a:gd name="connsiteX203" fmla="*/ 10735 w 157440"/>
                    <a:gd name="connsiteY203" fmla="*/ 14313 h 35782"/>
                    <a:gd name="connsiteX204" fmla="*/ 18402 w 157440"/>
                    <a:gd name="connsiteY204" fmla="*/ 3067 h 35782"/>
                    <a:gd name="connsiteX205" fmla="*/ 18913 w 157440"/>
                    <a:gd name="connsiteY205" fmla="*/ 2556 h 35782"/>
                    <a:gd name="connsiteX206" fmla="*/ 18402 w 157440"/>
                    <a:gd name="connsiteY206" fmla="*/ 2045 h 35782"/>
                    <a:gd name="connsiteX207" fmla="*/ 15846 w 157440"/>
                    <a:gd name="connsiteY207" fmla="*/ 2045 h 35782"/>
                    <a:gd name="connsiteX208" fmla="*/ 14313 w 157440"/>
                    <a:gd name="connsiteY208" fmla="*/ 2556 h 35782"/>
                    <a:gd name="connsiteX209" fmla="*/ 7156 w 157440"/>
                    <a:gd name="connsiteY209" fmla="*/ 12779 h 35782"/>
                    <a:gd name="connsiteX210" fmla="*/ 6134 w 157440"/>
                    <a:gd name="connsiteY210" fmla="*/ 13291 h 35782"/>
                    <a:gd name="connsiteX211" fmla="*/ 4089 w 157440"/>
                    <a:gd name="connsiteY211" fmla="*/ 13291 h 35782"/>
                    <a:gd name="connsiteX212" fmla="*/ 4089 w 157440"/>
                    <a:gd name="connsiteY212" fmla="*/ 2556 h 35782"/>
                    <a:gd name="connsiteX213" fmla="*/ 3067 w 157440"/>
                    <a:gd name="connsiteY213" fmla="*/ 1534 h 35782"/>
                    <a:gd name="connsiteX214" fmla="*/ 1022 w 157440"/>
                    <a:gd name="connsiteY214" fmla="*/ 1534 h 35782"/>
                    <a:gd name="connsiteX215" fmla="*/ 0 w 157440"/>
                    <a:gd name="connsiteY215" fmla="*/ 2556 h 35782"/>
                    <a:gd name="connsiteX216" fmla="*/ 0 w 157440"/>
                    <a:gd name="connsiteY216" fmla="*/ 28115 h 35782"/>
                    <a:gd name="connsiteX217" fmla="*/ 1022 w 157440"/>
                    <a:gd name="connsiteY217" fmla="*/ 29137 h 35782"/>
                    <a:gd name="connsiteX218" fmla="*/ 3067 w 157440"/>
                    <a:gd name="connsiteY218" fmla="*/ 29137 h 35782"/>
                    <a:gd name="connsiteX219" fmla="*/ 4089 w 157440"/>
                    <a:gd name="connsiteY219" fmla="*/ 28115 h 35782"/>
                    <a:gd name="connsiteX220" fmla="*/ 4089 w 157440"/>
                    <a:gd name="connsiteY220" fmla="*/ 16358 h 357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</a:cxnLst>
                  <a:rect l="l" t="t" r="r" b="b"/>
                  <a:pathLst>
                    <a:path w="157440" h="35782">
                      <a:moveTo>
                        <a:pt x="146195" y="19425"/>
                      </a:moveTo>
                      <a:lnTo>
                        <a:pt x="147729" y="19425"/>
                      </a:lnTo>
                      <a:cubicBezTo>
                        <a:pt x="148240" y="19425"/>
                        <a:pt x="148240" y="19425"/>
                        <a:pt x="148240" y="19936"/>
                      </a:cubicBezTo>
                      <a:lnTo>
                        <a:pt x="153351" y="28115"/>
                      </a:lnTo>
                      <a:cubicBezTo>
                        <a:pt x="153863" y="28626"/>
                        <a:pt x="153863" y="28626"/>
                        <a:pt x="154374" y="28626"/>
                      </a:cubicBezTo>
                      <a:lnTo>
                        <a:pt x="156930" y="28626"/>
                      </a:lnTo>
                      <a:cubicBezTo>
                        <a:pt x="157441" y="28626"/>
                        <a:pt x="157441" y="28626"/>
                        <a:pt x="157441" y="28115"/>
                      </a:cubicBezTo>
                      <a:cubicBezTo>
                        <a:pt x="157441" y="28115"/>
                        <a:pt x="157441" y="27604"/>
                        <a:pt x="156930" y="27092"/>
                      </a:cubicBezTo>
                      <a:lnTo>
                        <a:pt x="151307" y="18402"/>
                      </a:lnTo>
                      <a:cubicBezTo>
                        <a:pt x="151307" y="18402"/>
                        <a:pt x="151307" y="17891"/>
                        <a:pt x="151307" y="17891"/>
                      </a:cubicBezTo>
                      <a:cubicBezTo>
                        <a:pt x="151307" y="17891"/>
                        <a:pt x="151307" y="17380"/>
                        <a:pt x="151307" y="17380"/>
                      </a:cubicBezTo>
                      <a:lnTo>
                        <a:pt x="156930" y="8690"/>
                      </a:lnTo>
                      <a:cubicBezTo>
                        <a:pt x="157441" y="8179"/>
                        <a:pt x="156930" y="7668"/>
                        <a:pt x="156418" y="7668"/>
                      </a:cubicBezTo>
                      <a:lnTo>
                        <a:pt x="153863" y="7668"/>
                      </a:lnTo>
                      <a:cubicBezTo>
                        <a:pt x="153351" y="7668"/>
                        <a:pt x="152840" y="7668"/>
                        <a:pt x="152840" y="8179"/>
                      </a:cubicBezTo>
                      <a:lnTo>
                        <a:pt x="148240" y="15335"/>
                      </a:lnTo>
                      <a:cubicBezTo>
                        <a:pt x="147729" y="15846"/>
                        <a:pt x="147729" y="15846"/>
                        <a:pt x="147217" y="15846"/>
                      </a:cubicBezTo>
                      <a:lnTo>
                        <a:pt x="145684" y="15846"/>
                      </a:lnTo>
                      <a:lnTo>
                        <a:pt x="145684" y="511"/>
                      </a:lnTo>
                      <a:cubicBezTo>
                        <a:pt x="145684" y="0"/>
                        <a:pt x="145684" y="0"/>
                        <a:pt x="144662" y="0"/>
                      </a:cubicBezTo>
                      <a:lnTo>
                        <a:pt x="142617" y="0"/>
                      </a:lnTo>
                      <a:cubicBezTo>
                        <a:pt x="142106" y="0"/>
                        <a:pt x="141594" y="0"/>
                        <a:pt x="141594" y="511"/>
                      </a:cubicBezTo>
                      <a:lnTo>
                        <a:pt x="141594" y="27604"/>
                      </a:lnTo>
                      <a:cubicBezTo>
                        <a:pt x="141594" y="28115"/>
                        <a:pt x="141594" y="28115"/>
                        <a:pt x="142617" y="28115"/>
                      </a:cubicBezTo>
                      <a:lnTo>
                        <a:pt x="144662" y="28115"/>
                      </a:lnTo>
                      <a:cubicBezTo>
                        <a:pt x="145173" y="28115"/>
                        <a:pt x="145684" y="28115"/>
                        <a:pt x="145684" y="27604"/>
                      </a:cubicBezTo>
                      <a:lnTo>
                        <a:pt x="145684" y="19425"/>
                      </a:lnTo>
                      <a:close/>
                      <a:moveTo>
                        <a:pt x="137505" y="25559"/>
                      </a:moveTo>
                      <a:cubicBezTo>
                        <a:pt x="137505" y="25048"/>
                        <a:pt x="136994" y="25048"/>
                        <a:pt x="136994" y="25048"/>
                      </a:cubicBezTo>
                      <a:cubicBezTo>
                        <a:pt x="136994" y="25048"/>
                        <a:pt x="136483" y="25048"/>
                        <a:pt x="136483" y="25048"/>
                      </a:cubicBezTo>
                      <a:cubicBezTo>
                        <a:pt x="135461" y="25559"/>
                        <a:pt x="133927" y="25559"/>
                        <a:pt x="132393" y="25559"/>
                      </a:cubicBezTo>
                      <a:cubicBezTo>
                        <a:pt x="130860" y="25559"/>
                        <a:pt x="129326" y="25048"/>
                        <a:pt x="128304" y="24025"/>
                      </a:cubicBezTo>
                      <a:cubicBezTo>
                        <a:pt x="127282" y="23003"/>
                        <a:pt x="127282" y="21469"/>
                        <a:pt x="127282" y="18402"/>
                      </a:cubicBezTo>
                      <a:lnTo>
                        <a:pt x="127282" y="17891"/>
                      </a:lnTo>
                      <a:cubicBezTo>
                        <a:pt x="127282" y="14824"/>
                        <a:pt x="127282" y="13291"/>
                        <a:pt x="128815" y="11757"/>
                      </a:cubicBezTo>
                      <a:cubicBezTo>
                        <a:pt x="129838" y="11246"/>
                        <a:pt x="130860" y="10735"/>
                        <a:pt x="132393" y="10735"/>
                      </a:cubicBezTo>
                      <a:cubicBezTo>
                        <a:pt x="133927" y="10735"/>
                        <a:pt x="135461" y="11246"/>
                        <a:pt x="136994" y="12268"/>
                      </a:cubicBezTo>
                      <a:cubicBezTo>
                        <a:pt x="136994" y="12268"/>
                        <a:pt x="137505" y="12268"/>
                        <a:pt x="137505" y="12268"/>
                      </a:cubicBezTo>
                      <a:cubicBezTo>
                        <a:pt x="137505" y="12268"/>
                        <a:pt x="138016" y="12268"/>
                        <a:pt x="138016" y="11757"/>
                      </a:cubicBezTo>
                      <a:lnTo>
                        <a:pt x="138527" y="10735"/>
                      </a:lnTo>
                      <a:cubicBezTo>
                        <a:pt x="139039" y="10223"/>
                        <a:pt x="139039" y="9712"/>
                        <a:pt x="139039" y="9712"/>
                      </a:cubicBezTo>
                      <a:cubicBezTo>
                        <a:pt x="139039" y="9712"/>
                        <a:pt x="139039" y="9201"/>
                        <a:pt x="138527" y="9201"/>
                      </a:cubicBezTo>
                      <a:cubicBezTo>
                        <a:pt x="136994" y="8179"/>
                        <a:pt x="134438" y="7668"/>
                        <a:pt x="132393" y="7668"/>
                      </a:cubicBezTo>
                      <a:cubicBezTo>
                        <a:pt x="129838" y="7668"/>
                        <a:pt x="127793" y="8179"/>
                        <a:pt x="126259" y="9712"/>
                      </a:cubicBezTo>
                      <a:cubicBezTo>
                        <a:pt x="124726" y="11246"/>
                        <a:pt x="124215" y="13291"/>
                        <a:pt x="124215" y="17380"/>
                      </a:cubicBezTo>
                      <a:lnTo>
                        <a:pt x="124215" y="18913"/>
                      </a:lnTo>
                      <a:cubicBezTo>
                        <a:pt x="124215" y="22492"/>
                        <a:pt x="124726" y="25559"/>
                        <a:pt x="126771" y="27092"/>
                      </a:cubicBezTo>
                      <a:cubicBezTo>
                        <a:pt x="127793" y="28115"/>
                        <a:pt x="130349" y="29137"/>
                        <a:pt x="132905" y="29137"/>
                      </a:cubicBezTo>
                      <a:cubicBezTo>
                        <a:pt x="134949" y="29137"/>
                        <a:pt x="136994" y="28626"/>
                        <a:pt x="138527" y="28115"/>
                      </a:cubicBezTo>
                      <a:cubicBezTo>
                        <a:pt x="139039" y="28115"/>
                        <a:pt x="139039" y="27604"/>
                        <a:pt x="139039" y="27604"/>
                      </a:cubicBezTo>
                      <a:cubicBezTo>
                        <a:pt x="139039" y="27604"/>
                        <a:pt x="139039" y="27092"/>
                        <a:pt x="139039" y="26581"/>
                      </a:cubicBezTo>
                      <a:lnTo>
                        <a:pt x="137505" y="25559"/>
                      </a:lnTo>
                      <a:close/>
                      <a:moveTo>
                        <a:pt x="115014" y="22492"/>
                      </a:moveTo>
                      <a:cubicBezTo>
                        <a:pt x="115014" y="25048"/>
                        <a:pt x="113991" y="26070"/>
                        <a:pt x="110924" y="26070"/>
                      </a:cubicBezTo>
                      <a:lnTo>
                        <a:pt x="109391" y="26070"/>
                      </a:lnTo>
                      <a:cubicBezTo>
                        <a:pt x="107346" y="26070"/>
                        <a:pt x="106324" y="25048"/>
                        <a:pt x="106324" y="23003"/>
                      </a:cubicBezTo>
                      <a:lnTo>
                        <a:pt x="106324" y="22492"/>
                      </a:lnTo>
                      <a:cubicBezTo>
                        <a:pt x="106324" y="19936"/>
                        <a:pt x="107346" y="19425"/>
                        <a:pt x="110413" y="19425"/>
                      </a:cubicBezTo>
                      <a:lnTo>
                        <a:pt x="112458" y="19425"/>
                      </a:lnTo>
                      <a:cubicBezTo>
                        <a:pt x="112969" y="19425"/>
                        <a:pt x="113991" y="19425"/>
                        <a:pt x="114502" y="19425"/>
                      </a:cubicBezTo>
                      <a:lnTo>
                        <a:pt x="114502" y="22492"/>
                      </a:lnTo>
                      <a:close/>
                      <a:moveTo>
                        <a:pt x="115525" y="28115"/>
                      </a:moveTo>
                      <a:cubicBezTo>
                        <a:pt x="115525" y="28626"/>
                        <a:pt x="116036" y="28626"/>
                        <a:pt x="116547" y="28626"/>
                      </a:cubicBezTo>
                      <a:lnTo>
                        <a:pt x="118081" y="28626"/>
                      </a:lnTo>
                      <a:cubicBezTo>
                        <a:pt x="118592" y="28626"/>
                        <a:pt x="118592" y="28626"/>
                        <a:pt x="118592" y="28115"/>
                      </a:cubicBezTo>
                      <a:lnTo>
                        <a:pt x="118592" y="14824"/>
                      </a:lnTo>
                      <a:cubicBezTo>
                        <a:pt x="118592" y="9712"/>
                        <a:pt x="116036" y="7668"/>
                        <a:pt x="110924" y="7668"/>
                      </a:cubicBezTo>
                      <a:cubicBezTo>
                        <a:pt x="108880" y="7668"/>
                        <a:pt x="106324" y="8179"/>
                        <a:pt x="104790" y="8690"/>
                      </a:cubicBezTo>
                      <a:cubicBezTo>
                        <a:pt x="104279" y="8690"/>
                        <a:pt x="104279" y="9201"/>
                        <a:pt x="104279" y="9201"/>
                      </a:cubicBezTo>
                      <a:cubicBezTo>
                        <a:pt x="104279" y="9201"/>
                        <a:pt x="104279" y="9712"/>
                        <a:pt x="104279" y="10223"/>
                      </a:cubicBezTo>
                      <a:lnTo>
                        <a:pt x="104279" y="11246"/>
                      </a:lnTo>
                      <a:cubicBezTo>
                        <a:pt x="104279" y="11757"/>
                        <a:pt x="104279" y="11757"/>
                        <a:pt x="104790" y="11757"/>
                      </a:cubicBezTo>
                      <a:cubicBezTo>
                        <a:pt x="104790" y="11757"/>
                        <a:pt x="105301" y="11757"/>
                        <a:pt x="105812" y="11757"/>
                      </a:cubicBezTo>
                      <a:cubicBezTo>
                        <a:pt x="107346" y="11246"/>
                        <a:pt x="108880" y="11246"/>
                        <a:pt x="110413" y="11246"/>
                      </a:cubicBezTo>
                      <a:cubicBezTo>
                        <a:pt x="113480" y="11246"/>
                        <a:pt x="114502" y="11757"/>
                        <a:pt x="114502" y="14824"/>
                      </a:cubicBezTo>
                      <a:lnTo>
                        <a:pt x="114502" y="16358"/>
                      </a:lnTo>
                      <a:cubicBezTo>
                        <a:pt x="113991" y="16358"/>
                        <a:pt x="112969" y="16358"/>
                        <a:pt x="111947" y="16358"/>
                      </a:cubicBezTo>
                      <a:lnTo>
                        <a:pt x="111435" y="16358"/>
                      </a:lnTo>
                      <a:cubicBezTo>
                        <a:pt x="107857" y="16358"/>
                        <a:pt x="106324" y="16869"/>
                        <a:pt x="104790" y="17891"/>
                      </a:cubicBezTo>
                      <a:cubicBezTo>
                        <a:pt x="103257" y="18913"/>
                        <a:pt x="102745" y="20447"/>
                        <a:pt x="102745" y="23003"/>
                      </a:cubicBezTo>
                      <a:lnTo>
                        <a:pt x="102745" y="23514"/>
                      </a:lnTo>
                      <a:cubicBezTo>
                        <a:pt x="102745" y="27092"/>
                        <a:pt x="104790" y="29648"/>
                        <a:pt x="108880" y="29648"/>
                      </a:cubicBezTo>
                      <a:lnTo>
                        <a:pt x="110413" y="29648"/>
                      </a:lnTo>
                      <a:cubicBezTo>
                        <a:pt x="112969" y="29648"/>
                        <a:pt x="115014" y="29137"/>
                        <a:pt x="115525" y="27604"/>
                      </a:cubicBezTo>
                      <a:lnTo>
                        <a:pt x="115525" y="27604"/>
                      </a:lnTo>
                      <a:lnTo>
                        <a:pt x="115525" y="28115"/>
                      </a:lnTo>
                      <a:close/>
                      <a:moveTo>
                        <a:pt x="92011" y="29137"/>
                      </a:moveTo>
                      <a:cubicBezTo>
                        <a:pt x="97123" y="29137"/>
                        <a:pt x="99678" y="27092"/>
                        <a:pt x="99678" y="23003"/>
                      </a:cubicBezTo>
                      <a:lnTo>
                        <a:pt x="99678" y="22492"/>
                      </a:lnTo>
                      <a:cubicBezTo>
                        <a:pt x="99678" y="18913"/>
                        <a:pt x="98145" y="17380"/>
                        <a:pt x="94567" y="16358"/>
                      </a:cubicBezTo>
                      <a:lnTo>
                        <a:pt x="92522" y="15846"/>
                      </a:lnTo>
                      <a:cubicBezTo>
                        <a:pt x="89966" y="15335"/>
                        <a:pt x="89455" y="14824"/>
                        <a:pt x="89455" y="13291"/>
                      </a:cubicBezTo>
                      <a:lnTo>
                        <a:pt x="89455" y="13291"/>
                      </a:lnTo>
                      <a:cubicBezTo>
                        <a:pt x="89455" y="11757"/>
                        <a:pt x="90477" y="10735"/>
                        <a:pt x="93033" y="10735"/>
                      </a:cubicBezTo>
                      <a:cubicBezTo>
                        <a:pt x="94056" y="10735"/>
                        <a:pt x="96100" y="10735"/>
                        <a:pt x="96611" y="11246"/>
                      </a:cubicBezTo>
                      <a:cubicBezTo>
                        <a:pt x="97123" y="11246"/>
                        <a:pt x="97123" y="11246"/>
                        <a:pt x="97634" y="11246"/>
                      </a:cubicBezTo>
                      <a:cubicBezTo>
                        <a:pt x="98145" y="11246"/>
                        <a:pt x="98145" y="11246"/>
                        <a:pt x="98145" y="10735"/>
                      </a:cubicBezTo>
                      <a:lnTo>
                        <a:pt x="98145" y="9712"/>
                      </a:lnTo>
                      <a:cubicBezTo>
                        <a:pt x="98145" y="9201"/>
                        <a:pt x="98656" y="8690"/>
                        <a:pt x="98656" y="8690"/>
                      </a:cubicBezTo>
                      <a:cubicBezTo>
                        <a:pt x="98656" y="8179"/>
                        <a:pt x="98656" y="8179"/>
                        <a:pt x="98145" y="8179"/>
                      </a:cubicBezTo>
                      <a:cubicBezTo>
                        <a:pt x="96611" y="7668"/>
                        <a:pt x="95078" y="7668"/>
                        <a:pt x="93033" y="7668"/>
                      </a:cubicBezTo>
                      <a:cubicBezTo>
                        <a:pt x="88433" y="7668"/>
                        <a:pt x="85877" y="9712"/>
                        <a:pt x="85877" y="13291"/>
                      </a:cubicBezTo>
                      <a:lnTo>
                        <a:pt x="85877" y="13802"/>
                      </a:lnTo>
                      <a:cubicBezTo>
                        <a:pt x="85877" y="17380"/>
                        <a:pt x="86899" y="18402"/>
                        <a:pt x="90989" y="19425"/>
                      </a:cubicBezTo>
                      <a:lnTo>
                        <a:pt x="93033" y="19936"/>
                      </a:lnTo>
                      <a:cubicBezTo>
                        <a:pt x="95078" y="20447"/>
                        <a:pt x="96100" y="20958"/>
                        <a:pt x="96100" y="23003"/>
                      </a:cubicBezTo>
                      <a:lnTo>
                        <a:pt x="96100" y="23003"/>
                      </a:lnTo>
                      <a:cubicBezTo>
                        <a:pt x="96100" y="25048"/>
                        <a:pt x="95078" y="26070"/>
                        <a:pt x="92011" y="26070"/>
                      </a:cubicBezTo>
                      <a:cubicBezTo>
                        <a:pt x="90477" y="26070"/>
                        <a:pt x="88944" y="26070"/>
                        <a:pt x="87921" y="25559"/>
                      </a:cubicBezTo>
                      <a:cubicBezTo>
                        <a:pt x="86899" y="25048"/>
                        <a:pt x="86899" y="25048"/>
                        <a:pt x="86388" y="25048"/>
                      </a:cubicBezTo>
                      <a:cubicBezTo>
                        <a:pt x="86388" y="25048"/>
                        <a:pt x="85877" y="25048"/>
                        <a:pt x="85877" y="25559"/>
                      </a:cubicBezTo>
                      <a:lnTo>
                        <a:pt x="85877" y="26070"/>
                      </a:lnTo>
                      <a:cubicBezTo>
                        <a:pt x="85877" y="26581"/>
                        <a:pt x="85366" y="27092"/>
                        <a:pt x="85366" y="27092"/>
                      </a:cubicBezTo>
                      <a:cubicBezTo>
                        <a:pt x="85366" y="27604"/>
                        <a:pt x="85366" y="27604"/>
                        <a:pt x="85877" y="27604"/>
                      </a:cubicBezTo>
                      <a:cubicBezTo>
                        <a:pt x="87921" y="28626"/>
                        <a:pt x="89966" y="29137"/>
                        <a:pt x="92011" y="29137"/>
                      </a:cubicBezTo>
                      <a:moveTo>
                        <a:pt x="73098" y="11246"/>
                      </a:moveTo>
                      <a:cubicBezTo>
                        <a:pt x="76676" y="11246"/>
                        <a:pt x="77698" y="12779"/>
                        <a:pt x="77698" y="17891"/>
                      </a:cubicBezTo>
                      <a:lnTo>
                        <a:pt x="77698" y="19425"/>
                      </a:lnTo>
                      <a:cubicBezTo>
                        <a:pt x="77698" y="24536"/>
                        <a:pt x="76676" y="26070"/>
                        <a:pt x="73098" y="26070"/>
                      </a:cubicBezTo>
                      <a:cubicBezTo>
                        <a:pt x="70030" y="26070"/>
                        <a:pt x="68497" y="25048"/>
                        <a:pt x="68497" y="21469"/>
                      </a:cubicBezTo>
                      <a:lnTo>
                        <a:pt x="68497" y="15846"/>
                      </a:lnTo>
                      <a:cubicBezTo>
                        <a:pt x="68497" y="12779"/>
                        <a:pt x="70030" y="11246"/>
                        <a:pt x="73098" y="11246"/>
                      </a:cubicBezTo>
                      <a:moveTo>
                        <a:pt x="68497" y="27604"/>
                      </a:moveTo>
                      <a:lnTo>
                        <a:pt x="68497" y="27604"/>
                      </a:lnTo>
                      <a:cubicBezTo>
                        <a:pt x="69519" y="28626"/>
                        <a:pt x="71053" y="29137"/>
                        <a:pt x="73609" y="29137"/>
                      </a:cubicBezTo>
                      <a:cubicBezTo>
                        <a:pt x="79743" y="29137"/>
                        <a:pt x="81787" y="25559"/>
                        <a:pt x="81787" y="19425"/>
                      </a:cubicBezTo>
                      <a:lnTo>
                        <a:pt x="81787" y="17380"/>
                      </a:lnTo>
                      <a:cubicBezTo>
                        <a:pt x="81787" y="10223"/>
                        <a:pt x="79232" y="7668"/>
                        <a:pt x="74120" y="7668"/>
                      </a:cubicBezTo>
                      <a:cubicBezTo>
                        <a:pt x="71053" y="7668"/>
                        <a:pt x="69008" y="8690"/>
                        <a:pt x="67986" y="10223"/>
                      </a:cubicBezTo>
                      <a:lnTo>
                        <a:pt x="67986" y="10223"/>
                      </a:lnTo>
                      <a:lnTo>
                        <a:pt x="67475" y="8690"/>
                      </a:lnTo>
                      <a:cubicBezTo>
                        <a:pt x="67475" y="8179"/>
                        <a:pt x="66963" y="8179"/>
                        <a:pt x="66963" y="8179"/>
                      </a:cubicBezTo>
                      <a:lnTo>
                        <a:pt x="65430" y="8179"/>
                      </a:lnTo>
                      <a:cubicBezTo>
                        <a:pt x="64919" y="8179"/>
                        <a:pt x="64919" y="8179"/>
                        <a:pt x="64919" y="8690"/>
                      </a:cubicBezTo>
                      <a:lnTo>
                        <a:pt x="64919" y="35271"/>
                      </a:lnTo>
                      <a:cubicBezTo>
                        <a:pt x="64919" y="35782"/>
                        <a:pt x="65430" y="35782"/>
                        <a:pt x="65941" y="35782"/>
                      </a:cubicBezTo>
                      <a:lnTo>
                        <a:pt x="67986" y="35782"/>
                      </a:lnTo>
                      <a:cubicBezTo>
                        <a:pt x="68497" y="35782"/>
                        <a:pt x="69008" y="35782"/>
                        <a:pt x="69008" y="35271"/>
                      </a:cubicBezTo>
                      <a:lnTo>
                        <a:pt x="69008" y="27604"/>
                      </a:lnTo>
                      <a:close/>
                      <a:moveTo>
                        <a:pt x="55718" y="22492"/>
                      </a:moveTo>
                      <a:cubicBezTo>
                        <a:pt x="55718" y="25048"/>
                        <a:pt x="54695" y="26070"/>
                        <a:pt x="51628" y="26070"/>
                      </a:cubicBezTo>
                      <a:lnTo>
                        <a:pt x="50095" y="26070"/>
                      </a:lnTo>
                      <a:cubicBezTo>
                        <a:pt x="48050" y="26070"/>
                        <a:pt x="47028" y="25048"/>
                        <a:pt x="47028" y="23003"/>
                      </a:cubicBezTo>
                      <a:lnTo>
                        <a:pt x="47028" y="22492"/>
                      </a:lnTo>
                      <a:cubicBezTo>
                        <a:pt x="47028" y="19936"/>
                        <a:pt x="48050" y="19425"/>
                        <a:pt x="51117" y="19425"/>
                      </a:cubicBezTo>
                      <a:lnTo>
                        <a:pt x="53162" y="19425"/>
                      </a:lnTo>
                      <a:cubicBezTo>
                        <a:pt x="53673" y="19425"/>
                        <a:pt x="54695" y="19425"/>
                        <a:pt x="55207" y="19425"/>
                      </a:cubicBezTo>
                      <a:lnTo>
                        <a:pt x="55207" y="22492"/>
                      </a:lnTo>
                      <a:close/>
                      <a:moveTo>
                        <a:pt x="56229" y="28115"/>
                      </a:moveTo>
                      <a:cubicBezTo>
                        <a:pt x="56229" y="28626"/>
                        <a:pt x="56740" y="28626"/>
                        <a:pt x="57251" y="28626"/>
                      </a:cubicBezTo>
                      <a:lnTo>
                        <a:pt x="58785" y="28626"/>
                      </a:lnTo>
                      <a:cubicBezTo>
                        <a:pt x="59296" y="28626"/>
                        <a:pt x="59296" y="28626"/>
                        <a:pt x="59296" y="28115"/>
                      </a:cubicBezTo>
                      <a:lnTo>
                        <a:pt x="59296" y="14824"/>
                      </a:lnTo>
                      <a:cubicBezTo>
                        <a:pt x="59296" y="9712"/>
                        <a:pt x="56740" y="7668"/>
                        <a:pt x="51628" y="7668"/>
                      </a:cubicBezTo>
                      <a:cubicBezTo>
                        <a:pt x="49584" y="7668"/>
                        <a:pt x="47028" y="8179"/>
                        <a:pt x="45494" y="8690"/>
                      </a:cubicBezTo>
                      <a:cubicBezTo>
                        <a:pt x="44983" y="8690"/>
                        <a:pt x="44983" y="9201"/>
                        <a:pt x="44983" y="9201"/>
                      </a:cubicBezTo>
                      <a:cubicBezTo>
                        <a:pt x="44983" y="9201"/>
                        <a:pt x="44983" y="9712"/>
                        <a:pt x="44983" y="10223"/>
                      </a:cubicBezTo>
                      <a:lnTo>
                        <a:pt x="44983" y="11246"/>
                      </a:lnTo>
                      <a:cubicBezTo>
                        <a:pt x="44983" y="11757"/>
                        <a:pt x="44983" y="11757"/>
                        <a:pt x="45494" y="11757"/>
                      </a:cubicBezTo>
                      <a:cubicBezTo>
                        <a:pt x="45494" y="11757"/>
                        <a:pt x="46005" y="11757"/>
                        <a:pt x="46517" y="11757"/>
                      </a:cubicBezTo>
                      <a:cubicBezTo>
                        <a:pt x="48050" y="11246"/>
                        <a:pt x="49584" y="11246"/>
                        <a:pt x="51117" y="11246"/>
                      </a:cubicBezTo>
                      <a:cubicBezTo>
                        <a:pt x="54184" y="11246"/>
                        <a:pt x="55207" y="11757"/>
                        <a:pt x="55207" y="14824"/>
                      </a:cubicBezTo>
                      <a:lnTo>
                        <a:pt x="55207" y="16358"/>
                      </a:lnTo>
                      <a:cubicBezTo>
                        <a:pt x="54695" y="16358"/>
                        <a:pt x="53673" y="16358"/>
                        <a:pt x="52651" y="16358"/>
                      </a:cubicBezTo>
                      <a:lnTo>
                        <a:pt x="51628" y="16358"/>
                      </a:lnTo>
                      <a:cubicBezTo>
                        <a:pt x="48050" y="16358"/>
                        <a:pt x="46517" y="16869"/>
                        <a:pt x="44983" y="17891"/>
                      </a:cubicBezTo>
                      <a:cubicBezTo>
                        <a:pt x="43450" y="18913"/>
                        <a:pt x="42938" y="20447"/>
                        <a:pt x="42938" y="23003"/>
                      </a:cubicBezTo>
                      <a:lnTo>
                        <a:pt x="42938" y="23514"/>
                      </a:lnTo>
                      <a:cubicBezTo>
                        <a:pt x="42938" y="27092"/>
                        <a:pt x="44983" y="29648"/>
                        <a:pt x="49072" y="29648"/>
                      </a:cubicBezTo>
                      <a:lnTo>
                        <a:pt x="50606" y="29648"/>
                      </a:lnTo>
                      <a:cubicBezTo>
                        <a:pt x="53162" y="29648"/>
                        <a:pt x="54695" y="29137"/>
                        <a:pt x="55718" y="27604"/>
                      </a:cubicBezTo>
                      <a:lnTo>
                        <a:pt x="55718" y="27604"/>
                      </a:lnTo>
                      <a:lnTo>
                        <a:pt x="56229" y="28115"/>
                      </a:lnTo>
                      <a:close/>
                      <a:moveTo>
                        <a:pt x="23003" y="28115"/>
                      </a:moveTo>
                      <a:cubicBezTo>
                        <a:pt x="23003" y="28626"/>
                        <a:pt x="23003" y="28626"/>
                        <a:pt x="24025" y="28626"/>
                      </a:cubicBezTo>
                      <a:lnTo>
                        <a:pt x="26070" y="28626"/>
                      </a:lnTo>
                      <a:cubicBezTo>
                        <a:pt x="26581" y="28626"/>
                        <a:pt x="27092" y="28626"/>
                        <a:pt x="27092" y="28115"/>
                      </a:cubicBezTo>
                      <a:lnTo>
                        <a:pt x="27092" y="15335"/>
                      </a:lnTo>
                      <a:cubicBezTo>
                        <a:pt x="27092" y="11757"/>
                        <a:pt x="28626" y="10735"/>
                        <a:pt x="31181" y="10735"/>
                      </a:cubicBezTo>
                      <a:cubicBezTo>
                        <a:pt x="34248" y="10735"/>
                        <a:pt x="35782" y="12268"/>
                        <a:pt x="35782" y="15846"/>
                      </a:cubicBezTo>
                      <a:lnTo>
                        <a:pt x="35782" y="28115"/>
                      </a:lnTo>
                      <a:cubicBezTo>
                        <a:pt x="35782" y="28626"/>
                        <a:pt x="35782" y="28626"/>
                        <a:pt x="36804" y="28626"/>
                      </a:cubicBezTo>
                      <a:lnTo>
                        <a:pt x="38849" y="28626"/>
                      </a:lnTo>
                      <a:cubicBezTo>
                        <a:pt x="39360" y="28626"/>
                        <a:pt x="39871" y="28626"/>
                        <a:pt x="39871" y="28115"/>
                      </a:cubicBezTo>
                      <a:lnTo>
                        <a:pt x="39871" y="16358"/>
                      </a:lnTo>
                      <a:cubicBezTo>
                        <a:pt x="39871" y="10223"/>
                        <a:pt x="37316" y="8179"/>
                        <a:pt x="32715" y="8179"/>
                      </a:cubicBezTo>
                      <a:cubicBezTo>
                        <a:pt x="29648" y="8179"/>
                        <a:pt x="28114" y="9201"/>
                        <a:pt x="26581" y="10735"/>
                      </a:cubicBezTo>
                      <a:lnTo>
                        <a:pt x="26581" y="10735"/>
                      </a:lnTo>
                      <a:lnTo>
                        <a:pt x="26581" y="9201"/>
                      </a:lnTo>
                      <a:cubicBezTo>
                        <a:pt x="26581" y="8690"/>
                        <a:pt x="26070" y="8690"/>
                        <a:pt x="25559" y="8690"/>
                      </a:cubicBezTo>
                      <a:lnTo>
                        <a:pt x="24025" y="8690"/>
                      </a:lnTo>
                      <a:cubicBezTo>
                        <a:pt x="23514" y="8690"/>
                        <a:pt x="23514" y="8690"/>
                        <a:pt x="23514" y="9201"/>
                      </a:cubicBezTo>
                      <a:lnTo>
                        <a:pt x="23514" y="28115"/>
                      </a:lnTo>
                      <a:close/>
                      <a:moveTo>
                        <a:pt x="5112" y="16358"/>
                      </a:moveTo>
                      <a:lnTo>
                        <a:pt x="7156" y="16358"/>
                      </a:lnTo>
                      <a:cubicBezTo>
                        <a:pt x="7668" y="16358"/>
                        <a:pt x="8179" y="16358"/>
                        <a:pt x="8179" y="16869"/>
                      </a:cubicBezTo>
                      <a:lnTo>
                        <a:pt x="14824" y="28115"/>
                      </a:lnTo>
                      <a:cubicBezTo>
                        <a:pt x="15335" y="28626"/>
                        <a:pt x="15335" y="28626"/>
                        <a:pt x="15846" y="28626"/>
                      </a:cubicBezTo>
                      <a:lnTo>
                        <a:pt x="18402" y="28626"/>
                      </a:lnTo>
                      <a:cubicBezTo>
                        <a:pt x="18913" y="28626"/>
                        <a:pt x="18913" y="28626"/>
                        <a:pt x="18913" y="28115"/>
                      </a:cubicBezTo>
                      <a:cubicBezTo>
                        <a:pt x="18913" y="27604"/>
                        <a:pt x="18402" y="27604"/>
                        <a:pt x="17891" y="26581"/>
                      </a:cubicBezTo>
                      <a:lnTo>
                        <a:pt x="10735" y="15335"/>
                      </a:lnTo>
                      <a:cubicBezTo>
                        <a:pt x="10735" y="14824"/>
                        <a:pt x="10223" y="14824"/>
                        <a:pt x="10223" y="14824"/>
                      </a:cubicBezTo>
                      <a:cubicBezTo>
                        <a:pt x="10223" y="14313"/>
                        <a:pt x="10223" y="14313"/>
                        <a:pt x="10735" y="14313"/>
                      </a:cubicBezTo>
                      <a:lnTo>
                        <a:pt x="18402" y="3067"/>
                      </a:lnTo>
                      <a:cubicBezTo>
                        <a:pt x="18402" y="2556"/>
                        <a:pt x="18913" y="2556"/>
                        <a:pt x="18913" y="2556"/>
                      </a:cubicBezTo>
                      <a:cubicBezTo>
                        <a:pt x="18913" y="2045"/>
                        <a:pt x="18913" y="2045"/>
                        <a:pt x="18402" y="2045"/>
                      </a:cubicBezTo>
                      <a:lnTo>
                        <a:pt x="15846" y="2045"/>
                      </a:lnTo>
                      <a:cubicBezTo>
                        <a:pt x="15335" y="2045"/>
                        <a:pt x="14824" y="2045"/>
                        <a:pt x="14313" y="2556"/>
                      </a:cubicBezTo>
                      <a:lnTo>
                        <a:pt x="7156" y="12779"/>
                      </a:lnTo>
                      <a:cubicBezTo>
                        <a:pt x="6645" y="13291"/>
                        <a:pt x="6645" y="13291"/>
                        <a:pt x="6134" y="13291"/>
                      </a:cubicBezTo>
                      <a:lnTo>
                        <a:pt x="4089" y="13291"/>
                      </a:lnTo>
                      <a:lnTo>
                        <a:pt x="4089" y="2556"/>
                      </a:lnTo>
                      <a:cubicBezTo>
                        <a:pt x="4089" y="2045"/>
                        <a:pt x="3578" y="1534"/>
                        <a:pt x="3067" y="1534"/>
                      </a:cubicBezTo>
                      <a:lnTo>
                        <a:pt x="1022" y="1534"/>
                      </a:lnTo>
                      <a:cubicBezTo>
                        <a:pt x="511" y="1534"/>
                        <a:pt x="0" y="1534"/>
                        <a:pt x="0" y="2556"/>
                      </a:cubicBezTo>
                      <a:lnTo>
                        <a:pt x="0" y="28115"/>
                      </a:lnTo>
                      <a:cubicBezTo>
                        <a:pt x="0" y="28626"/>
                        <a:pt x="511" y="29137"/>
                        <a:pt x="1022" y="29137"/>
                      </a:cubicBezTo>
                      <a:lnTo>
                        <a:pt x="3067" y="29137"/>
                      </a:lnTo>
                      <a:cubicBezTo>
                        <a:pt x="3578" y="29137"/>
                        <a:pt x="4089" y="29137"/>
                        <a:pt x="4089" y="28115"/>
                      </a:cubicBezTo>
                      <a:lnTo>
                        <a:pt x="4089" y="16358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0" name="Freihandform: Form 129">
                  <a:extLst>
                    <a:ext uri="{FF2B5EF4-FFF2-40B4-BE49-F238E27FC236}">
                      <a16:creationId xmlns:a16="http://schemas.microsoft.com/office/drawing/2014/main" id="{B4510AD7-A8D1-4CD3-B18C-7A591C1F2CBB}"/>
                    </a:ext>
                  </a:extLst>
                </p:cNvPr>
                <p:cNvSpPr/>
                <p:nvPr/>
              </p:nvSpPr>
              <p:spPr>
                <a:xfrm>
                  <a:off x="6450345" y="3122408"/>
                  <a:ext cx="178398" cy="30159"/>
                </a:xfrm>
                <a:custGeom>
                  <a:avLst/>
                  <a:gdLst>
                    <a:gd name="connsiteX0" fmla="*/ 178399 w 178398"/>
                    <a:gd name="connsiteY0" fmla="*/ 15846 h 30159"/>
                    <a:gd name="connsiteX1" fmla="*/ 171242 w 178398"/>
                    <a:gd name="connsiteY1" fmla="*/ 7668 h 30159"/>
                    <a:gd name="connsiteX2" fmla="*/ 165620 w 178398"/>
                    <a:gd name="connsiteY2" fmla="*/ 9201 h 30159"/>
                    <a:gd name="connsiteX3" fmla="*/ 165620 w 178398"/>
                    <a:gd name="connsiteY3" fmla="*/ 511 h 30159"/>
                    <a:gd name="connsiteX4" fmla="*/ 164597 w 178398"/>
                    <a:gd name="connsiteY4" fmla="*/ 0 h 30159"/>
                    <a:gd name="connsiteX5" fmla="*/ 162552 w 178398"/>
                    <a:gd name="connsiteY5" fmla="*/ 0 h 30159"/>
                    <a:gd name="connsiteX6" fmla="*/ 161530 w 178398"/>
                    <a:gd name="connsiteY6" fmla="*/ 511 h 30159"/>
                    <a:gd name="connsiteX7" fmla="*/ 161530 w 178398"/>
                    <a:gd name="connsiteY7" fmla="*/ 27604 h 30159"/>
                    <a:gd name="connsiteX8" fmla="*/ 162552 w 178398"/>
                    <a:gd name="connsiteY8" fmla="*/ 28115 h 30159"/>
                    <a:gd name="connsiteX9" fmla="*/ 164597 w 178398"/>
                    <a:gd name="connsiteY9" fmla="*/ 28115 h 30159"/>
                    <a:gd name="connsiteX10" fmla="*/ 165620 w 178398"/>
                    <a:gd name="connsiteY10" fmla="*/ 27604 h 30159"/>
                    <a:gd name="connsiteX11" fmla="*/ 165620 w 178398"/>
                    <a:gd name="connsiteY11" fmla="*/ 15335 h 30159"/>
                    <a:gd name="connsiteX12" fmla="*/ 169709 w 178398"/>
                    <a:gd name="connsiteY12" fmla="*/ 10735 h 30159"/>
                    <a:gd name="connsiteX13" fmla="*/ 174309 w 178398"/>
                    <a:gd name="connsiteY13" fmla="*/ 15846 h 30159"/>
                    <a:gd name="connsiteX14" fmla="*/ 174309 w 178398"/>
                    <a:gd name="connsiteY14" fmla="*/ 28115 h 30159"/>
                    <a:gd name="connsiteX15" fmla="*/ 175332 w 178398"/>
                    <a:gd name="connsiteY15" fmla="*/ 28626 h 30159"/>
                    <a:gd name="connsiteX16" fmla="*/ 177377 w 178398"/>
                    <a:gd name="connsiteY16" fmla="*/ 28626 h 30159"/>
                    <a:gd name="connsiteX17" fmla="*/ 178399 w 178398"/>
                    <a:gd name="connsiteY17" fmla="*/ 28115 h 30159"/>
                    <a:gd name="connsiteX18" fmla="*/ 178399 w 178398"/>
                    <a:gd name="connsiteY18" fmla="*/ 15846 h 30159"/>
                    <a:gd name="connsiteX19" fmla="*/ 156930 w 178398"/>
                    <a:gd name="connsiteY19" fmla="*/ 25559 h 30159"/>
                    <a:gd name="connsiteX20" fmla="*/ 156418 w 178398"/>
                    <a:gd name="connsiteY20" fmla="*/ 25048 h 30159"/>
                    <a:gd name="connsiteX21" fmla="*/ 155907 w 178398"/>
                    <a:gd name="connsiteY21" fmla="*/ 25048 h 30159"/>
                    <a:gd name="connsiteX22" fmla="*/ 151818 w 178398"/>
                    <a:gd name="connsiteY22" fmla="*/ 25559 h 30159"/>
                    <a:gd name="connsiteX23" fmla="*/ 147729 w 178398"/>
                    <a:gd name="connsiteY23" fmla="*/ 24025 h 30159"/>
                    <a:gd name="connsiteX24" fmla="*/ 146706 w 178398"/>
                    <a:gd name="connsiteY24" fmla="*/ 18402 h 30159"/>
                    <a:gd name="connsiteX25" fmla="*/ 146706 w 178398"/>
                    <a:gd name="connsiteY25" fmla="*/ 17891 h 30159"/>
                    <a:gd name="connsiteX26" fmla="*/ 148240 w 178398"/>
                    <a:gd name="connsiteY26" fmla="*/ 11757 h 30159"/>
                    <a:gd name="connsiteX27" fmla="*/ 151818 w 178398"/>
                    <a:gd name="connsiteY27" fmla="*/ 10735 h 30159"/>
                    <a:gd name="connsiteX28" fmla="*/ 156418 w 178398"/>
                    <a:gd name="connsiteY28" fmla="*/ 12268 h 30159"/>
                    <a:gd name="connsiteX29" fmla="*/ 156930 w 178398"/>
                    <a:gd name="connsiteY29" fmla="*/ 12268 h 30159"/>
                    <a:gd name="connsiteX30" fmla="*/ 157441 w 178398"/>
                    <a:gd name="connsiteY30" fmla="*/ 11757 h 30159"/>
                    <a:gd name="connsiteX31" fmla="*/ 157952 w 178398"/>
                    <a:gd name="connsiteY31" fmla="*/ 10735 h 30159"/>
                    <a:gd name="connsiteX32" fmla="*/ 158463 w 178398"/>
                    <a:gd name="connsiteY32" fmla="*/ 9712 h 30159"/>
                    <a:gd name="connsiteX33" fmla="*/ 157952 w 178398"/>
                    <a:gd name="connsiteY33" fmla="*/ 9201 h 30159"/>
                    <a:gd name="connsiteX34" fmla="*/ 151818 w 178398"/>
                    <a:gd name="connsiteY34" fmla="*/ 7668 h 30159"/>
                    <a:gd name="connsiteX35" fmla="*/ 145684 w 178398"/>
                    <a:gd name="connsiteY35" fmla="*/ 9712 h 30159"/>
                    <a:gd name="connsiteX36" fmla="*/ 143639 w 178398"/>
                    <a:gd name="connsiteY36" fmla="*/ 17380 h 30159"/>
                    <a:gd name="connsiteX37" fmla="*/ 143639 w 178398"/>
                    <a:gd name="connsiteY37" fmla="*/ 18913 h 30159"/>
                    <a:gd name="connsiteX38" fmla="*/ 146195 w 178398"/>
                    <a:gd name="connsiteY38" fmla="*/ 27092 h 30159"/>
                    <a:gd name="connsiteX39" fmla="*/ 152329 w 178398"/>
                    <a:gd name="connsiteY39" fmla="*/ 29137 h 30159"/>
                    <a:gd name="connsiteX40" fmla="*/ 157952 w 178398"/>
                    <a:gd name="connsiteY40" fmla="*/ 28115 h 30159"/>
                    <a:gd name="connsiteX41" fmla="*/ 158463 w 178398"/>
                    <a:gd name="connsiteY41" fmla="*/ 27604 h 30159"/>
                    <a:gd name="connsiteX42" fmla="*/ 158463 w 178398"/>
                    <a:gd name="connsiteY42" fmla="*/ 26581 h 30159"/>
                    <a:gd name="connsiteX43" fmla="*/ 156930 w 178398"/>
                    <a:gd name="connsiteY43" fmla="*/ 25559 h 30159"/>
                    <a:gd name="connsiteX44" fmla="*/ 134949 w 178398"/>
                    <a:gd name="connsiteY44" fmla="*/ 22492 h 30159"/>
                    <a:gd name="connsiteX45" fmla="*/ 130860 w 178398"/>
                    <a:gd name="connsiteY45" fmla="*/ 26070 h 30159"/>
                    <a:gd name="connsiteX46" fmla="*/ 129326 w 178398"/>
                    <a:gd name="connsiteY46" fmla="*/ 26070 h 30159"/>
                    <a:gd name="connsiteX47" fmla="*/ 126259 w 178398"/>
                    <a:gd name="connsiteY47" fmla="*/ 23003 h 30159"/>
                    <a:gd name="connsiteX48" fmla="*/ 126259 w 178398"/>
                    <a:gd name="connsiteY48" fmla="*/ 22492 h 30159"/>
                    <a:gd name="connsiteX49" fmla="*/ 130349 w 178398"/>
                    <a:gd name="connsiteY49" fmla="*/ 19425 h 30159"/>
                    <a:gd name="connsiteX50" fmla="*/ 132393 w 178398"/>
                    <a:gd name="connsiteY50" fmla="*/ 19425 h 30159"/>
                    <a:gd name="connsiteX51" fmla="*/ 134438 w 178398"/>
                    <a:gd name="connsiteY51" fmla="*/ 19425 h 30159"/>
                    <a:gd name="connsiteX52" fmla="*/ 134438 w 178398"/>
                    <a:gd name="connsiteY52" fmla="*/ 22492 h 30159"/>
                    <a:gd name="connsiteX53" fmla="*/ 135460 w 178398"/>
                    <a:gd name="connsiteY53" fmla="*/ 28115 h 30159"/>
                    <a:gd name="connsiteX54" fmla="*/ 136483 w 178398"/>
                    <a:gd name="connsiteY54" fmla="*/ 28626 h 30159"/>
                    <a:gd name="connsiteX55" fmla="*/ 138016 w 178398"/>
                    <a:gd name="connsiteY55" fmla="*/ 28626 h 30159"/>
                    <a:gd name="connsiteX56" fmla="*/ 138527 w 178398"/>
                    <a:gd name="connsiteY56" fmla="*/ 28115 h 30159"/>
                    <a:gd name="connsiteX57" fmla="*/ 138527 w 178398"/>
                    <a:gd name="connsiteY57" fmla="*/ 14824 h 30159"/>
                    <a:gd name="connsiteX58" fmla="*/ 130860 w 178398"/>
                    <a:gd name="connsiteY58" fmla="*/ 7668 h 30159"/>
                    <a:gd name="connsiteX59" fmla="*/ 124726 w 178398"/>
                    <a:gd name="connsiteY59" fmla="*/ 8690 h 30159"/>
                    <a:gd name="connsiteX60" fmla="*/ 124215 w 178398"/>
                    <a:gd name="connsiteY60" fmla="*/ 9201 h 30159"/>
                    <a:gd name="connsiteX61" fmla="*/ 124215 w 178398"/>
                    <a:gd name="connsiteY61" fmla="*/ 10223 h 30159"/>
                    <a:gd name="connsiteX62" fmla="*/ 124215 w 178398"/>
                    <a:gd name="connsiteY62" fmla="*/ 11246 h 30159"/>
                    <a:gd name="connsiteX63" fmla="*/ 124726 w 178398"/>
                    <a:gd name="connsiteY63" fmla="*/ 11757 h 30159"/>
                    <a:gd name="connsiteX64" fmla="*/ 125748 w 178398"/>
                    <a:gd name="connsiteY64" fmla="*/ 11757 h 30159"/>
                    <a:gd name="connsiteX65" fmla="*/ 130349 w 178398"/>
                    <a:gd name="connsiteY65" fmla="*/ 11246 h 30159"/>
                    <a:gd name="connsiteX66" fmla="*/ 134438 w 178398"/>
                    <a:gd name="connsiteY66" fmla="*/ 14824 h 30159"/>
                    <a:gd name="connsiteX67" fmla="*/ 134438 w 178398"/>
                    <a:gd name="connsiteY67" fmla="*/ 16358 h 30159"/>
                    <a:gd name="connsiteX68" fmla="*/ 131882 w 178398"/>
                    <a:gd name="connsiteY68" fmla="*/ 16358 h 30159"/>
                    <a:gd name="connsiteX69" fmla="*/ 130860 w 178398"/>
                    <a:gd name="connsiteY69" fmla="*/ 16358 h 30159"/>
                    <a:gd name="connsiteX70" fmla="*/ 124215 w 178398"/>
                    <a:gd name="connsiteY70" fmla="*/ 17891 h 30159"/>
                    <a:gd name="connsiteX71" fmla="*/ 122170 w 178398"/>
                    <a:gd name="connsiteY71" fmla="*/ 23003 h 30159"/>
                    <a:gd name="connsiteX72" fmla="*/ 122170 w 178398"/>
                    <a:gd name="connsiteY72" fmla="*/ 23514 h 30159"/>
                    <a:gd name="connsiteX73" fmla="*/ 128304 w 178398"/>
                    <a:gd name="connsiteY73" fmla="*/ 29648 h 30159"/>
                    <a:gd name="connsiteX74" fmla="*/ 129838 w 178398"/>
                    <a:gd name="connsiteY74" fmla="*/ 29648 h 30159"/>
                    <a:gd name="connsiteX75" fmla="*/ 134949 w 178398"/>
                    <a:gd name="connsiteY75" fmla="*/ 27604 h 30159"/>
                    <a:gd name="connsiteX76" fmla="*/ 134949 w 178398"/>
                    <a:gd name="connsiteY76" fmla="*/ 27604 h 30159"/>
                    <a:gd name="connsiteX77" fmla="*/ 135460 w 178398"/>
                    <a:gd name="connsiteY77" fmla="*/ 28115 h 30159"/>
                    <a:gd name="connsiteX78" fmla="*/ 102234 w 178398"/>
                    <a:gd name="connsiteY78" fmla="*/ 28115 h 30159"/>
                    <a:gd name="connsiteX79" fmla="*/ 103257 w 178398"/>
                    <a:gd name="connsiteY79" fmla="*/ 28626 h 30159"/>
                    <a:gd name="connsiteX80" fmla="*/ 105301 w 178398"/>
                    <a:gd name="connsiteY80" fmla="*/ 28626 h 30159"/>
                    <a:gd name="connsiteX81" fmla="*/ 106324 w 178398"/>
                    <a:gd name="connsiteY81" fmla="*/ 28115 h 30159"/>
                    <a:gd name="connsiteX82" fmla="*/ 106324 w 178398"/>
                    <a:gd name="connsiteY82" fmla="*/ 15335 h 30159"/>
                    <a:gd name="connsiteX83" fmla="*/ 110413 w 178398"/>
                    <a:gd name="connsiteY83" fmla="*/ 10735 h 30159"/>
                    <a:gd name="connsiteX84" fmla="*/ 115014 w 178398"/>
                    <a:gd name="connsiteY84" fmla="*/ 15846 h 30159"/>
                    <a:gd name="connsiteX85" fmla="*/ 115014 w 178398"/>
                    <a:gd name="connsiteY85" fmla="*/ 28115 h 30159"/>
                    <a:gd name="connsiteX86" fmla="*/ 116036 w 178398"/>
                    <a:gd name="connsiteY86" fmla="*/ 28626 h 30159"/>
                    <a:gd name="connsiteX87" fmla="*/ 118081 w 178398"/>
                    <a:gd name="connsiteY87" fmla="*/ 28626 h 30159"/>
                    <a:gd name="connsiteX88" fmla="*/ 119103 w 178398"/>
                    <a:gd name="connsiteY88" fmla="*/ 28115 h 30159"/>
                    <a:gd name="connsiteX89" fmla="*/ 119103 w 178398"/>
                    <a:gd name="connsiteY89" fmla="*/ 16358 h 30159"/>
                    <a:gd name="connsiteX90" fmla="*/ 111947 w 178398"/>
                    <a:gd name="connsiteY90" fmla="*/ 8179 h 30159"/>
                    <a:gd name="connsiteX91" fmla="*/ 105813 w 178398"/>
                    <a:gd name="connsiteY91" fmla="*/ 10735 h 30159"/>
                    <a:gd name="connsiteX92" fmla="*/ 105813 w 178398"/>
                    <a:gd name="connsiteY92" fmla="*/ 10735 h 30159"/>
                    <a:gd name="connsiteX93" fmla="*/ 105813 w 178398"/>
                    <a:gd name="connsiteY93" fmla="*/ 9201 h 30159"/>
                    <a:gd name="connsiteX94" fmla="*/ 104790 w 178398"/>
                    <a:gd name="connsiteY94" fmla="*/ 8690 h 30159"/>
                    <a:gd name="connsiteX95" fmla="*/ 103257 w 178398"/>
                    <a:gd name="connsiteY95" fmla="*/ 8690 h 30159"/>
                    <a:gd name="connsiteX96" fmla="*/ 102745 w 178398"/>
                    <a:gd name="connsiteY96" fmla="*/ 9201 h 30159"/>
                    <a:gd name="connsiteX97" fmla="*/ 102745 w 178398"/>
                    <a:gd name="connsiteY97" fmla="*/ 28115 h 30159"/>
                    <a:gd name="connsiteX98" fmla="*/ 91500 w 178398"/>
                    <a:gd name="connsiteY98" fmla="*/ 8690 h 30159"/>
                    <a:gd name="connsiteX99" fmla="*/ 90477 w 178398"/>
                    <a:gd name="connsiteY99" fmla="*/ 8179 h 30159"/>
                    <a:gd name="connsiteX100" fmla="*/ 88944 w 178398"/>
                    <a:gd name="connsiteY100" fmla="*/ 8179 h 30159"/>
                    <a:gd name="connsiteX101" fmla="*/ 88433 w 178398"/>
                    <a:gd name="connsiteY101" fmla="*/ 8690 h 30159"/>
                    <a:gd name="connsiteX102" fmla="*/ 88433 w 178398"/>
                    <a:gd name="connsiteY102" fmla="*/ 28115 h 30159"/>
                    <a:gd name="connsiteX103" fmla="*/ 89455 w 178398"/>
                    <a:gd name="connsiteY103" fmla="*/ 28626 h 30159"/>
                    <a:gd name="connsiteX104" fmla="*/ 91500 w 178398"/>
                    <a:gd name="connsiteY104" fmla="*/ 28626 h 30159"/>
                    <a:gd name="connsiteX105" fmla="*/ 92522 w 178398"/>
                    <a:gd name="connsiteY105" fmla="*/ 28115 h 30159"/>
                    <a:gd name="connsiteX106" fmla="*/ 92522 w 178398"/>
                    <a:gd name="connsiteY106" fmla="*/ 16358 h 30159"/>
                    <a:gd name="connsiteX107" fmla="*/ 93544 w 178398"/>
                    <a:gd name="connsiteY107" fmla="*/ 12779 h 30159"/>
                    <a:gd name="connsiteX108" fmla="*/ 97123 w 178398"/>
                    <a:gd name="connsiteY108" fmla="*/ 11757 h 30159"/>
                    <a:gd name="connsiteX109" fmla="*/ 98145 w 178398"/>
                    <a:gd name="connsiteY109" fmla="*/ 11757 h 30159"/>
                    <a:gd name="connsiteX110" fmla="*/ 99167 w 178398"/>
                    <a:gd name="connsiteY110" fmla="*/ 11246 h 30159"/>
                    <a:gd name="connsiteX111" fmla="*/ 99167 w 178398"/>
                    <a:gd name="connsiteY111" fmla="*/ 9201 h 30159"/>
                    <a:gd name="connsiteX112" fmla="*/ 98145 w 178398"/>
                    <a:gd name="connsiteY112" fmla="*/ 8690 h 30159"/>
                    <a:gd name="connsiteX113" fmla="*/ 97123 w 178398"/>
                    <a:gd name="connsiteY113" fmla="*/ 8690 h 30159"/>
                    <a:gd name="connsiteX114" fmla="*/ 92011 w 178398"/>
                    <a:gd name="connsiteY114" fmla="*/ 11246 h 30159"/>
                    <a:gd name="connsiteX115" fmla="*/ 92011 w 178398"/>
                    <a:gd name="connsiteY115" fmla="*/ 11246 h 30159"/>
                    <a:gd name="connsiteX116" fmla="*/ 91500 w 178398"/>
                    <a:gd name="connsiteY116" fmla="*/ 8690 h 30159"/>
                    <a:gd name="connsiteX117" fmla="*/ 71564 w 178398"/>
                    <a:gd name="connsiteY117" fmla="*/ 17380 h 30159"/>
                    <a:gd name="connsiteX118" fmla="*/ 75653 w 178398"/>
                    <a:gd name="connsiteY118" fmla="*/ 11246 h 30159"/>
                    <a:gd name="connsiteX119" fmla="*/ 79743 w 178398"/>
                    <a:gd name="connsiteY119" fmla="*/ 16869 h 30159"/>
                    <a:gd name="connsiteX120" fmla="*/ 79232 w 178398"/>
                    <a:gd name="connsiteY120" fmla="*/ 17380 h 30159"/>
                    <a:gd name="connsiteX121" fmla="*/ 71564 w 178398"/>
                    <a:gd name="connsiteY121" fmla="*/ 17380 h 30159"/>
                    <a:gd name="connsiteX122" fmla="*/ 83832 w 178398"/>
                    <a:gd name="connsiteY122" fmla="*/ 16358 h 30159"/>
                    <a:gd name="connsiteX123" fmla="*/ 76165 w 178398"/>
                    <a:gd name="connsiteY123" fmla="*/ 8179 h 30159"/>
                    <a:gd name="connsiteX124" fmla="*/ 67986 w 178398"/>
                    <a:gd name="connsiteY124" fmla="*/ 18402 h 30159"/>
                    <a:gd name="connsiteX125" fmla="*/ 67986 w 178398"/>
                    <a:gd name="connsiteY125" fmla="*/ 19936 h 30159"/>
                    <a:gd name="connsiteX126" fmla="*/ 76676 w 178398"/>
                    <a:gd name="connsiteY126" fmla="*/ 30159 h 30159"/>
                    <a:gd name="connsiteX127" fmla="*/ 82810 w 178398"/>
                    <a:gd name="connsiteY127" fmla="*/ 29137 h 30159"/>
                    <a:gd name="connsiteX128" fmla="*/ 83321 w 178398"/>
                    <a:gd name="connsiteY128" fmla="*/ 28626 h 30159"/>
                    <a:gd name="connsiteX129" fmla="*/ 83321 w 178398"/>
                    <a:gd name="connsiteY129" fmla="*/ 27604 h 30159"/>
                    <a:gd name="connsiteX130" fmla="*/ 82810 w 178398"/>
                    <a:gd name="connsiteY130" fmla="*/ 26581 h 30159"/>
                    <a:gd name="connsiteX131" fmla="*/ 82299 w 178398"/>
                    <a:gd name="connsiteY131" fmla="*/ 26070 h 30159"/>
                    <a:gd name="connsiteX132" fmla="*/ 81787 w 178398"/>
                    <a:gd name="connsiteY132" fmla="*/ 26070 h 30159"/>
                    <a:gd name="connsiteX133" fmla="*/ 77187 w 178398"/>
                    <a:gd name="connsiteY133" fmla="*/ 27092 h 30159"/>
                    <a:gd name="connsiteX134" fmla="*/ 72075 w 178398"/>
                    <a:gd name="connsiteY134" fmla="*/ 21469 h 30159"/>
                    <a:gd name="connsiteX135" fmla="*/ 82810 w 178398"/>
                    <a:gd name="connsiteY135" fmla="*/ 21469 h 30159"/>
                    <a:gd name="connsiteX136" fmla="*/ 83832 w 178398"/>
                    <a:gd name="connsiteY136" fmla="*/ 20447 h 30159"/>
                    <a:gd name="connsiteX137" fmla="*/ 83832 w 178398"/>
                    <a:gd name="connsiteY137" fmla="*/ 16358 h 30159"/>
                    <a:gd name="connsiteX138" fmla="*/ 63385 w 178398"/>
                    <a:gd name="connsiteY138" fmla="*/ 1022 h 30159"/>
                    <a:gd name="connsiteX139" fmla="*/ 62363 w 178398"/>
                    <a:gd name="connsiteY139" fmla="*/ 511 h 30159"/>
                    <a:gd name="connsiteX140" fmla="*/ 60318 w 178398"/>
                    <a:gd name="connsiteY140" fmla="*/ 511 h 30159"/>
                    <a:gd name="connsiteX141" fmla="*/ 59296 w 178398"/>
                    <a:gd name="connsiteY141" fmla="*/ 1022 h 30159"/>
                    <a:gd name="connsiteX142" fmla="*/ 59296 w 178398"/>
                    <a:gd name="connsiteY142" fmla="*/ 9201 h 30159"/>
                    <a:gd name="connsiteX143" fmla="*/ 59296 w 178398"/>
                    <a:gd name="connsiteY143" fmla="*/ 9201 h 30159"/>
                    <a:gd name="connsiteX144" fmla="*/ 54695 w 178398"/>
                    <a:gd name="connsiteY144" fmla="*/ 7668 h 30159"/>
                    <a:gd name="connsiteX145" fmla="*/ 46005 w 178398"/>
                    <a:gd name="connsiteY145" fmla="*/ 17380 h 30159"/>
                    <a:gd name="connsiteX146" fmla="*/ 46005 w 178398"/>
                    <a:gd name="connsiteY146" fmla="*/ 18913 h 30159"/>
                    <a:gd name="connsiteX147" fmla="*/ 54695 w 178398"/>
                    <a:gd name="connsiteY147" fmla="*/ 29137 h 30159"/>
                    <a:gd name="connsiteX148" fmla="*/ 63385 w 178398"/>
                    <a:gd name="connsiteY148" fmla="*/ 21469 h 30159"/>
                    <a:gd name="connsiteX149" fmla="*/ 63385 w 178398"/>
                    <a:gd name="connsiteY149" fmla="*/ 1022 h 30159"/>
                    <a:gd name="connsiteX150" fmla="*/ 59807 w 178398"/>
                    <a:gd name="connsiteY150" fmla="*/ 21469 h 30159"/>
                    <a:gd name="connsiteX151" fmla="*/ 55206 w 178398"/>
                    <a:gd name="connsiteY151" fmla="*/ 26070 h 30159"/>
                    <a:gd name="connsiteX152" fmla="*/ 50606 w 178398"/>
                    <a:gd name="connsiteY152" fmla="*/ 18913 h 30159"/>
                    <a:gd name="connsiteX153" fmla="*/ 50606 w 178398"/>
                    <a:gd name="connsiteY153" fmla="*/ 17891 h 30159"/>
                    <a:gd name="connsiteX154" fmla="*/ 55206 w 178398"/>
                    <a:gd name="connsiteY154" fmla="*/ 11246 h 30159"/>
                    <a:gd name="connsiteX155" fmla="*/ 59807 w 178398"/>
                    <a:gd name="connsiteY155" fmla="*/ 16358 h 30159"/>
                    <a:gd name="connsiteX156" fmla="*/ 59807 w 178398"/>
                    <a:gd name="connsiteY156" fmla="*/ 21469 h 30159"/>
                    <a:gd name="connsiteX157" fmla="*/ 25559 w 178398"/>
                    <a:gd name="connsiteY157" fmla="*/ 28115 h 30159"/>
                    <a:gd name="connsiteX158" fmla="*/ 26581 w 178398"/>
                    <a:gd name="connsiteY158" fmla="*/ 28626 h 30159"/>
                    <a:gd name="connsiteX159" fmla="*/ 28626 w 178398"/>
                    <a:gd name="connsiteY159" fmla="*/ 28626 h 30159"/>
                    <a:gd name="connsiteX160" fmla="*/ 29648 w 178398"/>
                    <a:gd name="connsiteY160" fmla="*/ 28115 h 30159"/>
                    <a:gd name="connsiteX161" fmla="*/ 29648 w 178398"/>
                    <a:gd name="connsiteY161" fmla="*/ 15335 h 30159"/>
                    <a:gd name="connsiteX162" fmla="*/ 34249 w 178398"/>
                    <a:gd name="connsiteY162" fmla="*/ 10735 h 30159"/>
                    <a:gd name="connsiteX163" fmla="*/ 38849 w 178398"/>
                    <a:gd name="connsiteY163" fmla="*/ 15846 h 30159"/>
                    <a:gd name="connsiteX164" fmla="*/ 38849 w 178398"/>
                    <a:gd name="connsiteY164" fmla="*/ 28115 h 30159"/>
                    <a:gd name="connsiteX165" fmla="*/ 39871 w 178398"/>
                    <a:gd name="connsiteY165" fmla="*/ 28626 h 30159"/>
                    <a:gd name="connsiteX166" fmla="*/ 41916 w 178398"/>
                    <a:gd name="connsiteY166" fmla="*/ 28626 h 30159"/>
                    <a:gd name="connsiteX167" fmla="*/ 42938 w 178398"/>
                    <a:gd name="connsiteY167" fmla="*/ 28115 h 30159"/>
                    <a:gd name="connsiteX168" fmla="*/ 42938 w 178398"/>
                    <a:gd name="connsiteY168" fmla="*/ 16358 h 30159"/>
                    <a:gd name="connsiteX169" fmla="*/ 35782 w 178398"/>
                    <a:gd name="connsiteY169" fmla="*/ 8179 h 30159"/>
                    <a:gd name="connsiteX170" fmla="*/ 29648 w 178398"/>
                    <a:gd name="connsiteY170" fmla="*/ 10735 h 30159"/>
                    <a:gd name="connsiteX171" fmla="*/ 29648 w 178398"/>
                    <a:gd name="connsiteY171" fmla="*/ 10735 h 30159"/>
                    <a:gd name="connsiteX172" fmla="*/ 29648 w 178398"/>
                    <a:gd name="connsiteY172" fmla="*/ 9201 h 30159"/>
                    <a:gd name="connsiteX173" fmla="*/ 28626 w 178398"/>
                    <a:gd name="connsiteY173" fmla="*/ 8690 h 30159"/>
                    <a:gd name="connsiteX174" fmla="*/ 27092 w 178398"/>
                    <a:gd name="connsiteY174" fmla="*/ 8690 h 30159"/>
                    <a:gd name="connsiteX175" fmla="*/ 26581 w 178398"/>
                    <a:gd name="connsiteY175" fmla="*/ 9201 h 30159"/>
                    <a:gd name="connsiteX176" fmla="*/ 26581 w 178398"/>
                    <a:gd name="connsiteY176" fmla="*/ 28115 h 30159"/>
                    <a:gd name="connsiteX177" fmla="*/ 11246 w 178398"/>
                    <a:gd name="connsiteY177" fmla="*/ 5623 h 30159"/>
                    <a:gd name="connsiteX178" fmla="*/ 14824 w 178398"/>
                    <a:gd name="connsiteY178" fmla="*/ 17891 h 30159"/>
                    <a:gd name="connsiteX179" fmla="*/ 7156 w 178398"/>
                    <a:gd name="connsiteY179" fmla="*/ 17891 h 30159"/>
                    <a:gd name="connsiteX180" fmla="*/ 11246 w 178398"/>
                    <a:gd name="connsiteY180" fmla="*/ 5623 h 30159"/>
                    <a:gd name="connsiteX181" fmla="*/ 11246 w 178398"/>
                    <a:gd name="connsiteY181" fmla="*/ 5623 h 30159"/>
                    <a:gd name="connsiteX182" fmla="*/ 10223 w 178398"/>
                    <a:gd name="connsiteY182" fmla="*/ 1533 h 30159"/>
                    <a:gd name="connsiteX183" fmla="*/ 8179 w 178398"/>
                    <a:gd name="connsiteY183" fmla="*/ 3067 h 30159"/>
                    <a:gd name="connsiteX184" fmla="*/ 511 w 178398"/>
                    <a:gd name="connsiteY184" fmla="*/ 27092 h 30159"/>
                    <a:gd name="connsiteX185" fmla="*/ 0 w 178398"/>
                    <a:gd name="connsiteY185" fmla="*/ 28626 h 30159"/>
                    <a:gd name="connsiteX186" fmla="*/ 1022 w 178398"/>
                    <a:gd name="connsiteY186" fmla="*/ 29137 h 30159"/>
                    <a:gd name="connsiteX187" fmla="*/ 3067 w 178398"/>
                    <a:gd name="connsiteY187" fmla="*/ 29137 h 30159"/>
                    <a:gd name="connsiteX188" fmla="*/ 4601 w 178398"/>
                    <a:gd name="connsiteY188" fmla="*/ 28115 h 30159"/>
                    <a:gd name="connsiteX189" fmla="*/ 6134 w 178398"/>
                    <a:gd name="connsiteY189" fmla="*/ 21469 h 30159"/>
                    <a:gd name="connsiteX190" fmla="*/ 15846 w 178398"/>
                    <a:gd name="connsiteY190" fmla="*/ 21469 h 30159"/>
                    <a:gd name="connsiteX191" fmla="*/ 17380 w 178398"/>
                    <a:gd name="connsiteY191" fmla="*/ 28115 h 30159"/>
                    <a:gd name="connsiteX192" fmla="*/ 18913 w 178398"/>
                    <a:gd name="connsiteY192" fmla="*/ 29137 h 30159"/>
                    <a:gd name="connsiteX193" fmla="*/ 20958 w 178398"/>
                    <a:gd name="connsiteY193" fmla="*/ 29137 h 30159"/>
                    <a:gd name="connsiteX194" fmla="*/ 21980 w 178398"/>
                    <a:gd name="connsiteY194" fmla="*/ 28626 h 30159"/>
                    <a:gd name="connsiteX195" fmla="*/ 21469 w 178398"/>
                    <a:gd name="connsiteY195" fmla="*/ 27092 h 30159"/>
                    <a:gd name="connsiteX196" fmla="*/ 13802 w 178398"/>
                    <a:gd name="connsiteY196" fmla="*/ 3067 h 30159"/>
                    <a:gd name="connsiteX197" fmla="*/ 11757 w 178398"/>
                    <a:gd name="connsiteY197" fmla="*/ 1533 h 30159"/>
                    <a:gd name="connsiteX198" fmla="*/ 10223 w 178398"/>
                    <a:gd name="connsiteY198" fmla="*/ 1533 h 30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</a:cxnLst>
                  <a:rect l="l" t="t" r="r" b="b"/>
                  <a:pathLst>
                    <a:path w="178398" h="30159">
                      <a:moveTo>
                        <a:pt x="178399" y="15846"/>
                      </a:moveTo>
                      <a:cubicBezTo>
                        <a:pt x="178399" y="9712"/>
                        <a:pt x="175843" y="7668"/>
                        <a:pt x="171242" y="7668"/>
                      </a:cubicBezTo>
                      <a:cubicBezTo>
                        <a:pt x="168687" y="7668"/>
                        <a:pt x="166642" y="8179"/>
                        <a:pt x="165620" y="9201"/>
                      </a:cubicBezTo>
                      <a:lnTo>
                        <a:pt x="165620" y="511"/>
                      </a:lnTo>
                      <a:cubicBezTo>
                        <a:pt x="165620" y="0"/>
                        <a:pt x="165620" y="0"/>
                        <a:pt x="164597" y="0"/>
                      </a:cubicBezTo>
                      <a:lnTo>
                        <a:pt x="162552" y="0"/>
                      </a:lnTo>
                      <a:cubicBezTo>
                        <a:pt x="162041" y="0"/>
                        <a:pt x="161530" y="0"/>
                        <a:pt x="161530" y="511"/>
                      </a:cubicBezTo>
                      <a:lnTo>
                        <a:pt x="161530" y="27604"/>
                      </a:lnTo>
                      <a:cubicBezTo>
                        <a:pt x="161530" y="28115"/>
                        <a:pt x="162041" y="28115"/>
                        <a:pt x="162552" y="28115"/>
                      </a:cubicBezTo>
                      <a:lnTo>
                        <a:pt x="164597" y="28115"/>
                      </a:lnTo>
                      <a:cubicBezTo>
                        <a:pt x="165108" y="28115"/>
                        <a:pt x="165620" y="28115"/>
                        <a:pt x="165620" y="27604"/>
                      </a:cubicBezTo>
                      <a:lnTo>
                        <a:pt x="165620" y="15335"/>
                      </a:lnTo>
                      <a:cubicBezTo>
                        <a:pt x="165620" y="12268"/>
                        <a:pt x="167153" y="10735"/>
                        <a:pt x="169709" y="10735"/>
                      </a:cubicBezTo>
                      <a:cubicBezTo>
                        <a:pt x="172776" y="10735"/>
                        <a:pt x="174309" y="11757"/>
                        <a:pt x="174309" y="15846"/>
                      </a:cubicBezTo>
                      <a:lnTo>
                        <a:pt x="174309" y="28115"/>
                      </a:lnTo>
                      <a:cubicBezTo>
                        <a:pt x="174309" y="28626"/>
                        <a:pt x="174821" y="28626"/>
                        <a:pt x="175332" y="28626"/>
                      </a:cubicBezTo>
                      <a:lnTo>
                        <a:pt x="177377" y="28626"/>
                      </a:lnTo>
                      <a:cubicBezTo>
                        <a:pt x="177888" y="28626"/>
                        <a:pt x="178399" y="28626"/>
                        <a:pt x="178399" y="28115"/>
                      </a:cubicBezTo>
                      <a:lnTo>
                        <a:pt x="178399" y="15846"/>
                      </a:lnTo>
                      <a:close/>
                      <a:moveTo>
                        <a:pt x="156930" y="25559"/>
                      </a:moveTo>
                      <a:cubicBezTo>
                        <a:pt x="156930" y="25048"/>
                        <a:pt x="156418" y="25048"/>
                        <a:pt x="156418" y="25048"/>
                      </a:cubicBezTo>
                      <a:cubicBezTo>
                        <a:pt x="156418" y="25048"/>
                        <a:pt x="155907" y="25048"/>
                        <a:pt x="155907" y="25048"/>
                      </a:cubicBezTo>
                      <a:cubicBezTo>
                        <a:pt x="154885" y="25559"/>
                        <a:pt x="153351" y="25559"/>
                        <a:pt x="151818" y="25559"/>
                      </a:cubicBezTo>
                      <a:cubicBezTo>
                        <a:pt x="150284" y="25559"/>
                        <a:pt x="148751" y="25048"/>
                        <a:pt x="147729" y="24025"/>
                      </a:cubicBezTo>
                      <a:cubicBezTo>
                        <a:pt x="146706" y="23003"/>
                        <a:pt x="146706" y="21469"/>
                        <a:pt x="146706" y="18402"/>
                      </a:cubicBezTo>
                      <a:lnTo>
                        <a:pt x="146706" y="17891"/>
                      </a:lnTo>
                      <a:cubicBezTo>
                        <a:pt x="146706" y="14824"/>
                        <a:pt x="146706" y="13290"/>
                        <a:pt x="148240" y="11757"/>
                      </a:cubicBezTo>
                      <a:cubicBezTo>
                        <a:pt x="149262" y="11246"/>
                        <a:pt x="150284" y="10735"/>
                        <a:pt x="151818" y="10735"/>
                      </a:cubicBezTo>
                      <a:cubicBezTo>
                        <a:pt x="153351" y="10735"/>
                        <a:pt x="154885" y="11246"/>
                        <a:pt x="156418" y="12268"/>
                      </a:cubicBezTo>
                      <a:cubicBezTo>
                        <a:pt x="156418" y="12268"/>
                        <a:pt x="156930" y="12268"/>
                        <a:pt x="156930" y="12268"/>
                      </a:cubicBezTo>
                      <a:cubicBezTo>
                        <a:pt x="156930" y="12268"/>
                        <a:pt x="157441" y="12268"/>
                        <a:pt x="157441" y="11757"/>
                      </a:cubicBezTo>
                      <a:lnTo>
                        <a:pt x="157952" y="10735"/>
                      </a:lnTo>
                      <a:cubicBezTo>
                        <a:pt x="158463" y="10223"/>
                        <a:pt x="158463" y="9712"/>
                        <a:pt x="158463" y="9712"/>
                      </a:cubicBezTo>
                      <a:cubicBezTo>
                        <a:pt x="158463" y="9712"/>
                        <a:pt x="158463" y="9201"/>
                        <a:pt x="157952" y="9201"/>
                      </a:cubicBezTo>
                      <a:cubicBezTo>
                        <a:pt x="156418" y="8179"/>
                        <a:pt x="153863" y="7668"/>
                        <a:pt x="151818" y="7668"/>
                      </a:cubicBezTo>
                      <a:cubicBezTo>
                        <a:pt x="149262" y="7668"/>
                        <a:pt x="147217" y="8179"/>
                        <a:pt x="145684" y="9712"/>
                      </a:cubicBezTo>
                      <a:cubicBezTo>
                        <a:pt x="144150" y="11246"/>
                        <a:pt x="143639" y="13290"/>
                        <a:pt x="143639" y="17380"/>
                      </a:cubicBezTo>
                      <a:lnTo>
                        <a:pt x="143639" y="18913"/>
                      </a:lnTo>
                      <a:cubicBezTo>
                        <a:pt x="143639" y="22492"/>
                        <a:pt x="144150" y="25559"/>
                        <a:pt x="146195" y="27092"/>
                      </a:cubicBezTo>
                      <a:cubicBezTo>
                        <a:pt x="147217" y="28115"/>
                        <a:pt x="149773" y="29137"/>
                        <a:pt x="152329" y="29137"/>
                      </a:cubicBezTo>
                      <a:cubicBezTo>
                        <a:pt x="154374" y="29137"/>
                        <a:pt x="156418" y="28626"/>
                        <a:pt x="157952" y="28115"/>
                      </a:cubicBezTo>
                      <a:cubicBezTo>
                        <a:pt x="158463" y="28115"/>
                        <a:pt x="158463" y="27604"/>
                        <a:pt x="158463" y="27604"/>
                      </a:cubicBezTo>
                      <a:cubicBezTo>
                        <a:pt x="158463" y="27604"/>
                        <a:pt x="158463" y="27092"/>
                        <a:pt x="158463" y="26581"/>
                      </a:cubicBezTo>
                      <a:lnTo>
                        <a:pt x="156930" y="25559"/>
                      </a:lnTo>
                      <a:close/>
                      <a:moveTo>
                        <a:pt x="134949" y="22492"/>
                      </a:moveTo>
                      <a:cubicBezTo>
                        <a:pt x="134949" y="25048"/>
                        <a:pt x="133927" y="26070"/>
                        <a:pt x="130860" y="26070"/>
                      </a:cubicBezTo>
                      <a:lnTo>
                        <a:pt x="129326" y="26070"/>
                      </a:lnTo>
                      <a:cubicBezTo>
                        <a:pt x="127282" y="26070"/>
                        <a:pt x="126259" y="25048"/>
                        <a:pt x="126259" y="23003"/>
                      </a:cubicBezTo>
                      <a:lnTo>
                        <a:pt x="126259" y="22492"/>
                      </a:lnTo>
                      <a:cubicBezTo>
                        <a:pt x="126259" y="19936"/>
                        <a:pt x="127282" y="19425"/>
                        <a:pt x="130349" y="19425"/>
                      </a:cubicBezTo>
                      <a:lnTo>
                        <a:pt x="132393" y="19425"/>
                      </a:lnTo>
                      <a:cubicBezTo>
                        <a:pt x="132905" y="19425"/>
                        <a:pt x="133927" y="19425"/>
                        <a:pt x="134438" y="19425"/>
                      </a:cubicBezTo>
                      <a:lnTo>
                        <a:pt x="134438" y="22492"/>
                      </a:lnTo>
                      <a:close/>
                      <a:moveTo>
                        <a:pt x="135460" y="28115"/>
                      </a:moveTo>
                      <a:cubicBezTo>
                        <a:pt x="135460" y="28626"/>
                        <a:pt x="135972" y="28626"/>
                        <a:pt x="136483" y="28626"/>
                      </a:cubicBezTo>
                      <a:lnTo>
                        <a:pt x="138016" y="28626"/>
                      </a:lnTo>
                      <a:cubicBezTo>
                        <a:pt x="138527" y="28626"/>
                        <a:pt x="138527" y="28626"/>
                        <a:pt x="138527" y="28115"/>
                      </a:cubicBezTo>
                      <a:lnTo>
                        <a:pt x="138527" y="14824"/>
                      </a:lnTo>
                      <a:cubicBezTo>
                        <a:pt x="138527" y="9712"/>
                        <a:pt x="135972" y="7668"/>
                        <a:pt x="130860" y="7668"/>
                      </a:cubicBezTo>
                      <a:cubicBezTo>
                        <a:pt x="128815" y="7668"/>
                        <a:pt x="126259" y="8179"/>
                        <a:pt x="124726" y="8690"/>
                      </a:cubicBezTo>
                      <a:cubicBezTo>
                        <a:pt x="124215" y="8690"/>
                        <a:pt x="124215" y="9201"/>
                        <a:pt x="124215" y="9201"/>
                      </a:cubicBezTo>
                      <a:cubicBezTo>
                        <a:pt x="124215" y="9201"/>
                        <a:pt x="124215" y="9712"/>
                        <a:pt x="124215" y="10223"/>
                      </a:cubicBezTo>
                      <a:lnTo>
                        <a:pt x="124215" y="11246"/>
                      </a:lnTo>
                      <a:cubicBezTo>
                        <a:pt x="124215" y="11757"/>
                        <a:pt x="124726" y="11757"/>
                        <a:pt x="124726" y="11757"/>
                      </a:cubicBezTo>
                      <a:cubicBezTo>
                        <a:pt x="124726" y="11757"/>
                        <a:pt x="125237" y="11757"/>
                        <a:pt x="125748" y="11757"/>
                      </a:cubicBezTo>
                      <a:cubicBezTo>
                        <a:pt x="127282" y="11246"/>
                        <a:pt x="128815" y="11246"/>
                        <a:pt x="130349" y="11246"/>
                      </a:cubicBezTo>
                      <a:cubicBezTo>
                        <a:pt x="133416" y="11246"/>
                        <a:pt x="134438" y="11757"/>
                        <a:pt x="134438" y="14824"/>
                      </a:cubicBezTo>
                      <a:lnTo>
                        <a:pt x="134438" y="16358"/>
                      </a:lnTo>
                      <a:cubicBezTo>
                        <a:pt x="133927" y="16358"/>
                        <a:pt x="132905" y="16358"/>
                        <a:pt x="131882" y="16358"/>
                      </a:cubicBezTo>
                      <a:lnTo>
                        <a:pt x="130860" y="16358"/>
                      </a:lnTo>
                      <a:cubicBezTo>
                        <a:pt x="127282" y="16358"/>
                        <a:pt x="125748" y="16869"/>
                        <a:pt x="124215" y="17891"/>
                      </a:cubicBezTo>
                      <a:cubicBezTo>
                        <a:pt x="122681" y="18913"/>
                        <a:pt x="122170" y="20447"/>
                        <a:pt x="122170" y="23003"/>
                      </a:cubicBezTo>
                      <a:lnTo>
                        <a:pt x="122170" y="23514"/>
                      </a:lnTo>
                      <a:cubicBezTo>
                        <a:pt x="122170" y="27092"/>
                        <a:pt x="124215" y="29648"/>
                        <a:pt x="128304" y="29648"/>
                      </a:cubicBezTo>
                      <a:lnTo>
                        <a:pt x="129838" y="29648"/>
                      </a:lnTo>
                      <a:cubicBezTo>
                        <a:pt x="132393" y="29648"/>
                        <a:pt x="133927" y="29137"/>
                        <a:pt x="134949" y="27604"/>
                      </a:cubicBezTo>
                      <a:lnTo>
                        <a:pt x="134949" y="27604"/>
                      </a:lnTo>
                      <a:lnTo>
                        <a:pt x="135460" y="28115"/>
                      </a:lnTo>
                      <a:close/>
                      <a:moveTo>
                        <a:pt x="102234" y="28115"/>
                      </a:moveTo>
                      <a:cubicBezTo>
                        <a:pt x="102234" y="28626"/>
                        <a:pt x="102745" y="28626"/>
                        <a:pt x="103257" y="28626"/>
                      </a:cubicBezTo>
                      <a:lnTo>
                        <a:pt x="105301" y="28626"/>
                      </a:lnTo>
                      <a:cubicBezTo>
                        <a:pt x="105813" y="28626"/>
                        <a:pt x="106324" y="28626"/>
                        <a:pt x="106324" y="28115"/>
                      </a:cubicBezTo>
                      <a:lnTo>
                        <a:pt x="106324" y="15335"/>
                      </a:lnTo>
                      <a:cubicBezTo>
                        <a:pt x="106324" y="11757"/>
                        <a:pt x="107857" y="10735"/>
                        <a:pt x="110413" y="10735"/>
                      </a:cubicBezTo>
                      <a:cubicBezTo>
                        <a:pt x="113480" y="10735"/>
                        <a:pt x="115014" y="12268"/>
                        <a:pt x="115014" y="15846"/>
                      </a:cubicBezTo>
                      <a:lnTo>
                        <a:pt x="115014" y="28115"/>
                      </a:lnTo>
                      <a:cubicBezTo>
                        <a:pt x="115014" y="28626"/>
                        <a:pt x="115525" y="28626"/>
                        <a:pt x="116036" y="28626"/>
                      </a:cubicBezTo>
                      <a:lnTo>
                        <a:pt x="118081" y="28626"/>
                      </a:lnTo>
                      <a:cubicBezTo>
                        <a:pt x="118592" y="28626"/>
                        <a:pt x="119103" y="28626"/>
                        <a:pt x="119103" y="28115"/>
                      </a:cubicBezTo>
                      <a:lnTo>
                        <a:pt x="119103" y="16358"/>
                      </a:lnTo>
                      <a:cubicBezTo>
                        <a:pt x="119103" y="10223"/>
                        <a:pt x="116547" y="8179"/>
                        <a:pt x="111947" y="8179"/>
                      </a:cubicBezTo>
                      <a:cubicBezTo>
                        <a:pt x="108879" y="8179"/>
                        <a:pt x="107346" y="9201"/>
                        <a:pt x="105813" y="10735"/>
                      </a:cubicBezTo>
                      <a:lnTo>
                        <a:pt x="105813" y="10735"/>
                      </a:lnTo>
                      <a:lnTo>
                        <a:pt x="105813" y="9201"/>
                      </a:lnTo>
                      <a:cubicBezTo>
                        <a:pt x="105813" y="8690"/>
                        <a:pt x="105301" y="8690"/>
                        <a:pt x="104790" y="8690"/>
                      </a:cubicBezTo>
                      <a:lnTo>
                        <a:pt x="103257" y="8690"/>
                      </a:lnTo>
                      <a:cubicBezTo>
                        <a:pt x="102745" y="8690"/>
                        <a:pt x="102745" y="8690"/>
                        <a:pt x="102745" y="9201"/>
                      </a:cubicBezTo>
                      <a:lnTo>
                        <a:pt x="102745" y="28115"/>
                      </a:lnTo>
                      <a:close/>
                      <a:moveTo>
                        <a:pt x="91500" y="8690"/>
                      </a:moveTo>
                      <a:cubicBezTo>
                        <a:pt x="91500" y="8179"/>
                        <a:pt x="90988" y="8179"/>
                        <a:pt x="90477" y="8179"/>
                      </a:cubicBezTo>
                      <a:lnTo>
                        <a:pt x="88944" y="8179"/>
                      </a:lnTo>
                      <a:cubicBezTo>
                        <a:pt x="88433" y="8179"/>
                        <a:pt x="88433" y="8179"/>
                        <a:pt x="88433" y="8690"/>
                      </a:cubicBezTo>
                      <a:lnTo>
                        <a:pt x="88433" y="28115"/>
                      </a:lnTo>
                      <a:cubicBezTo>
                        <a:pt x="88433" y="28626"/>
                        <a:pt x="88433" y="28626"/>
                        <a:pt x="89455" y="28626"/>
                      </a:cubicBezTo>
                      <a:lnTo>
                        <a:pt x="91500" y="28626"/>
                      </a:lnTo>
                      <a:cubicBezTo>
                        <a:pt x="92011" y="28626"/>
                        <a:pt x="92522" y="28626"/>
                        <a:pt x="92522" y="28115"/>
                      </a:cubicBezTo>
                      <a:lnTo>
                        <a:pt x="92522" y="16358"/>
                      </a:lnTo>
                      <a:cubicBezTo>
                        <a:pt x="92522" y="14824"/>
                        <a:pt x="93033" y="13290"/>
                        <a:pt x="93544" y="12779"/>
                      </a:cubicBezTo>
                      <a:cubicBezTo>
                        <a:pt x="94056" y="11757"/>
                        <a:pt x="95078" y="11757"/>
                        <a:pt x="97123" y="11757"/>
                      </a:cubicBezTo>
                      <a:lnTo>
                        <a:pt x="98145" y="11757"/>
                      </a:lnTo>
                      <a:cubicBezTo>
                        <a:pt x="98656" y="11757"/>
                        <a:pt x="99167" y="11757"/>
                        <a:pt x="99167" y="11246"/>
                      </a:cubicBezTo>
                      <a:lnTo>
                        <a:pt x="99167" y="9201"/>
                      </a:lnTo>
                      <a:cubicBezTo>
                        <a:pt x="99167" y="8690"/>
                        <a:pt x="99167" y="8690"/>
                        <a:pt x="98145" y="8690"/>
                      </a:cubicBezTo>
                      <a:lnTo>
                        <a:pt x="97123" y="8690"/>
                      </a:lnTo>
                      <a:cubicBezTo>
                        <a:pt x="94567" y="8690"/>
                        <a:pt x="93033" y="9712"/>
                        <a:pt x="92011" y="11246"/>
                      </a:cubicBezTo>
                      <a:lnTo>
                        <a:pt x="92011" y="11246"/>
                      </a:lnTo>
                      <a:lnTo>
                        <a:pt x="91500" y="8690"/>
                      </a:lnTo>
                      <a:close/>
                      <a:moveTo>
                        <a:pt x="71564" y="17380"/>
                      </a:moveTo>
                      <a:cubicBezTo>
                        <a:pt x="71564" y="13290"/>
                        <a:pt x="72075" y="11246"/>
                        <a:pt x="75653" y="11246"/>
                      </a:cubicBezTo>
                      <a:cubicBezTo>
                        <a:pt x="78720" y="11246"/>
                        <a:pt x="79743" y="12779"/>
                        <a:pt x="79743" y="16869"/>
                      </a:cubicBezTo>
                      <a:cubicBezTo>
                        <a:pt x="79743" y="17380"/>
                        <a:pt x="79743" y="17380"/>
                        <a:pt x="79232" y="17380"/>
                      </a:cubicBezTo>
                      <a:lnTo>
                        <a:pt x="71564" y="17380"/>
                      </a:lnTo>
                      <a:close/>
                      <a:moveTo>
                        <a:pt x="83832" y="16358"/>
                      </a:moveTo>
                      <a:cubicBezTo>
                        <a:pt x="83832" y="10223"/>
                        <a:pt x="81276" y="8179"/>
                        <a:pt x="76165" y="8179"/>
                      </a:cubicBezTo>
                      <a:cubicBezTo>
                        <a:pt x="70031" y="8179"/>
                        <a:pt x="67986" y="11757"/>
                        <a:pt x="67986" y="18402"/>
                      </a:cubicBezTo>
                      <a:lnTo>
                        <a:pt x="67986" y="19936"/>
                      </a:lnTo>
                      <a:cubicBezTo>
                        <a:pt x="67986" y="27092"/>
                        <a:pt x="70031" y="30159"/>
                        <a:pt x="76676" y="30159"/>
                      </a:cubicBezTo>
                      <a:cubicBezTo>
                        <a:pt x="78720" y="30159"/>
                        <a:pt x="81276" y="29648"/>
                        <a:pt x="82810" y="29137"/>
                      </a:cubicBezTo>
                      <a:cubicBezTo>
                        <a:pt x="83321" y="29137"/>
                        <a:pt x="83321" y="28626"/>
                        <a:pt x="83321" y="28626"/>
                      </a:cubicBezTo>
                      <a:cubicBezTo>
                        <a:pt x="83321" y="28626"/>
                        <a:pt x="83321" y="28115"/>
                        <a:pt x="83321" y="27604"/>
                      </a:cubicBezTo>
                      <a:lnTo>
                        <a:pt x="82810" y="26581"/>
                      </a:lnTo>
                      <a:cubicBezTo>
                        <a:pt x="82810" y="26070"/>
                        <a:pt x="82299" y="26070"/>
                        <a:pt x="82299" y="26070"/>
                      </a:cubicBezTo>
                      <a:cubicBezTo>
                        <a:pt x="82299" y="26070"/>
                        <a:pt x="81787" y="26070"/>
                        <a:pt x="81787" y="26070"/>
                      </a:cubicBezTo>
                      <a:cubicBezTo>
                        <a:pt x="80765" y="26581"/>
                        <a:pt x="78720" y="27092"/>
                        <a:pt x="77187" y="27092"/>
                      </a:cubicBezTo>
                      <a:cubicBezTo>
                        <a:pt x="73097" y="27092"/>
                        <a:pt x="72075" y="25559"/>
                        <a:pt x="72075" y="21469"/>
                      </a:cubicBezTo>
                      <a:lnTo>
                        <a:pt x="82810" y="21469"/>
                      </a:lnTo>
                      <a:cubicBezTo>
                        <a:pt x="83832" y="21469"/>
                        <a:pt x="83832" y="20958"/>
                        <a:pt x="83832" y="20447"/>
                      </a:cubicBezTo>
                      <a:lnTo>
                        <a:pt x="83832" y="16358"/>
                      </a:lnTo>
                      <a:close/>
                      <a:moveTo>
                        <a:pt x="63385" y="1022"/>
                      </a:moveTo>
                      <a:cubicBezTo>
                        <a:pt x="63385" y="511"/>
                        <a:pt x="63385" y="511"/>
                        <a:pt x="62363" y="511"/>
                      </a:cubicBezTo>
                      <a:lnTo>
                        <a:pt x="60318" y="511"/>
                      </a:lnTo>
                      <a:cubicBezTo>
                        <a:pt x="59807" y="511"/>
                        <a:pt x="59296" y="511"/>
                        <a:pt x="59296" y="1022"/>
                      </a:cubicBezTo>
                      <a:lnTo>
                        <a:pt x="59296" y="9201"/>
                      </a:lnTo>
                      <a:lnTo>
                        <a:pt x="59296" y="9201"/>
                      </a:lnTo>
                      <a:cubicBezTo>
                        <a:pt x="58274" y="8179"/>
                        <a:pt x="56740" y="7668"/>
                        <a:pt x="54695" y="7668"/>
                      </a:cubicBezTo>
                      <a:cubicBezTo>
                        <a:pt x="49072" y="7668"/>
                        <a:pt x="46005" y="10223"/>
                        <a:pt x="46005" y="17380"/>
                      </a:cubicBezTo>
                      <a:lnTo>
                        <a:pt x="46005" y="18913"/>
                      </a:lnTo>
                      <a:cubicBezTo>
                        <a:pt x="46005" y="26070"/>
                        <a:pt x="48050" y="29137"/>
                        <a:pt x="54695" y="29137"/>
                      </a:cubicBezTo>
                      <a:cubicBezTo>
                        <a:pt x="60318" y="29137"/>
                        <a:pt x="63385" y="26581"/>
                        <a:pt x="63385" y="21469"/>
                      </a:cubicBezTo>
                      <a:lnTo>
                        <a:pt x="63385" y="1022"/>
                      </a:lnTo>
                      <a:close/>
                      <a:moveTo>
                        <a:pt x="59807" y="21469"/>
                      </a:moveTo>
                      <a:cubicBezTo>
                        <a:pt x="59807" y="25048"/>
                        <a:pt x="58785" y="26070"/>
                        <a:pt x="55206" y="26070"/>
                      </a:cubicBezTo>
                      <a:cubicBezTo>
                        <a:pt x="51628" y="26070"/>
                        <a:pt x="50606" y="24536"/>
                        <a:pt x="50606" y="18913"/>
                      </a:cubicBezTo>
                      <a:lnTo>
                        <a:pt x="50606" y="17891"/>
                      </a:lnTo>
                      <a:cubicBezTo>
                        <a:pt x="50606" y="12779"/>
                        <a:pt x="51628" y="11246"/>
                        <a:pt x="55206" y="11246"/>
                      </a:cubicBezTo>
                      <a:cubicBezTo>
                        <a:pt x="58274" y="11246"/>
                        <a:pt x="59807" y="12779"/>
                        <a:pt x="59807" y="16358"/>
                      </a:cubicBezTo>
                      <a:lnTo>
                        <a:pt x="59807" y="21469"/>
                      </a:lnTo>
                      <a:close/>
                      <a:moveTo>
                        <a:pt x="25559" y="28115"/>
                      </a:moveTo>
                      <a:cubicBezTo>
                        <a:pt x="25559" y="28626"/>
                        <a:pt x="25559" y="28626"/>
                        <a:pt x="26581" y="28626"/>
                      </a:cubicBezTo>
                      <a:lnTo>
                        <a:pt x="28626" y="28626"/>
                      </a:lnTo>
                      <a:cubicBezTo>
                        <a:pt x="29137" y="28626"/>
                        <a:pt x="29648" y="28626"/>
                        <a:pt x="29648" y="28115"/>
                      </a:cubicBezTo>
                      <a:lnTo>
                        <a:pt x="29648" y="15335"/>
                      </a:lnTo>
                      <a:cubicBezTo>
                        <a:pt x="29648" y="11757"/>
                        <a:pt x="31181" y="10735"/>
                        <a:pt x="34249" y="10735"/>
                      </a:cubicBezTo>
                      <a:cubicBezTo>
                        <a:pt x="37315" y="10735"/>
                        <a:pt x="38849" y="12268"/>
                        <a:pt x="38849" y="15846"/>
                      </a:cubicBezTo>
                      <a:lnTo>
                        <a:pt x="38849" y="28115"/>
                      </a:lnTo>
                      <a:cubicBezTo>
                        <a:pt x="38849" y="28626"/>
                        <a:pt x="39360" y="28626"/>
                        <a:pt x="39871" y="28626"/>
                      </a:cubicBezTo>
                      <a:lnTo>
                        <a:pt x="41916" y="28626"/>
                      </a:lnTo>
                      <a:cubicBezTo>
                        <a:pt x="42427" y="28626"/>
                        <a:pt x="42938" y="28626"/>
                        <a:pt x="42938" y="28115"/>
                      </a:cubicBezTo>
                      <a:lnTo>
                        <a:pt x="42938" y="16358"/>
                      </a:lnTo>
                      <a:cubicBezTo>
                        <a:pt x="42938" y="10223"/>
                        <a:pt x="40383" y="8179"/>
                        <a:pt x="35782" y="8179"/>
                      </a:cubicBezTo>
                      <a:cubicBezTo>
                        <a:pt x="32715" y="8179"/>
                        <a:pt x="31181" y="9201"/>
                        <a:pt x="29648" y="10735"/>
                      </a:cubicBezTo>
                      <a:lnTo>
                        <a:pt x="29648" y="10735"/>
                      </a:lnTo>
                      <a:lnTo>
                        <a:pt x="29648" y="9201"/>
                      </a:lnTo>
                      <a:cubicBezTo>
                        <a:pt x="29648" y="8690"/>
                        <a:pt x="29137" y="8690"/>
                        <a:pt x="28626" y="8690"/>
                      </a:cubicBezTo>
                      <a:lnTo>
                        <a:pt x="27092" y="8690"/>
                      </a:lnTo>
                      <a:cubicBezTo>
                        <a:pt x="26581" y="8690"/>
                        <a:pt x="26581" y="8690"/>
                        <a:pt x="26581" y="9201"/>
                      </a:cubicBezTo>
                      <a:lnTo>
                        <a:pt x="26581" y="28115"/>
                      </a:lnTo>
                      <a:close/>
                      <a:moveTo>
                        <a:pt x="11246" y="5623"/>
                      </a:moveTo>
                      <a:cubicBezTo>
                        <a:pt x="12779" y="9712"/>
                        <a:pt x="13802" y="13802"/>
                        <a:pt x="14824" y="17891"/>
                      </a:cubicBezTo>
                      <a:lnTo>
                        <a:pt x="7156" y="17891"/>
                      </a:lnTo>
                      <a:cubicBezTo>
                        <a:pt x="8690" y="13802"/>
                        <a:pt x="9712" y="9712"/>
                        <a:pt x="11246" y="5623"/>
                      </a:cubicBezTo>
                      <a:lnTo>
                        <a:pt x="11246" y="5623"/>
                      </a:lnTo>
                      <a:close/>
                      <a:moveTo>
                        <a:pt x="10223" y="1533"/>
                      </a:moveTo>
                      <a:cubicBezTo>
                        <a:pt x="8690" y="1533"/>
                        <a:pt x="8179" y="1533"/>
                        <a:pt x="8179" y="3067"/>
                      </a:cubicBezTo>
                      <a:cubicBezTo>
                        <a:pt x="5623" y="9712"/>
                        <a:pt x="3067" y="18913"/>
                        <a:pt x="511" y="27092"/>
                      </a:cubicBezTo>
                      <a:cubicBezTo>
                        <a:pt x="511" y="27604"/>
                        <a:pt x="0" y="28115"/>
                        <a:pt x="0" y="28626"/>
                      </a:cubicBezTo>
                      <a:cubicBezTo>
                        <a:pt x="0" y="29137"/>
                        <a:pt x="0" y="29137"/>
                        <a:pt x="1022" y="29137"/>
                      </a:cubicBezTo>
                      <a:lnTo>
                        <a:pt x="3067" y="29137"/>
                      </a:lnTo>
                      <a:cubicBezTo>
                        <a:pt x="4089" y="29137"/>
                        <a:pt x="4089" y="29137"/>
                        <a:pt x="4601" y="28115"/>
                      </a:cubicBezTo>
                      <a:cubicBezTo>
                        <a:pt x="5112" y="26070"/>
                        <a:pt x="5623" y="24025"/>
                        <a:pt x="6134" y="21469"/>
                      </a:cubicBezTo>
                      <a:lnTo>
                        <a:pt x="15846" y="21469"/>
                      </a:lnTo>
                      <a:cubicBezTo>
                        <a:pt x="16358" y="23514"/>
                        <a:pt x="16869" y="26070"/>
                        <a:pt x="17380" y="28115"/>
                      </a:cubicBezTo>
                      <a:cubicBezTo>
                        <a:pt x="17380" y="29137"/>
                        <a:pt x="17891" y="29137"/>
                        <a:pt x="18913" y="29137"/>
                      </a:cubicBezTo>
                      <a:lnTo>
                        <a:pt x="20958" y="29137"/>
                      </a:lnTo>
                      <a:cubicBezTo>
                        <a:pt x="21469" y="29137"/>
                        <a:pt x="21980" y="29137"/>
                        <a:pt x="21980" y="28626"/>
                      </a:cubicBezTo>
                      <a:cubicBezTo>
                        <a:pt x="21980" y="28115"/>
                        <a:pt x="21980" y="27604"/>
                        <a:pt x="21469" y="27092"/>
                      </a:cubicBezTo>
                      <a:cubicBezTo>
                        <a:pt x="18913" y="18402"/>
                        <a:pt x="16358" y="9712"/>
                        <a:pt x="13802" y="3067"/>
                      </a:cubicBezTo>
                      <a:cubicBezTo>
                        <a:pt x="13290" y="2045"/>
                        <a:pt x="12779" y="1533"/>
                        <a:pt x="11757" y="1533"/>
                      </a:cubicBezTo>
                      <a:lnTo>
                        <a:pt x="10223" y="1533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1" name="Freihandform: Form 130">
                  <a:extLst>
                    <a:ext uri="{FF2B5EF4-FFF2-40B4-BE49-F238E27FC236}">
                      <a16:creationId xmlns:a16="http://schemas.microsoft.com/office/drawing/2014/main" id="{AF9A437C-AA65-4306-89F1-649A9E2E2709}"/>
                    </a:ext>
                  </a:extLst>
                </p:cNvPr>
                <p:cNvSpPr/>
                <p:nvPr/>
              </p:nvSpPr>
              <p:spPr>
                <a:xfrm>
                  <a:off x="6152332" y="3721504"/>
                  <a:ext cx="194245" cy="30670"/>
                </a:xfrm>
                <a:custGeom>
                  <a:avLst/>
                  <a:gdLst>
                    <a:gd name="connsiteX0" fmla="*/ 177888 w 194245"/>
                    <a:gd name="connsiteY0" fmla="*/ 28626 h 30670"/>
                    <a:gd name="connsiteX1" fmla="*/ 178910 w 194245"/>
                    <a:gd name="connsiteY1" fmla="*/ 29137 h 30670"/>
                    <a:gd name="connsiteX2" fmla="*/ 180955 w 194245"/>
                    <a:gd name="connsiteY2" fmla="*/ 29137 h 30670"/>
                    <a:gd name="connsiteX3" fmla="*/ 181977 w 194245"/>
                    <a:gd name="connsiteY3" fmla="*/ 28626 h 30670"/>
                    <a:gd name="connsiteX4" fmla="*/ 181977 w 194245"/>
                    <a:gd name="connsiteY4" fmla="*/ 15846 h 30670"/>
                    <a:gd name="connsiteX5" fmla="*/ 186066 w 194245"/>
                    <a:gd name="connsiteY5" fmla="*/ 11246 h 30670"/>
                    <a:gd name="connsiteX6" fmla="*/ 190156 w 194245"/>
                    <a:gd name="connsiteY6" fmla="*/ 16358 h 30670"/>
                    <a:gd name="connsiteX7" fmla="*/ 190156 w 194245"/>
                    <a:gd name="connsiteY7" fmla="*/ 28626 h 30670"/>
                    <a:gd name="connsiteX8" fmla="*/ 191178 w 194245"/>
                    <a:gd name="connsiteY8" fmla="*/ 29137 h 30670"/>
                    <a:gd name="connsiteX9" fmla="*/ 193223 w 194245"/>
                    <a:gd name="connsiteY9" fmla="*/ 29137 h 30670"/>
                    <a:gd name="connsiteX10" fmla="*/ 194245 w 194245"/>
                    <a:gd name="connsiteY10" fmla="*/ 28626 h 30670"/>
                    <a:gd name="connsiteX11" fmla="*/ 194245 w 194245"/>
                    <a:gd name="connsiteY11" fmla="*/ 16869 h 30670"/>
                    <a:gd name="connsiteX12" fmla="*/ 187089 w 194245"/>
                    <a:gd name="connsiteY12" fmla="*/ 8690 h 30670"/>
                    <a:gd name="connsiteX13" fmla="*/ 181466 w 194245"/>
                    <a:gd name="connsiteY13" fmla="*/ 11246 h 30670"/>
                    <a:gd name="connsiteX14" fmla="*/ 181466 w 194245"/>
                    <a:gd name="connsiteY14" fmla="*/ 11246 h 30670"/>
                    <a:gd name="connsiteX15" fmla="*/ 181466 w 194245"/>
                    <a:gd name="connsiteY15" fmla="*/ 9712 h 30670"/>
                    <a:gd name="connsiteX16" fmla="*/ 180444 w 194245"/>
                    <a:gd name="connsiteY16" fmla="*/ 9201 h 30670"/>
                    <a:gd name="connsiteX17" fmla="*/ 178910 w 194245"/>
                    <a:gd name="connsiteY17" fmla="*/ 9201 h 30670"/>
                    <a:gd name="connsiteX18" fmla="*/ 178399 w 194245"/>
                    <a:gd name="connsiteY18" fmla="*/ 9712 h 30670"/>
                    <a:gd name="connsiteX19" fmla="*/ 178399 w 194245"/>
                    <a:gd name="connsiteY19" fmla="*/ 28626 h 30670"/>
                    <a:gd name="connsiteX20" fmla="*/ 162553 w 194245"/>
                    <a:gd name="connsiteY20" fmla="*/ 17891 h 30670"/>
                    <a:gd name="connsiteX21" fmla="*/ 166642 w 194245"/>
                    <a:gd name="connsiteY21" fmla="*/ 11757 h 30670"/>
                    <a:gd name="connsiteX22" fmla="*/ 170731 w 194245"/>
                    <a:gd name="connsiteY22" fmla="*/ 17380 h 30670"/>
                    <a:gd name="connsiteX23" fmla="*/ 170220 w 194245"/>
                    <a:gd name="connsiteY23" fmla="*/ 17891 h 30670"/>
                    <a:gd name="connsiteX24" fmla="*/ 162553 w 194245"/>
                    <a:gd name="connsiteY24" fmla="*/ 17891 h 30670"/>
                    <a:gd name="connsiteX25" fmla="*/ 174309 w 194245"/>
                    <a:gd name="connsiteY25" fmla="*/ 16869 h 30670"/>
                    <a:gd name="connsiteX26" fmla="*/ 166642 w 194245"/>
                    <a:gd name="connsiteY26" fmla="*/ 8690 h 30670"/>
                    <a:gd name="connsiteX27" fmla="*/ 158463 w 194245"/>
                    <a:gd name="connsiteY27" fmla="*/ 18913 h 30670"/>
                    <a:gd name="connsiteX28" fmla="*/ 158463 w 194245"/>
                    <a:gd name="connsiteY28" fmla="*/ 20447 h 30670"/>
                    <a:gd name="connsiteX29" fmla="*/ 167153 w 194245"/>
                    <a:gd name="connsiteY29" fmla="*/ 30670 h 30670"/>
                    <a:gd name="connsiteX30" fmla="*/ 173287 w 194245"/>
                    <a:gd name="connsiteY30" fmla="*/ 29648 h 30670"/>
                    <a:gd name="connsiteX31" fmla="*/ 173798 w 194245"/>
                    <a:gd name="connsiteY31" fmla="*/ 29137 h 30670"/>
                    <a:gd name="connsiteX32" fmla="*/ 173798 w 194245"/>
                    <a:gd name="connsiteY32" fmla="*/ 28115 h 30670"/>
                    <a:gd name="connsiteX33" fmla="*/ 173287 w 194245"/>
                    <a:gd name="connsiteY33" fmla="*/ 27092 h 30670"/>
                    <a:gd name="connsiteX34" fmla="*/ 172776 w 194245"/>
                    <a:gd name="connsiteY34" fmla="*/ 26581 h 30670"/>
                    <a:gd name="connsiteX35" fmla="*/ 172265 w 194245"/>
                    <a:gd name="connsiteY35" fmla="*/ 26581 h 30670"/>
                    <a:gd name="connsiteX36" fmla="*/ 167664 w 194245"/>
                    <a:gd name="connsiteY36" fmla="*/ 27603 h 30670"/>
                    <a:gd name="connsiteX37" fmla="*/ 162553 w 194245"/>
                    <a:gd name="connsiteY37" fmla="*/ 21980 h 30670"/>
                    <a:gd name="connsiteX38" fmla="*/ 173287 w 194245"/>
                    <a:gd name="connsiteY38" fmla="*/ 21980 h 30670"/>
                    <a:gd name="connsiteX39" fmla="*/ 174309 w 194245"/>
                    <a:gd name="connsiteY39" fmla="*/ 20958 h 30670"/>
                    <a:gd name="connsiteX40" fmla="*/ 174309 w 194245"/>
                    <a:gd name="connsiteY40" fmla="*/ 16869 h 30670"/>
                    <a:gd name="connsiteX41" fmla="*/ 155396 w 194245"/>
                    <a:gd name="connsiteY41" fmla="*/ 16358 h 30670"/>
                    <a:gd name="connsiteX42" fmla="*/ 148240 w 194245"/>
                    <a:gd name="connsiteY42" fmla="*/ 8179 h 30670"/>
                    <a:gd name="connsiteX43" fmla="*/ 142617 w 194245"/>
                    <a:gd name="connsiteY43" fmla="*/ 9712 h 30670"/>
                    <a:gd name="connsiteX44" fmla="*/ 142617 w 194245"/>
                    <a:gd name="connsiteY44" fmla="*/ 1533 h 30670"/>
                    <a:gd name="connsiteX45" fmla="*/ 141594 w 194245"/>
                    <a:gd name="connsiteY45" fmla="*/ 511 h 30670"/>
                    <a:gd name="connsiteX46" fmla="*/ 139550 w 194245"/>
                    <a:gd name="connsiteY46" fmla="*/ 511 h 30670"/>
                    <a:gd name="connsiteX47" fmla="*/ 138527 w 194245"/>
                    <a:gd name="connsiteY47" fmla="*/ 1533 h 30670"/>
                    <a:gd name="connsiteX48" fmla="*/ 138527 w 194245"/>
                    <a:gd name="connsiteY48" fmla="*/ 28626 h 30670"/>
                    <a:gd name="connsiteX49" fmla="*/ 139550 w 194245"/>
                    <a:gd name="connsiteY49" fmla="*/ 29137 h 30670"/>
                    <a:gd name="connsiteX50" fmla="*/ 141594 w 194245"/>
                    <a:gd name="connsiteY50" fmla="*/ 29137 h 30670"/>
                    <a:gd name="connsiteX51" fmla="*/ 142617 w 194245"/>
                    <a:gd name="connsiteY51" fmla="*/ 28626 h 30670"/>
                    <a:gd name="connsiteX52" fmla="*/ 142617 w 194245"/>
                    <a:gd name="connsiteY52" fmla="*/ 16358 h 30670"/>
                    <a:gd name="connsiteX53" fmla="*/ 146706 w 194245"/>
                    <a:gd name="connsiteY53" fmla="*/ 11757 h 30670"/>
                    <a:gd name="connsiteX54" fmla="*/ 151307 w 194245"/>
                    <a:gd name="connsiteY54" fmla="*/ 16869 h 30670"/>
                    <a:gd name="connsiteX55" fmla="*/ 151307 w 194245"/>
                    <a:gd name="connsiteY55" fmla="*/ 29137 h 30670"/>
                    <a:gd name="connsiteX56" fmla="*/ 152329 w 194245"/>
                    <a:gd name="connsiteY56" fmla="*/ 29648 h 30670"/>
                    <a:gd name="connsiteX57" fmla="*/ 154374 w 194245"/>
                    <a:gd name="connsiteY57" fmla="*/ 29648 h 30670"/>
                    <a:gd name="connsiteX58" fmla="*/ 155396 w 194245"/>
                    <a:gd name="connsiteY58" fmla="*/ 29137 h 30670"/>
                    <a:gd name="connsiteX59" fmla="*/ 155396 w 194245"/>
                    <a:gd name="connsiteY59" fmla="*/ 16358 h 30670"/>
                    <a:gd name="connsiteX60" fmla="*/ 135460 w 194245"/>
                    <a:gd name="connsiteY60" fmla="*/ 26070 h 30670"/>
                    <a:gd name="connsiteX61" fmla="*/ 134949 w 194245"/>
                    <a:gd name="connsiteY61" fmla="*/ 25559 h 30670"/>
                    <a:gd name="connsiteX62" fmla="*/ 134438 w 194245"/>
                    <a:gd name="connsiteY62" fmla="*/ 25559 h 30670"/>
                    <a:gd name="connsiteX63" fmla="*/ 130349 w 194245"/>
                    <a:gd name="connsiteY63" fmla="*/ 26581 h 30670"/>
                    <a:gd name="connsiteX64" fmla="*/ 126771 w 194245"/>
                    <a:gd name="connsiteY64" fmla="*/ 25047 h 30670"/>
                    <a:gd name="connsiteX65" fmla="*/ 125748 w 194245"/>
                    <a:gd name="connsiteY65" fmla="*/ 19425 h 30670"/>
                    <a:gd name="connsiteX66" fmla="*/ 125748 w 194245"/>
                    <a:gd name="connsiteY66" fmla="*/ 18913 h 30670"/>
                    <a:gd name="connsiteX67" fmla="*/ 127282 w 194245"/>
                    <a:gd name="connsiteY67" fmla="*/ 12779 h 30670"/>
                    <a:gd name="connsiteX68" fmla="*/ 130349 w 194245"/>
                    <a:gd name="connsiteY68" fmla="*/ 11757 h 30670"/>
                    <a:gd name="connsiteX69" fmla="*/ 134949 w 194245"/>
                    <a:gd name="connsiteY69" fmla="*/ 13290 h 30670"/>
                    <a:gd name="connsiteX70" fmla="*/ 135460 w 194245"/>
                    <a:gd name="connsiteY70" fmla="*/ 13290 h 30670"/>
                    <a:gd name="connsiteX71" fmla="*/ 135972 w 194245"/>
                    <a:gd name="connsiteY71" fmla="*/ 12779 h 30670"/>
                    <a:gd name="connsiteX72" fmla="*/ 136483 w 194245"/>
                    <a:gd name="connsiteY72" fmla="*/ 11757 h 30670"/>
                    <a:gd name="connsiteX73" fmla="*/ 136994 w 194245"/>
                    <a:gd name="connsiteY73" fmla="*/ 10735 h 30670"/>
                    <a:gd name="connsiteX74" fmla="*/ 136483 w 194245"/>
                    <a:gd name="connsiteY74" fmla="*/ 10223 h 30670"/>
                    <a:gd name="connsiteX75" fmla="*/ 130349 w 194245"/>
                    <a:gd name="connsiteY75" fmla="*/ 8690 h 30670"/>
                    <a:gd name="connsiteX76" fmla="*/ 124215 w 194245"/>
                    <a:gd name="connsiteY76" fmla="*/ 10735 h 30670"/>
                    <a:gd name="connsiteX77" fmla="*/ 122170 w 194245"/>
                    <a:gd name="connsiteY77" fmla="*/ 18402 h 30670"/>
                    <a:gd name="connsiteX78" fmla="*/ 122170 w 194245"/>
                    <a:gd name="connsiteY78" fmla="*/ 19936 h 30670"/>
                    <a:gd name="connsiteX79" fmla="*/ 124215 w 194245"/>
                    <a:gd name="connsiteY79" fmla="*/ 28115 h 30670"/>
                    <a:gd name="connsiteX80" fmla="*/ 130349 w 194245"/>
                    <a:gd name="connsiteY80" fmla="*/ 30159 h 30670"/>
                    <a:gd name="connsiteX81" fmla="*/ 135972 w 194245"/>
                    <a:gd name="connsiteY81" fmla="*/ 29137 h 30670"/>
                    <a:gd name="connsiteX82" fmla="*/ 136483 w 194245"/>
                    <a:gd name="connsiteY82" fmla="*/ 28626 h 30670"/>
                    <a:gd name="connsiteX83" fmla="*/ 136483 w 194245"/>
                    <a:gd name="connsiteY83" fmla="*/ 27603 h 30670"/>
                    <a:gd name="connsiteX84" fmla="*/ 135460 w 194245"/>
                    <a:gd name="connsiteY84" fmla="*/ 26070 h 30670"/>
                    <a:gd name="connsiteX85" fmla="*/ 112458 w 194245"/>
                    <a:gd name="connsiteY85" fmla="*/ 9201 h 30670"/>
                    <a:gd name="connsiteX86" fmla="*/ 111435 w 194245"/>
                    <a:gd name="connsiteY86" fmla="*/ 8690 h 30670"/>
                    <a:gd name="connsiteX87" fmla="*/ 109902 w 194245"/>
                    <a:gd name="connsiteY87" fmla="*/ 8690 h 30670"/>
                    <a:gd name="connsiteX88" fmla="*/ 109391 w 194245"/>
                    <a:gd name="connsiteY88" fmla="*/ 9201 h 30670"/>
                    <a:gd name="connsiteX89" fmla="*/ 109391 w 194245"/>
                    <a:gd name="connsiteY89" fmla="*/ 28626 h 30670"/>
                    <a:gd name="connsiteX90" fmla="*/ 110413 w 194245"/>
                    <a:gd name="connsiteY90" fmla="*/ 29137 h 30670"/>
                    <a:gd name="connsiteX91" fmla="*/ 112458 w 194245"/>
                    <a:gd name="connsiteY91" fmla="*/ 29137 h 30670"/>
                    <a:gd name="connsiteX92" fmla="*/ 113480 w 194245"/>
                    <a:gd name="connsiteY92" fmla="*/ 28626 h 30670"/>
                    <a:gd name="connsiteX93" fmla="*/ 113480 w 194245"/>
                    <a:gd name="connsiteY93" fmla="*/ 16869 h 30670"/>
                    <a:gd name="connsiteX94" fmla="*/ 114502 w 194245"/>
                    <a:gd name="connsiteY94" fmla="*/ 13290 h 30670"/>
                    <a:gd name="connsiteX95" fmla="*/ 118081 w 194245"/>
                    <a:gd name="connsiteY95" fmla="*/ 12268 h 30670"/>
                    <a:gd name="connsiteX96" fmla="*/ 119103 w 194245"/>
                    <a:gd name="connsiteY96" fmla="*/ 12268 h 30670"/>
                    <a:gd name="connsiteX97" fmla="*/ 120125 w 194245"/>
                    <a:gd name="connsiteY97" fmla="*/ 11757 h 30670"/>
                    <a:gd name="connsiteX98" fmla="*/ 120125 w 194245"/>
                    <a:gd name="connsiteY98" fmla="*/ 9712 h 30670"/>
                    <a:gd name="connsiteX99" fmla="*/ 119103 w 194245"/>
                    <a:gd name="connsiteY99" fmla="*/ 9201 h 30670"/>
                    <a:gd name="connsiteX100" fmla="*/ 118081 w 194245"/>
                    <a:gd name="connsiteY100" fmla="*/ 9201 h 30670"/>
                    <a:gd name="connsiteX101" fmla="*/ 112969 w 194245"/>
                    <a:gd name="connsiteY101" fmla="*/ 11757 h 30670"/>
                    <a:gd name="connsiteX102" fmla="*/ 112969 w 194245"/>
                    <a:gd name="connsiteY102" fmla="*/ 11757 h 30670"/>
                    <a:gd name="connsiteX103" fmla="*/ 112458 w 194245"/>
                    <a:gd name="connsiteY103" fmla="*/ 9201 h 30670"/>
                    <a:gd name="connsiteX104" fmla="*/ 100701 w 194245"/>
                    <a:gd name="connsiteY104" fmla="*/ 3578 h 30670"/>
                    <a:gd name="connsiteX105" fmla="*/ 103257 w 194245"/>
                    <a:gd name="connsiteY105" fmla="*/ 6134 h 30670"/>
                    <a:gd name="connsiteX106" fmla="*/ 103257 w 194245"/>
                    <a:gd name="connsiteY106" fmla="*/ 6134 h 30670"/>
                    <a:gd name="connsiteX107" fmla="*/ 105812 w 194245"/>
                    <a:gd name="connsiteY107" fmla="*/ 3578 h 30670"/>
                    <a:gd name="connsiteX108" fmla="*/ 105812 w 194245"/>
                    <a:gd name="connsiteY108" fmla="*/ 3067 h 30670"/>
                    <a:gd name="connsiteX109" fmla="*/ 103257 w 194245"/>
                    <a:gd name="connsiteY109" fmla="*/ 511 h 30670"/>
                    <a:gd name="connsiteX110" fmla="*/ 103257 w 194245"/>
                    <a:gd name="connsiteY110" fmla="*/ 511 h 30670"/>
                    <a:gd name="connsiteX111" fmla="*/ 100701 w 194245"/>
                    <a:gd name="connsiteY111" fmla="*/ 3578 h 30670"/>
                    <a:gd name="connsiteX112" fmla="*/ 100701 w 194245"/>
                    <a:gd name="connsiteY112" fmla="*/ 3578 h 30670"/>
                    <a:gd name="connsiteX113" fmla="*/ 104790 w 194245"/>
                    <a:gd name="connsiteY113" fmla="*/ 9712 h 30670"/>
                    <a:gd name="connsiteX114" fmla="*/ 103768 w 194245"/>
                    <a:gd name="connsiteY114" fmla="*/ 9201 h 30670"/>
                    <a:gd name="connsiteX115" fmla="*/ 101723 w 194245"/>
                    <a:gd name="connsiteY115" fmla="*/ 9201 h 30670"/>
                    <a:gd name="connsiteX116" fmla="*/ 100701 w 194245"/>
                    <a:gd name="connsiteY116" fmla="*/ 9712 h 30670"/>
                    <a:gd name="connsiteX117" fmla="*/ 100701 w 194245"/>
                    <a:gd name="connsiteY117" fmla="*/ 28626 h 30670"/>
                    <a:gd name="connsiteX118" fmla="*/ 101723 w 194245"/>
                    <a:gd name="connsiteY118" fmla="*/ 29137 h 30670"/>
                    <a:gd name="connsiteX119" fmla="*/ 103768 w 194245"/>
                    <a:gd name="connsiteY119" fmla="*/ 29137 h 30670"/>
                    <a:gd name="connsiteX120" fmla="*/ 104790 w 194245"/>
                    <a:gd name="connsiteY120" fmla="*/ 28626 h 30670"/>
                    <a:gd name="connsiteX121" fmla="*/ 104790 w 194245"/>
                    <a:gd name="connsiteY121" fmla="*/ 9712 h 30670"/>
                    <a:gd name="connsiteX122" fmla="*/ 87410 w 194245"/>
                    <a:gd name="connsiteY122" fmla="*/ 19936 h 30670"/>
                    <a:gd name="connsiteX123" fmla="*/ 88944 w 194245"/>
                    <a:gd name="connsiteY123" fmla="*/ 19936 h 30670"/>
                    <a:gd name="connsiteX124" fmla="*/ 89455 w 194245"/>
                    <a:gd name="connsiteY124" fmla="*/ 20447 h 30670"/>
                    <a:gd name="connsiteX125" fmla="*/ 94567 w 194245"/>
                    <a:gd name="connsiteY125" fmla="*/ 28626 h 30670"/>
                    <a:gd name="connsiteX126" fmla="*/ 95589 w 194245"/>
                    <a:gd name="connsiteY126" fmla="*/ 29137 h 30670"/>
                    <a:gd name="connsiteX127" fmla="*/ 98145 w 194245"/>
                    <a:gd name="connsiteY127" fmla="*/ 29137 h 30670"/>
                    <a:gd name="connsiteX128" fmla="*/ 98656 w 194245"/>
                    <a:gd name="connsiteY128" fmla="*/ 28626 h 30670"/>
                    <a:gd name="connsiteX129" fmla="*/ 98145 w 194245"/>
                    <a:gd name="connsiteY129" fmla="*/ 27603 h 30670"/>
                    <a:gd name="connsiteX130" fmla="*/ 92522 w 194245"/>
                    <a:gd name="connsiteY130" fmla="*/ 18913 h 30670"/>
                    <a:gd name="connsiteX131" fmla="*/ 92522 w 194245"/>
                    <a:gd name="connsiteY131" fmla="*/ 18402 h 30670"/>
                    <a:gd name="connsiteX132" fmla="*/ 92522 w 194245"/>
                    <a:gd name="connsiteY132" fmla="*/ 17891 h 30670"/>
                    <a:gd name="connsiteX133" fmla="*/ 98145 w 194245"/>
                    <a:gd name="connsiteY133" fmla="*/ 9201 h 30670"/>
                    <a:gd name="connsiteX134" fmla="*/ 97634 w 194245"/>
                    <a:gd name="connsiteY134" fmla="*/ 8179 h 30670"/>
                    <a:gd name="connsiteX135" fmla="*/ 95078 w 194245"/>
                    <a:gd name="connsiteY135" fmla="*/ 8179 h 30670"/>
                    <a:gd name="connsiteX136" fmla="*/ 94056 w 194245"/>
                    <a:gd name="connsiteY136" fmla="*/ 8690 h 30670"/>
                    <a:gd name="connsiteX137" fmla="*/ 89455 w 194245"/>
                    <a:gd name="connsiteY137" fmla="*/ 15846 h 30670"/>
                    <a:gd name="connsiteX138" fmla="*/ 88433 w 194245"/>
                    <a:gd name="connsiteY138" fmla="*/ 16358 h 30670"/>
                    <a:gd name="connsiteX139" fmla="*/ 86899 w 194245"/>
                    <a:gd name="connsiteY139" fmla="*/ 16358 h 30670"/>
                    <a:gd name="connsiteX140" fmla="*/ 86899 w 194245"/>
                    <a:gd name="connsiteY140" fmla="*/ 1022 h 30670"/>
                    <a:gd name="connsiteX141" fmla="*/ 85877 w 194245"/>
                    <a:gd name="connsiteY141" fmla="*/ 0 h 30670"/>
                    <a:gd name="connsiteX142" fmla="*/ 83832 w 194245"/>
                    <a:gd name="connsiteY142" fmla="*/ 0 h 30670"/>
                    <a:gd name="connsiteX143" fmla="*/ 82810 w 194245"/>
                    <a:gd name="connsiteY143" fmla="*/ 1022 h 30670"/>
                    <a:gd name="connsiteX144" fmla="*/ 82810 w 194245"/>
                    <a:gd name="connsiteY144" fmla="*/ 28115 h 30670"/>
                    <a:gd name="connsiteX145" fmla="*/ 83832 w 194245"/>
                    <a:gd name="connsiteY145" fmla="*/ 28626 h 30670"/>
                    <a:gd name="connsiteX146" fmla="*/ 85877 w 194245"/>
                    <a:gd name="connsiteY146" fmla="*/ 28626 h 30670"/>
                    <a:gd name="connsiteX147" fmla="*/ 86899 w 194245"/>
                    <a:gd name="connsiteY147" fmla="*/ 28115 h 30670"/>
                    <a:gd name="connsiteX148" fmla="*/ 86899 w 194245"/>
                    <a:gd name="connsiteY148" fmla="*/ 19936 h 30670"/>
                    <a:gd name="connsiteX149" fmla="*/ 62874 w 194245"/>
                    <a:gd name="connsiteY149" fmla="*/ 28626 h 30670"/>
                    <a:gd name="connsiteX150" fmla="*/ 63896 w 194245"/>
                    <a:gd name="connsiteY150" fmla="*/ 29137 h 30670"/>
                    <a:gd name="connsiteX151" fmla="*/ 65941 w 194245"/>
                    <a:gd name="connsiteY151" fmla="*/ 29137 h 30670"/>
                    <a:gd name="connsiteX152" fmla="*/ 66963 w 194245"/>
                    <a:gd name="connsiteY152" fmla="*/ 28626 h 30670"/>
                    <a:gd name="connsiteX153" fmla="*/ 66963 w 194245"/>
                    <a:gd name="connsiteY153" fmla="*/ 15846 h 30670"/>
                    <a:gd name="connsiteX154" fmla="*/ 71053 w 194245"/>
                    <a:gd name="connsiteY154" fmla="*/ 11246 h 30670"/>
                    <a:gd name="connsiteX155" fmla="*/ 75142 w 194245"/>
                    <a:gd name="connsiteY155" fmla="*/ 16358 h 30670"/>
                    <a:gd name="connsiteX156" fmla="*/ 75142 w 194245"/>
                    <a:gd name="connsiteY156" fmla="*/ 28626 h 30670"/>
                    <a:gd name="connsiteX157" fmla="*/ 76165 w 194245"/>
                    <a:gd name="connsiteY157" fmla="*/ 29137 h 30670"/>
                    <a:gd name="connsiteX158" fmla="*/ 78209 w 194245"/>
                    <a:gd name="connsiteY158" fmla="*/ 29137 h 30670"/>
                    <a:gd name="connsiteX159" fmla="*/ 79232 w 194245"/>
                    <a:gd name="connsiteY159" fmla="*/ 28626 h 30670"/>
                    <a:gd name="connsiteX160" fmla="*/ 79232 w 194245"/>
                    <a:gd name="connsiteY160" fmla="*/ 16869 h 30670"/>
                    <a:gd name="connsiteX161" fmla="*/ 72075 w 194245"/>
                    <a:gd name="connsiteY161" fmla="*/ 8690 h 30670"/>
                    <a:gd name="connsiteX162" fmla="*/ 66452 w 194245"/>
                    <a:gd name="connsiteY162" fmla="*/ 11246 h 30670"/>
                    <a:gd name="connsiteX163" fmla="*/ 66452 w 194245"/>
                    <a:gd name="connsiteY163" fmla="*/ 11246 h 30670"/>
                    <a:gd name="connsiteX164" fmla="*/ 66452 w 194245"/>
                    <a:gd name="connsiteY164" fmla="*/ 9712 h 30670"/>
                    <a:gd name="connsiteX165" fmla="*/ 65430 w 194245"/>
                    <a:gd name="connsiteY165" fmla="*/ 9201 h 30670"/>
                    <a:gd name="connsiteX166" fmla="*/ 63896 w 194245"/>
                    <a:gd name="connsiteY166" fmla="*/ 9201 h 30670"/>
                    <a:gd name="connsiteX167" fmla="*/ 63385 w 194245"/>
                    <a:gd name="connsiteY167" fmla="*/ 9712 h 30670"/>
                    <a:gd name="connsiteX168" fmla="*/ 63385 w 194245"/>
                    <a:gd name="connsiteY168" fmla="*/ 28626 h 30670"/>
                    <a:gd name="connsiteX169" fmla="*/ 54695 w 194245"/>
                    <a:gd name="connsiteY169" fmla="*/ 22491 h 30670"/>
                    <a:gd name="connsiteX170" fmla="*/ 53673 w 194245"/>
                    <a:gd name="connsiteY170" fmla="*/ 25559 h 30670"/>
                    <a:gd name="connsiteX171" fmla="*/ 50606 w 194245"/>
                    <a:gd name="connsiteY171" fmla="*/ 26581 h 30670"/>
                    <a:gd name="connsiteX172" fmla="*/ 47539 w 194245"/>
                    <a:gd name="connsiteY172" fmla="*/ 25559 h 30670"/>
                    <a:gd name="connsiteX173" fmla="*/ 46517 w 194245"/>
                    <a:gd name="connsiteY173" fmla="*/ 22491 h 30670"/>
                    <a:gd name="connsiteX174" fmla="*/ 46517 w 194245"/>
                    <a:gd name="connsiteY174" fmla="*/ 9201 h 30670"/>
                    <a:gd name="connsiteX175" fmla="*/ 45494 w 194245"/>
                    <a:gd name="connsiteY175" fmla="*/ 8690 h 30670"/>
                    <a:gd name="connsiteX176" fmla="*/ 43450 w 194245"/>
                    <a:gd name="connsiteY176" fmla="*/ 8690 h 30670"/>
                    <a:gd name="connsiteX177" fmla="*/ 42427 w 194245"/>
                    <a:gd name="connsiteY177" fmla="*/ 9201 h 30670"/>
                    <a:gd name="connsiteX178" fmla="*/ 42427 w 194245"/>
                    <a:gd name="connsiteY178" fmla="*/ 23003 h 30670"/>
                    <a:gd name="connsiteX179" fmla="*/ 44472 w 194245"/>
                    <a:gd name="connsiteY179" fmla="*/ 28115 h 30670"/>
                    <a:gd name="connsiteX180" fmla="*/ 50095 w 194245"/>
                    <a:gd name="connsiteY180" fmla="*/ 29648 h 30670"/>
                    <a:gd name="connsiteX181" fmla="*/ 55718 w 194245"/>
                    <a:gd name="connsiteY181" fmla="*/ 28115 h 30670"/>
                    <a:gd name="connsiteX182" fmla="*/ 57762 w 194245"/>
                    <a:gd name="connsiteY182" fmla="*/ 23003 h 30670"/>
                    <a:gd name="connsiteX183" fmla="*/ 57762 w 194245"/>
                    <a:gd name="connsiteY183" fmla="*/ 9201 h 30670"/>
                    <a:gd name="connsiteX184" fmla="*/ 56740 w 194245"/>
                    <a:gd name="connsiteY184" fmla="*/ 8179 h 30670"/>
                    <a:gd name="connsiteX185" fmla="*/ 54695 w 194245"/>
                    <a:gd name="connsiteY185" fmla="*/ 8179 h 30670"/>
                    <a:gd name="connsiteX186" fmla="*/ 53673 w 194245"/>
                    <a:gd name="connsiteY186" fmla="*/ 8690 h 30670"/>
                    <a:gd name="connsiteX187" fmla="*/ 53673 w 194245"/>
                    <a:gd name="connsiteY187" fmla="*/ 22491 h 30670"/>
                    <a:gd name="connsiteX188" fmla="*/ 27603 w 194245"/>
                    <a:gd name="connsiteY188" fmla="*/ 17891 h 30670"/>
                    <a:gd name="connsiteX189" fmla="*/ 31693 w 194245"/>
                    <a:gd name="connsiteY189" fmla="*/ 11757 h 30670"/>
                    <a:gd name="connsiteX190" fmla="*/ 35782 w 194245"/>
                    <a:gd name="connsiteY190" fmla="*/ 17380 h 30670"/>
                    <a:gd name="connsiteX191" fmla="*/ 35271 w 194245"/>
                    <a:gd name="connsiteY191" fmla="*/ 17891 h 30670"/>
                    <a:gd name="connsiteX192" fmla="*/ 27603 w 194245"/>
                    <a:gd name="connsiteY192" fmla="*/ 17891 h 30670"/>
                    <a:gd name="connsiteX193" fmla="*/ 39360 w 194245"/>
                    <a:gd name="connsiteY193" fmla="*/ 16869 h 30670"/>
                    <a:gd name="connsiteX194" fmla="*/ 31693 w 194245"/>
                    <a:gd name="connsiteY194" fmla="*/ 8690 h 30670"/>
                    <a:gd name="connsiteX195" fmla="*/ 23514 w 194245"/>
                    <a:gd name="connsiteY195" fmla="*/ 18913 h 30670"/>
                    <a:gd name="connsiteX196" fmla="*/ 23514 w 194245"/>
                    <a:gd name="connsiteY196" fmla="*/ 20447 h 30670"/>
                    <a:gd name="connsiteX197" fmla="*/ 32204 w 194245"/>
                    <a:gd name="connsiteY197" fmla="*/ 30670 h 30670"/>
                    <a:gd name="connsiteX198" fmla="*/ 38338 w 194245"/>
                    <a:gd name="connsiteY198" fmla="*/ 29648 h 30670"/>
                    <a:gd name="connsiteX199" fmla="*/ 38849 w 194245"/>
                    <a:gd name="connsiteY199" fmla="*/ 29137 h 30670"/>
                    <a:gd name="connsiteX200" fmla="*/ 38849 w 194245"/>
                    <a:gd name="connsiteY200" fmla="*/ 28115 h 30670"/>
                    <a:gd name="connsiteX201" fmla="*/ 38338 w 194245"/>
                    <a:gd name="connsiteY201" fmla="*/ 27092 h 30670"/>
                    <a:gd name="connsiteX202" fmla="*/ 37827 w 194245"/>
                    <a:gd name="connsiteY202" fmla="*/ 26581 h 30670"/>
                    <a:gd name="connsiteX203" fmla="*/ 37316 w 194245"/>
                    <a:gd name="connsiteY203" fmla="*/ 26581 h 30670"/>
                    <a:gd name="connsiteX204" fmla="*/ 32715 w 194245"/>
                    <a:gd name="connsiteY204" fmla="*/ 27603 h 30670"/>
                    <a:gd name="connsiteX205" fmla="*/ 27603 w 194245"/>
                    <a:gd name="connsiteY205" fmla="*/ 21980 h 30670"/>
                    <a:gd name="connsiteX206" fmla="*/ 38338 w 194245"/>
                    <a:gd name="connsiteY206" fmla="*/ 21980 h 30670"/>
                    <a:gd name="connsiteX207" fmla="*/ 39360 w 194245"/>
                    <a:gd name="connsiteY207" fmla="*/ 20958 h 30670"/>
                    <a:gd name="connsiteX208" fmla="*/ 39360 w 194245"/>
                    <a:gd name="connsiteY208" fmla="*/ 16869 h 30670"/>
                    <a:gd name="connsiteX209" fmla="*/ 14824 w 194245"/>
                    <a:gd name="connsiteY209" fmla="*/ 28115 h 30670"/>
                    <a:gd name="connsiteX210" fmla="*/ 16869 w 194245"/>
                    <a:gd name="connsiteY210" fmla="*/ 29137 h 30670"/>
                    <a:gd name="connsiteX211" fmla="*/ 18913 w 194245"/>
                    <a:gd name="connsiteY211" fmla="*/ 29137 h 30670"/>
                    <a:gd name="connsiteX212" fmla="*/ 19936 w 194245"/>
                    <a:gd name="connsiteY212" fmla="*/ 28115 h 30670"/>
                    <a:gd name="connsiteX213" fmla="*/ 19936 w 194245"/>
                    <a:gd name="connsiteY213" fmla="*/ 3067 h 30670"/>
                    <a:gd name="connsiteX214" fmla="*/ 18913 w 194245"/>
                    <a:gd name="connsiteY214" fmla="*/ 2045 h 30670"/>
                    <a:gd name="connsiteX215" fmla="*/ 16869 w 194245"/>
                    <a:gd name="connsiteY215" fmla="*/ 2045 h 30670"/>
                    <a:gd name="connsiteX216" fmla="*/ 15846 w 194245"/>
                    <a:gd name="connsiteY216" fmla="*/ 3067 h 30670"/>
                    <a:gd name="connsiteX217" fmla="*/ 15846 w 194245"/>
                    <a:gd name="connsiteY217" fmla="*/ 23514 h 30670"/>
                    <a:gd name="connsiteX218" fmla="*/ 15846 w 194245"/>
                    <a:gd name="connsiteY218" fmla="*/ 23514 h 30670"/>
                    <a:gd name="connsiteX219" fmla="*/ 5112 w 194245"/>
                    <a:gd name="connsiteY219" fmla="*/ 3578 h 30670"/>
                    <a:gd name="connsiteX220" fmla="*/ 3067 w 194245"/>
                    <a:gd name="connsiteY220" fmla="*/ 2556 h 30670"/>
                    <a:gd name="connsiteX221" fmla="*/ 1022 w 194245"/>
                    <a:gd name="connsiteY221" fmla="*/ 2556 h 30670"/>
                    <a:gd name="connsiteX222" fmla="*/ 0 w 194245"/>
                    <a:gd name="connsiteY222" fmla="*/ 3578 h 30670"/>
                    <a:gd name="connsiteX223" fmla="*/ 0 w 194245"/>
                    <a:gd name="connsiteY223" fmla="*/ 28626 h 30670"/>
                    <a:gd name="connsiteX224" fmla="*/ 1022 w 194245"/>
                    <a:gd name="connsiteY224" fmla="*/ 29648 h 30670"/>
                    <a:gd name="connsiteX225" fmla="*/ 3067 w 194245"/>
                    <a:gd name="connsiteY225" fmla="*/ 29648 h 30670"/>
                    <a:gd name="connsiteX226" fmla="*/ 4089 w 194245"/>
                    <a:gd name="connsiteY226" fmla="*/ 28626 h 30670"/>
                    <a:gd name="connsiteX227" fmla="*/ 4089 w 194245"/>
                    <a:gd name="connsiteY227" fmla="*/ 8179 h 30670"/>
                    <a:gd name="connsiteX228" fmla="*/ 4089 w 194245"/>
                    <a:gd name="connsiteY228" fmla="*/ 8179 h 30670"/>
                    <a:gd name="connsiteX229" fmla="*/ 14824 w 194245"/>
                    <a:gd name="connsiteY229" fmla="*/ 28115 h 30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</a:cxnLst>
                  <a:rect l="l" t="t" r="r" b="b"/>
                  <a:pathLst>
                    <a:path w="194245" h="30670">
                      <a:moveTo>
                        <a:pt x="177888" y="28626"/>
                      </a:moveTo>
                      <a:cubicBezTo>
                        <a:pt x="177888" y="29137"/>
                        <a:pt x="177888" y="29137"/>
                        <a:pt x="178910" y="29137"/>
                      </a:cubicBezTo>
                      <a:lnTo>
                        <a:pt x="180955" y="29137"/>
                      </a:lnTo>
                      <a:cubicBezTo>
                        <a:pt x="181466" y="29137"/>
                        <a:pt x="181977" y="29137"/>
                        <a:pt x="181977" y="28626"/>
                      </a:cubicBezTo>
                      <a:lnTo>
                        <a:pt x="181977" y="15846"/>
                      </a:lnTo>
                      <a:cubicBezTo>
                        <a:pt x="181977" y="12268"/>
                        <a:pt x="183511" y="11246"/>
                        <a:pt x="186066" y="11246"/>
                      </a:cubicBezTo>
                      <a:cubicBezTo>
                        <a:pt x="189133" y="11246"/>
                        <a:pt x="190156" y="12779"/>
                        <a:pt x="190156" y="16358"/>
                      </a:cubicBezTo>
                      <a:lnTo>
                        <a:pt x="190156" y="28626"/>
                      </a:lnTo>
                      <a:cubicBezTo>
                        <a:pt x="190156" y="29137"/>
                        <a:pt x="190156" y="29137"/>
                        <a:pt x="191178" y="29137"/>
                      </a:cubicBezTo>
                      <a:lnTo>
                        <a:pt x="193223" y="29137"/>
                      </a:lnTo>
                      <a:cubicBezTo>
                        <a:pt x="193734" y="29137"/>
                        <a:pt x="194245" y="29137"/>
                        <a:pt x="194245" y="28626"/>
                      </a:cubicBezTo>
                      <a:lnTo>
                        <a:pt x="194245" y="16869"/>
                      </a:lnTo>
                      <a:cubicBezTo>
                        <a:pt x="194245" y="10735"/>
                        <a:pt x="191689" y="8690"/>
                        <a:pt x="187089" y="8690"/>
                      </a:cubicBezTo>
                      <a:cubicBezTo>
                        <a:pt x="184022" y="8690"/>
                        <a:pt x="182488" y="9712"/>
                        <a:pt x="181466" y="11246"/>
                      </a:cubicBezTo>
                      <a:lnTo>
                        <a:pt x="181466" y="11246"/>
                      </a:lnTo>
                      <a:lnTo>
                        <a:pt x="181466" y="9712"/>
                      </a:lnTo>
                      <a:cubicBezTo>
                        <a:pt x="181466" y="9201"/>
                        <a:pt x="180955" y="9201"/>
                        <a:pt x="180444" y="9201"/>
                      </a:cubicBezTo>
                      <a:lnTo>
                        <a:pt x="178910" y="9201"/>
                      </a:lnTo>
                      <a:cubicBezTo>
                        <a:pt x="178399" y="9201"/>
                        <a:pt x="178399" y="9201"/>
                        <a:pt x="178399" y="9712"/>
                      </a:cubicBezTo>
                      <a:lnTo>
                        <a:pt x="178399" y="28626"/>
                      </a:lnTo>
                      <a:close/>
                      <a:moveTo>
                        <a:pt x="162553" y="17891"/>
                      </a:moveTo>
                      <a:cubicBezTo>
                        <a:pt x="162553" y="13802"/>
                        <a:pt x="163064" y="11757"/>
                        <a:pt x="166642" y="11757"/>
                      </a:cubicBezTo>
                      <a:cubicBezTo>
                        <a:pt x="169709" y="11757"/>
                        <a:pt x="170731" y="13290"/>
                        <a:pt x="170731" y="17380"/>
                      </a:cubicBezTo>
                      <a:cubicBezTo>
                        <a:pt x="170731" y="17891"/>
                        <a:pt x="170731" y="17891"/>
                        <a:pt x="170220" y="17891"/>
                      </a:cubicBezTo>
                      <a:lnTo>
                        <a:pt x="162553" y="17891"/>
                      </a:lnTo>
                      <a:close/>
                      <a:moveTo>
                        <a:pt x="174309" y="16869"/>
                      </a:moveTo>
                      <a:cubicBezTo>
                        <a:pt x="174309" y="10735"/>
                        <a:pt x="171754" y="8690"/>
                        <a:pt x="166642" y="8690"/>
                      </a:cubicBezTo>
                      <a:cubicBezTo>
                        <a:pt x="160508" y="8690"/>
                        <a:pt x="158463" y="12268"/>
                        <a:pt x="158463" y="18913"/>
                      </a:cubicBezTo>
                      <a:lnTo>
                        <a:pt x="158463" y="20447"/>
                      </a:lnTo>
                      <a:cubicBezTo>
                        <a:pt x="158463" y="27603"/>
                        <a:pt x="160508" y="30670"/>
                        <a:pt x="167153" y="30670"/>
                      </a:cubicBezTo>
                      <a:cubicBezTo>
                        <a:pt x="169198" y="30670"/>
                        <a:pt x="171754" y="30159"/>
                        <a:pt x="173287" y="29648"/>
                      </a:cubicBezTo>
                      <a:cubicBezTo>
                        <a:pt x="173798" y="29648"/>
                        <a:pt x="173798" y="29137"/>
                        <a:pt x="173798" y="29137"/>
                      </a:cubicBezTo>
                      <a:cubicBezTo>
                        <a:pt x="173798" y="29137"/>
                        <a:pt x="173798" y="28626"/>
                        <a:pt x="173798" y="28115"/>
                      </a:cubicBezTo>
                      <a:lnTo>
                        <a:pt x="173287" y="27092"/>
                      </a:lnTo>
                      <a:cubicBezTo>
                        <a:pt x="173287" y="26581"/>
                        <a:pt x="172776" y="26581"/>
                        <a:pt x="172776" y="26581"/>
                      </a:cubicBezTo>
                      <a:cubicBezTo>
                        <a:pt x="172776" y="26581"/>
                        <a:pt x="172265" y="26581"/>
                        <a:pt x="172265" y="26581"/>
                      </a:cubicBezTo>
                      <a:cubicBezTo>
                        <a:pt x="171242" y="27092"/>
                        <a:pt x="169198" y="27603"/>
                        <a:pt x="167664" y="27603"/>
                      </a:cubicBezTo>
                      <a:cubicBezTo>
                        <a:pt x="163575" y="27603"/>
                        <a:pt x="162553" y="26070"/>
                        <a:pt x="162553" y="21980"/>
                      </a:cubicBezTo>
                      <a:lnTo>
                        <a:pt x="173287" y="21980"/>
                      </a:lnTo>
                      <a:cubicBezTo>
                        <a:pt x="174309" y="21980"/>
                        <a:pt x="174309" y="21469"/>
                        <a:pt x="174309" y="20958"/>
                      </a:cubicBezTo>
                      <a:lnTo>
                        <a:pt x="174309" y="16869"/>
                      </a:lnTo>
                      <a:close/>
                      <a:moveTo>
                        <a:pt x="155396" y="16358"/>
                      </a:moveTo>
                      <a:cubicBezTo>
                        <a:pt x="155396" y="10223"/>
                        <a:pt x="152840" y="8179"/>
                        <a:pt x="148240" y="8179"/>
                      </a:cubicBezTo>
                      <a:cubicBezTo>
                        <a:pt x="145684" y="8179"/>
                        <a:pt x="143639" y="8690"/>
                        <a:pt x="142617" y="9712"/>
                      </a:cubicBezTo>
                      <a:lnTo>
                        <a:pt x="142617" y="1533"/>
                      </a:lnTo>
                      <a:cubicBezTo>
                        <a:pt x="142617" y="1022"/>
                        <a:pt x="142617" y="511"/>
                        <a:pt x="141594" y="511"/>
                      </a:cubicBezTo>
                      <a:lnTo>
                        <a:pt x="139550" y="511"/>
                      </a:lnTo>
                      <a:cubicBezTo>
                        <a:pt x="139039" y="511"/>
                        <a:pt x="138527" y="511"/>
                        <a:pt x="138527" y="1533"/>
                      </a:cubicBezTo>
                      <a:lnTo>
                        <a:pt x="138527" y="28626"/>
                      </a:lnTo>
                      <a:cubicBezTo>
                        <a:pt x="138527" y="29137"/>
                        <a:pt x="138527" y="29137"/>
                        <a:pt x="139550" y="29137"/>
                      </a:cubicBezTo>
                      <a:lnTo>
                        <a:pt x="141594" y="29137"/>
                      </a:lnTo>
                      <a:cubicBezTo>
                        <a:pt x="142106" y="29137"/>
                        <a:pt x="142617" y="29137"/>
                        <a:pt x="142617" y="28626"/>
                      </a:cubicBezTo>
                      <a:lnTo>
                        <a:pt x="142617" y="16358"/>
                      </a:lnTo>
                      <a:cubicBezTo>
                        <a:pt x="142617" y="13290"/>
                        <a:pt x="144150" y="11757"/>
                        <a:pt x="146706" y="11757"/>
                      </a:cubicBezTo>
                      <a:cubicBezTo>
                        <a:pt x="149773" y="11757"/>
                        <a:pt x="151307" y="12779"/>
                        <a:pt x="151307" y="16869"/>
                      </a:cubicBezTo>
                      <a:lnTo>
                        <a:pt x="151307" y="29137"/>
                      </a:lnTo>
                      <a:cubicBezTo>
                        <a:pt x="151307" y="29648"/>
                        <a:pt x="151818" y="29648"/>
                        <a:pt x="152329" y="29648"/>
                      </a:cubicBezTo>
                      <a:lnTo>
                        <a:pt x="154374" y="29648"/>
                      </a:lnTo>
                      <a:cubicBezTo>
                        <a:pt x="154885" y="29648"/>
                        <a:pt x="155396" y="29648"/>
                        <a:pt x="155396" y="29137"/>
                      </a:cubicBezTo>
                      <a:lnTo>
                        <a:pt x="155396" y="16358"/>
                      </a:lnTo>
                      <a:close/>
                      <a:moveTo>
                        <a:pt x="135460" y="26070"/>
                      </a:moveTo>
                      <a:cubicBezTo>
                        <a:pt x="135460" y="25559"/>
                        <a:pt x="134949" y="25559"/>
                        <a:pt x="134949" y="25559"/>
                      </a:cubicBezTo>
                      <a:cubicBezTo>
                        <a:pt x="134949" y="25559"/>
                        <a:pt x="134438" y="25559"/>
                        <a:pt x="134438" y="25559"/>
                      </a:cubicBezTo>
                      <a:cubicBezTo>
                        <a:pt x="133416" y="26070"/>
                        <a:pt x="131882" y="26581"/>
                        <a:pt x="130349" y="26581"/>
                      </a:cubicBezTo>
                      <a:cubicBezTo>
                        <a:pt x="128815" y="26581"/>
                        <a:pt x="127282" y="26070"/>
                        <a:pt x="126771" y="25047"/>
                      </a:cubicBezTo>
                      <a:cubicBezTo>
                        <a:pt x="125748" y="24025"/>
                        <a:pt x="125748" y="22491"/>
                        <a:pt x="125748" y="19425"/>
                      </a:cubicBezTo>
                      <a:lnTo>
                        <a:pt x="125748" y="18913"/>
                      </a:lnTo>
                      <a:cubicBezTo>
                        <a:pt x="125748" y="15846"/>
                        <a:pt x="125748" y="14313"/>
                        <a:pt x="127282" y="12779"/>
                      </a:cubicBezTo>
                      <a:cubicBezTo>
                        <a:pt x="128304" y="12268"/>
                        <a:pt x="129326" y="11757"/>
                        <a:pt x="130349" y="11757"/>
                      </a:cubicBezTo>
                      <a:cubicBezTo>
                        <a:pt x="131882" y="11757"/>
                        <a:pt x="133416" y="12268"/>
                        <a:pt x="134949" y="13290"/>
                      </a:cubicBezTo>
                      <a:cubicBezTo>
                        <a:pt x="134949" y="13290"/>
                        <a:pt x="135460" y="13290"/>
                        <a:pt x="135460" y="13290"/>
                      </a:cubicBezTo>
                      <a:cubicBezTo>
                        <a:pt x="135460" y="13290"/>
                        <a:pt x="135972" y="13290"/>
                        <a:pt x="135972" y="12779"/>
                      </a:cubicBezTo>
                      <a:lnTo>
                        <a:pt x="136483" y="11757"/>
                      </a:lnTo>
                      <a:cubicBezTo>
                        <a:pt x="136994" y="11246"/>
                        <a:pt x="136994" y="10735"/>
                        <a:pt x="136994" y="10735"/>
                      </a:cubicBezTo>
                      <a:cubicBezTo>
                        <a:pt x="136994" y="10735"/>
                        <a:pt x="136994" y="10223"/>
                        <a:pt x="136483" y="10223"/>
                      </a:cubicBezTo>
                      <a:cubicBezTo>
                        <a:pt x="134949" y="9201"/>
                        <a:pt x="132905" y="8690"/>
                        <a:pt x="130349" y="8690"/>
                      </a:cubicBezTo>
                      <a:cubicBezTo>
                        <a:pt x="127793" y="8690"/>
                        <a:pt x="125748" y="9201"/>
                        <a:pt x="124215" y="10735"/>
                      </a:cubicBezTo>
                      <a:cubicBezTo>
                        <a:pt x="122681" y="12268"/>
                        <a:pt x="122170" y="14313"/>
                        <a:pt x="122170" y="18402"/>
                      </a:cubicBezTo>
                      <a:lnTo>
                        <a:pt x="122170" y="19936"/>
                      </a:lnTo>
                      <a:cubicBezTo>
                        <a:pt x="122170" y="23514"/>
                        <a:pt x="122681" y="26581"/>
                        <a:pt x="124215" y="28115"/>
                      </a:cubicBezTo>
                      <a:cubicBezTo>
                        <a:pt x="125237" y="29137"/>
                        <a:pt x="127793" y="30159"/>
                        <a:pt x="130349" y="30159"/>
                      </a:cubicBezTo>
                      <a:cubicBezTo>
                        <a:pt x="132393" y="30159"/>
                        <a:pt x="134438" y="29648"/>
                        <a:pt x="135972" y="29137"/>
                      </a:cubicBezTo>
                      <a:cubicBezTo>
                        <a:pt x="136483" y="29137"/>
                        <a:pt x="136483" y="28626"/>
                        <a:pt x="136483" y="28626"/>
                      </a:cubicBezTo>
                      <a:cubicBezTo>
                        <a:pt x="136483" y="28626"/>
                        <a:pt x="136483" y="28115"/>
                        <a:pt x="136483" y="27603"/>
                      </a:cubicBezTo>
                      <a:lnTo>
                        <a:pt x="135460" y="26070"/>
                      </a:lnTo>
                      <a:close/>
                      <a:moveTo>
                        <a:pt x="112458" y="9201"/>
                      </a:moveTo>
                      <a:cubicBezTo>
                        <a:pt x="112458" y="8690"/>
                        <a:pt x="111947" y="8690"/>
                        <a:pt x="111435" y="8690"/>
                      </a:cubicBezTo>
                      <a:lnTo>
                        <a:pt x="109902" y="8690"/>
                      </a:lnTo>
                      <a:cubicBezTo>
                        <a:pt x="109391" y="8690"/>
                        <a:pt x="109391" y="8690"/>
                        <a:pt x="109391" y="9201"/>
                      </a:cubicBezTo>
                      <a:lnTo>
                        <a:pt x="109391" y="28626"/>
                      </a:lnTo>
                      <a:cubicBezTo>
                        <a:pt x="109391" y="29137"/>
                        <a:pt x="109391" y="29137"/>
                        <a:pt x="110413" y="29137"/>
                      </a:cubicBezTo>
                      <a:lnTo>
                        <a:pt x="112458" y="29137"/>
                      </a:lnTo>
                      <a:cubicBezTo>
                        <a:pt x="112969" y="29137"/>
                        <a:pt x="113480" y="29137"/>
                        <a:pt x="113480" y="28626"/>
                      </a:cubicBezTo>
                      <a:lnTo>
                        <a:pt x="113480" y="16869"/>
                      </a:lnTo>
                      <a:cubicBezTo>
                        <a:pt x="113480" y="15335"/>
                        <a:pt x="113480" y="13802"/>
                        <a:pt x="114502" y="13290"/>
                      </a:cubicBezTo>
                      <a:cubicBezTo>
                        <a:pt x="115014" y="12268"/>
                        <a:pt x="116036" y="12268"/>
                        <a:pt x="118081" y="12268"/>
                      </a:cubicBezTo>
                      <a:lnTo>
                        <a:pt x="119103" y="12268"/>
                      </a:lnTo>
                      <a:cubicBezTo>
                        <a:pt x="119614" y="12268"/>
                        <a:pt x="120125" y="12268"/>
                        <a:pt x="120125" y="11757"/>
                      </a:cubicBezTo>
                      <a:lnTo>
                        <a:pt x="120125" y="9712"/>
                      </a:lnTo>
                      <a:cubicBezTo>
                        <a:pt x="120125" y="9201"/>
                        <a:pt x="120125" y="9201"/>
                        <a:pt x="119103" y="9201"/>
                      </a:cubicBezTo>
                      <a:lnTo>
                        <a:pt x="118081" y="9201"/>
                      </a:lnTo>
                      <a:cubicBezTo>
                        <a:pt x="115525" y="9201"/>
                        <a:pt x="113991" y="10223"/>
                        <a:pt x="112969" y="11757"/>
                      </a:cubicBezTo>
                      <a:lnTo>
                        <a:pt x="112969" y="11757"/>
                      </a:lnTo>
                      <a:lnTo>
                        <a:pt x="112458" y="9201"/>
                      </a:lnTo>
                      <a:close/>
                      <a:moveTo>
                        <a:pt x="100701" y="3578"/>
                      </a:moveTo>
                      <a:cubicBezTo>
                        <a:pt x="100701" y="5112"/>
                        <a:pt x="101723" y="6134"/>
                        <a:pt x="103257" y="6134"/>
                      </a:cubicBezTo>
                      <a:lnTo>
                        <a:pt x="103257" y="6134"/>
                      </a:lnTo>
                      <a:cubicBezTo>
                        <a:pt x="104790" y="6134"/>
                        <a:pt x="105812" y="5623"/>
                        <a:pt x="105812" y="3578"/>
                      </a:cubicBezTo>
                      <a:lnTo>
                        <a:pt x="105812" y="3067"/>
                      </a:lnTo>
                      <a:cubicBezTo>
                        <a:pt x="105812" y="1533"/>
                        <a:pt x="104790" y="511"/>
                        <a:pt x="103257" y="511"/>
                      </a:cubicBezTo>
                      <a:lnTo>
                        <a:pt x="103257" y="511"/>
                      </a:lnTo>
                      <a:cubicBezTo>
                        <a:pt x="101723" y="1022"/>
                        <a:pt x="100701" y="1533"/>
                        <a:pt x="100701" y="3578"/>
                      </a:cubicBezTo>
                      <a:lnTo>
                        <a:pt x="100701" y="3578"/>
                      </a:lnTo>
                      <a:close/>
                      <a:moveTo>
                        <a:pt x="104790" y="9712"/>
                      </a:moveTo>
                      <a:cubicBezTo>
                        <a:pt x="104790" y="9201"/>
                        <a:pt x="104790" y="9201"/>
                        <a:pt x="103768" y="9201"/>
                      </a:cubicBezTo>
                      <a:lnTo>
                        <a:pt x="101723" y="9201"/>
                      </a:lnTo>
                      <a:cubicBezTo>
                        <a:pt x="101212" y="9201"/>
                        <a:pt x="100701" y="9201"/>
                        <a:pt x="100701" y="9712"/>
                      </a:cubicBezTo>
                      <a:lnTo>
                        <a:pt x="100701" y="28626"/>
                      </a:lnTo>
                      <a:cubicBezTo>
                        <a:pt x="100701" y="29137"/>
                        <a:pt x="100701" y="29137"/>
                        <a:pt x="101723" y="29137"/>
                      </a:cubicBezTo>
                      <a:lnTo>
                        <a:pt x="103768" y="29137"/>
                      </a:lnTo>
                      <a:cubicBezTo>
                        <a:pt x="104279" y="29137"/>
                        <a:pt x="104790" y="29137"/>
                        <a:pt x="104790" y="28626"/>
                      </a:cubicBezTo>
                      <a:lnTo>
                        <a:pt x="104790" y="9712"/>
                      </a:lnTo>
                      <a:close/>
                      <a:moveTo>
                        <a:pt x="87410" y="19936"/>
                      </a:moveTo>
                      <a:lnTo>
                        <a:pt x="88944" y="19936"/>
                      </a:lnTo>
                      <a:cubicBezTo>
                        <a:pt x="89455" y="19936"/>
                        <a:pt x="89455" y="19936"/>
                        <a:pt x="89455" y="20447"/>
                      </a:cubicBezTo>
                      <a:lnTo>
                        <a:pt x="94567" y="28626"/>
                      </a:lnTo>
                      <a:cubicBezTo>
                        <a:pt x="95078" y="29137"/>
                        <a:pt x="95078" y="29137"/>
                        <a:pt x="95589" y="29137"/>
                      </a:cubicBezTo>
                      <a:lnTo>
                        <a:pt x="98145" y="29137"/>
                      </a:lnTo>
                      <a:cubicBezTo>
                        <a:pt x="98656" y="29137"/>
                        <a:pt x="98656" y="29137"/>
                        <a:pt x="98656" y="28626"/>
                      </a:cubicBezTo>
                      <a:cubicBezTo>
                        <a:pt x="98656" y="28626"/>
                        <a:pt x="98656" y="28115"/>
                        <a:pt x="98145" y="27603"/>
                      </a:cubicBezTo>
                      <a:lnTo>
                        <a:pt x="92522" y="18913"/>
                      </a:lnTo>
                      <a:cubicBezTo>
                        <a:pt x="92522" y="18913"/>
                        <a:pt x="92522" y="18402"/>
                        <a:pt x="92522" y="18402"/>
                      </a:cubicBezTo>
                      <a:cubicBezTo>
                        <a:pt x="92522" y="18402"/>
                        <a:pt x="92522" y="17891"/>
                        <a:pt x="92522" y="17891"/>
                      </a:cubicBezTo>
                      <a:lnTo>
                        <a:pt x="98145" y="9201"/>
                      </a:lnTo>
                      <a:cubicBezTo>
                        <a:pt x="98656" y="8690"/>
                        <a:pt x="98145" y="8179"/>
                        <a:pt x="97634" y="8179"/>
                      </a:cubicBezTo>
                      <a:lnTo>
                        <a:pt x="95078" y="8179"/>
                      </a:lnTo>
                      <a:cubicBezTo>
                        <a:pt x="94567" y="8179"/>
                        <a:pt x="94056" y="8179"/>
                        <a:pt x="94056" y="8690"/>
                      </a:cubicBezTo>
                      <a:lnTo>
                        <a:pt x="89455" y="15846"/>
                      </a:lnTo>
                      <a:cubicBezTo>
                        <a:pt x="89455" y="16358"/>
                        <a:pt x="88944" y="16358"/>
                        <a:pt x="88433" y="16358"/>
                      </a:cubicBezTo>
                      <a:lnTo>
                        <a:pt x="86899" y="16358"/>
                      </a:lnTo>
                      <a:lnTo>
                        <a:pt x="86899" y="1022"/>
                      </a:lnTo>
                      <a:cubicBezTo>
                        <a:pt x="86899" y="511"/>
                        <a:pt x="86899" y="0"/>
                        <a:pt x="85877" y="0"/>
                      </a:cubicBezTo>
                      <a:lnTo>
                        <a:pt x="83832" y="0"/>
                      </a:lnTo>
                      <a:cubicBezTo>
                        <a:pt x="83321" y="0"/>
                        <a:pt x="82810" y="0"/>
                        <a:pt x="82810" y="1022"/>
                      </a:cubicBezTo>
                      <a:lnTo>
                        <a:pt x="82810" y="28115"/>
                      </a:lnTo>
                      <a:cubicBezTo>
                        <a:pt x="82810" y="28626"/>
                        <a:pt x="82810" y="28626"/>
                        <a:pt x="83832" y="28626"/>
                      </a:cubicBezTo>
                      <a:lnTo>
                        <a:pt x="85877" y="28626"/>
                      </a:lnTo>
                      <a:cubicBezTo>
                        <a:pt x="86388" y="28626"/>
                        <a:pt x="86899" y="28626"/>
                        <a:pt x="86899" y="28115"/>
                      </a:cubicBezTo>
                      <a:lnTo>
                        <a:pt x="86899" y="19936"/>
                      </a:lnTo>
                      <a:close/>
                      <a:moveTo>
                        <a:pt x="62874" y="28626"/>
                      </a:moveTo>
                      <a:cubicBezTo>
                        <a:pt x="62874" y="29137"/>
                        <a:pt x="62874" y="29137"/>
                        <a:pt x="63896" y="29137"/>
                      </a:cubicBezTo>
                      <a:lnTo>
                        <a:pt x="65941" y="29137"/>
                      </a:lnTo>
                      <a:cubicBezTo>
                        <a:pt x="66452" y="29137"/>
                        <a:pt x="66963" y="29137"/>
                        <a:pt x="66963" y="28626"/>
                      </a:cubicBezTo>
                      <a:lnTo>
                        <a:pt x="66963" y="15846"/>
                      </a:lnTo>
                      <a:cubicBezTo>
                        <a:pt x="66963" y="12268"/>
                        <a:pt x="68497" y="11246"/>
                        <a:pt x="71053" y="11246"/>
                      </a:cubicBezTo>
                      <a:cubicBezTo>
                        <a:pt x="74120" y="11246"/>
                        <a:pt x="75142" y="12779"/>
                        <a:pt x="75142" y="16358"/>
                      </a:cubicBezTo>
                      <a:lnTo>
                        <a:pt x="75142" y="28626"/>
                      </a:lnTo>
                      <a:cubicBezTo>
                        <a:pt x="75142" y="29137"/>
                        <a:pt x="75142" y="29137"/>
                        <a:pt x="76165" y="29137"/>
                      </a:cubicBezTo>
                      <a:lnTo>
                        <a:pt x="78209" y="29137"/>
                      </a:lnTo>
                      <a:cubicBezTo>
                        <a:pt x="78720" y="29137"/>
                        <a:pt x="79232" y="29137"/>
                        <a:pt x="79232" y="28626"/>
                      </a:cubicBezTo>
                      <a:lnTo>
                        <a:pt x="79232" y="16869"/>
                      </a:lnTo>
                      <a:cubicBezTo>
                        <a:pt x="79232" y="10735"/>
                        <a:pt x="76676" y="8690"/>
                        <a:pt x="72075" y="8690"/>
                      </a:cubicBezTo>
                      <a:cubicBezTo>
                        <a:pt x="69519" y="8690"/>
                        <a:pt x="67475" y="9712"/>
                        <a:pt x="66452" y="11246"/>
                      </a:cubicBezTo>
                      <a:lnTo>
                        <a:pt x="66452" y="11246"/>
                      </a:lnTo>
                      <a:lnTo>
                        <a:pt x="66452" y="9712"/>
                      </a:lnTo>
                      <a:cubicBezTo>
                        <a:pt x="66452" y="9201"/>
                        <a:pt x="65941" y="9201"/>
                        <a:pt x="65430" y="9201"/>
                      </a:cubicBezTo>
                      <a:lnTo>
                        <a:pt x="63896" y="9201"/>
                      </a:lnTo>
                      <a:cubicBezTo>
                        <a:pt x="63385" y="9201"/>
                        <a:pt x="63385" y="9201"/>
                        <a:pt x="63385" y="9712"/>
                      </a:cubicBezTo>
                      <a:lnTo>
                        <a:pt x="63385" y="28626"/>
                      </a:lnTo>
                      <a:close/>
                      <a:moveTo>
                        <a:pt x="54695" y="22491"/>
                      </a:moveTo>
                      <a:cubicBezTo>
                        <a:pt x="54695" y="24025"/>
                        <a:pt x="54695" y="25047"/>
                        <a:pt x="53673" y="25559"/>
                      </a:cubicBezTo>
                      <a:cubicBezTo>
                        <a:pt x="53162" y="26070"/>
                        <a:pt x="52139" y="26581"/>
                        <a:pt x="50606" y="26581"/>
                      </a:cubicBezTo>
                      <a:cubicBezTo>
                        <a:pt x="49072" y="26581"/>
                        <a:pt x="48050" y="26581"/>
                        <a:pt x="47539" y="25559"/>
                      </a:cubicBezTo>
                      <a:cubicBezTo>
                        <a:pt x="47028" y="25047"/>
                        <a:pt x="46517" y="24025"/>
                        <a:pt x="46517" y="22491"/>
                      </a:cubicBezTo>
                      <a:lnTo>
                        <a:pt x="46517" y="9201"/>
                      </a:lnTo>
                      <a:cubicBezTo>
                        <a:pt x="46517" y="8690"/>
                        <a:pt x="46517" y="8690"/>
                        <a:pt x="45494" y="8690"/>
                      </a:cubicBezTo>
                      <a:lnTo>
                        <a:pt x="43450" y="8690"/>
                      </a:lnTo>
                      <a:cubicBezTo>
                        <a:pt x="42938" y="8690"/>
                        <a:pt x="42427" y="8690"/>
                        <a:pt x="42427" y="9201"/>
                      </a:cubicBezTo>
                      <a:lnTo>
                        <a:pt x="42427" y="23003"/>
                      </a:lnTo>
                      <a:cubicBezTo>
                        <a:pt x="42427" y="25559"/>
                        <a:pt x="42938" y="27092"/>
                        <a:pt x="44472" y="28115"/>
                      </a:cubicBezTo>
                      <a:cubicBezTo>
                        <a:pt x="46005" y="29137"/>
                        <a:pt x="47539" y="29648"/>
                        <a:pt x="50095" y="29648"/>
                      </a:cubicBezTo>
                      <a:cubicBezTo>
                        <a:pt x="52651" y="29648"/>
                        <a:pt x="54695" y="29137"/>
                        <a:pt x="55718" y="28115"/>
                      </a:cubicBezTo>
                      <a:cubicBezTo>
                        <a:pt x="57251" y="27092"/>
                        <a:pt x="57762" y="25559"/>
                        <a:pt x="57762" y="23003"/>
                      </a:cubicBezTo>
                      <a:lnTo>
                        <a:pt x="57762" y="9201"/>
                      </a:lnTo>
                      <a:cubicBezTo>
                        <a:pt x="57762" y="8690"/>
                        <a:pt x="57762" y="8179"/>
                        <a:pt x="56740" y="8179"/>
                      </a:cubicBezTo>
                      <a:lnTo>
                        <a:pt x="54695" y="8179"/>
                      </a:lnTo>
                      <a:cubicBezTo>
                        <a:pt x="54184" y="8179"/>
                        <a:pt x="53673" y="8179"/>
                        <a:pt x="53673" y="8690"/>
                      </a:cubicBezTo>
                      <a:lnTo>
                        <a:pt x="53673" y="22491"/>
                      </a:lnTo>
                      <a:close/>
                      <a:moveTo>
                        <a:pt x="27603" y="17891"/>
                      </a:moveTo>
                      <a:cubicBezTo>
                        <a:pt x="27603" y="13802"/>
                        <a:pt x="28114" y="11757"/>
                        <a:pt x="31693" y="11757"/>
                      </a:cubicBezTo>
                      <a:cubicBezTo>
                        <a:pt x="34760" y="11757"/>
                        <a:pt x="35782" y="13290"/>
                        <a:pt x="35782" y="17380"/>
                      </a:cubicBezTo>
                      <a:cubicBezTo>
                        <a:pt x="35782" y="17891"/>
                        <a:pt x="35782" y="17891"/>
                        <a:pt x="35271" y="17891"/>
                      </a:cubicBezTo>
                      <a:lnTo>
                        <a:pt x="27603" y="17891"/>
                      </a:lnTo>
                      <a:close/>
                      <a:moveTo>
                        <a:pt x="39360" y="16869"/>
                      </a:moveTo>
                      <a:cubicBezTo>
                        <a:pt x="39360" y="10735"/>
                        <a:pt x="36804" y="8690"/>
                        <a:pt x="31693" y="8690"/>
                      </a:cubicBezTo>
                      <a:cubicBezTo>
                        <a:pt x="25559" y="8690"/>
                        <a:pt x="23514" y="12268"/>
                        <a:pt x="23514" y="18913"/>
                      </a:cubicBezTo>
                      <a:lnTo>
                        <a:pt x="23514" y="20447"/>
                      </a:lnTo>
                      <a:cubicBezTo>
                        <a:pt x="23514" y="27603"/>
                        <a:pt x="25559" y="30670"/>
                        <a:pt x="32204" y="30670"/>
                      </a:cubicBezTo>
                      <a:cubicBezTo>
                        <a:pt x="34248" y="30670"/>
                        <a:pt x="36804" y="30159"/>
                        <a:pt x="38338" y="29648"/>
                      </a:cubicBezTo>
                      <a:cubicBezTo>
                        <a:pt x="38849" y="29648"/>
                        <a:pt x="38849" y="29137"/>
                        <a:pt x="38849" y="29137"/>
                      </a:cubicBezTo>
                      <a:cubicBezTo>
                        <a:pt x="38849" y="29137"/>
                        <a:pt x="38849" y="28626"/>
                        <a:pt x="38849" y="28115"/>
                      </a:cubicBezTo>
                      <a:lnTo>
                        <a:pt x="38338" y="27092"/>
                      </a:lnTo>
                      <a:cubicBezTo>
                        <a:pt x="38338" y="26581"/>
                        <a:pt x="37827" y="26581"/>
                        <a:pt x="37827" y="26581"/>
                      </a:cubicBezTo>
                      <a:cubicBezTo>
                        <a:pt x="37827" y="26581"/>
                        <a:pt x="37316" y="26581"/>
                        <a:pt x="37316" y="26581"/>
                      </a:cubicBezTo>
                      <a:cubicBezTo>
                        <a:pt x="36293" y="27092"/>
                        <a:pt x="34248" y="27603"/>
                        <a:pt x="32715" y="27603"/>
                      </a:cubicBezTo>
                      <a:cubicBezTo>
                        <a:pt x="28626" y="27603"/>
                        <a:pt x="27603" y="26070"/>
                        <a:pt x="27603" y="21980"/>
                      </a:cubicBezTo>
                      <a:lnTo>
                        <a:pt x="38338" y="21980"/>
                      </a:lnTo>
                      <a:cubicBezTo>
                        <a:pt x="39360" y="21980"/>
                        <a:pt x="39360" y="21469"/>
                        <a:pt x="39360" y="20958"/>
                      </a:cubicBezTo>
                      <a:lnTo>
                        <a:pt x="39360" y="16869"/>
                      </a:lnTo>
                      <a:close/>
                      <a:moveTo>
                        <a:pt x="14824" y="28115"/>
                      </a:moveTo>
                      <a:cubicBezTo>
                        <a:pt x="15335" y="29137"/>
                        <a:pt x="15846" y="29137"/>
                        <a:pt x="16869" y="29137"/>
                      </a:cubicBezTo>
                      <a:lnTo>
                        <a:pt x="18913" y="29137"/>
                      </a:lnTo>
                      <a:cubicBezTo>
                        <a:pt x="19936" y="29137"/>
                        <a:pt x="19936" y="29137"/>
                        <a:pt x="19936" y="28115"/>
                      </a:cubicBezTo>
                      <a:lnTo>
                        <a:pt x="19936" y="3067"/>
                      </a:lnTo>
                      <a:cubicBezTo>
                        <a:pt x="19936" y="2556"/>
                        <a:pt x="19936" y="2045"/>
                        <a:pt x="18913" y="2045"/>
                      </a:cubicBezTo>
                      <a:lnTo>
                        <a:pt x="16869" y="2045"/>
                      </a:lnTo>
                      <a:cubicBezTo>
                        <a:pt x="16357" y="2045"/>
                        <a:pt x="15846" y="2045"/>
                        <a:pt x="15846" y="3067"/>
                      </a:cubicBezTo>
                      <a:lnTo>
                        <a:pt x="15846" y="23514"/>
                      </a:lnTo>
                      <a:lnTo>
                        <a:pt x="15846" y="23514"/>
                      </a:lnTo>
                      <a:lnTo>
                        <a:pt x="5112" y="3578"/>
                      </a:lnTo>
                      <a:cubicBezTo>
                        <a:pt x="4601" y="2556"/>
                        <a:pt x="4089" y="2556"/>
                        <a:pt x="3067" y="2556"/>
                      </a:cubicBezTo>
                      <a:lnTo>
                        <a:pt x="1022" y="2556"/>
                      </a:lnTo>
                      <a:cubicBezTo>
                        <a:pt x="0" y="2556"/>
                        <a:pt x="0" y="2556"/>
                        <a:pt x="0" y="3578"/>
                      </a:cubicBezTo>
                      <a:lnTo>
                        <a:pt x="0" y="28626"/>
                      </a:lnTo>
                      <a:cubicBezTo>
                        <a:pt x="0" y="29137"/>
                        <a:pt x="0" y="29648"/>
                        <a:pt x="1022" y="29648"/>
                      </a:cubicBezTo>
                      <a:lnTo>
                        <a:pt x="3067" y="29648"/>
                      </a:lnTo>
                      <a:cubicBezTo>
                        <a:pt x="3578" y="29648"/>
                        <a:pt x="4089" y="29648"/>
                        <a:pt x="4089" y="28626"/>
                      </a:cubicBezTo>
                      <a:lnTo>
                        <a:pt x="4089" y="8179"/>
                      </a:lnTo>
                      <a:lnTo>
                        <a:pt x="4089" y="8179"/>
                      </a:lnTo>
                      <a:lnTo>
                        <a:pt x="14824" y="28115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2" name="Freihandform: Form 131">
                  <a:extLst>
                    <a:ext uri="{FF2B5EF4-FFF2-40B4-BE49-F238E27FC236}">
                      <a16:creationId xmlns:a16="http://schemas.microsoft.com/office/drawing/2014/main" id="{025DE63B-9E5D-41A1-8086-5FC5C2FD7117}"/>
                    </a:ext>
                  </a:extLst>
                </p:cNvPr>
                <p:cNvSpPr/>
                <p:nvPr/>
              </p:nvSpPr>
              <p:spPr>
                <a:xfrm>
                  <a:off x="6586317" y="3729172"/>
                  <a:ext cx="170220" cy="30159"/>
                </a:xfrm>
                <a:custGeom>
                  <a:avLst/>
                  <a:gdLst>
                    <a:gd name="connsiteX0" fmla="*/ 162552 w 170220"/>
                    <a:gd name="connsiteY0" fmla="*/ 29137 h 30159"/>
                    <a:gd name="connsiteX1" fmla="*/ 170220 w 170220"/>
                    <a:gd name="connsiteY1" fmla="*/ 23003 h 30159"/>
                    <a:gd name="connsiteX2" fmla="*/ 170220 w 170220"/>
                    <a:gd name="connsiteY2" fmla="*/ 22491 h 30159"/>
                    <a:gd name="connsiteX3" fmla="*/ 165108 w 170220"/>
                    <a:gd name="connsiteY3" fmla="*/ 16358 h 30159"/>
                    <a:gd name="connsiteX4" fmla="*/ 163064 w 170220"/>
                    <a:gd name="connsiteY4" fmla="*/ 15846 h 30159"/>
                    <a:gd name="connsiteX5" fmla="*/ 159997 w 170220"/>
                    <a:gd name="connsiteY5" fmla="*/ 13290 h 30159"/>
                    <a:gd name="connsiteX6" fmla="*/ 159997 w 170220"/>
                    <a:gd name="connsiteY6" fmla="*/ 13290 h 30159"/>
                    <a:gd name="connsiteX7" fmla="*/ 163575 w 170220"/>
                    <a:gd name="connsiteY7" fmla="*/ 10735 h 30159"/>
                    <a:gd name="connsiteX8" fmla="*/ 167153 w 170220"/>
                    <a:gd name="connsiteY8" fmla="*/ 11246 h 30159"/>
                    <a:gd name="connsiteX9" fmla="*/ 168175 w 170220"/>
                    <a:gd name="connsiteY9" fmla="*/ 11246 h 30159"/>
                    <a:gd name="connsiteX10" fmla="*/ 168687 w 170220"/>
                    <a:gd name="connsiteY10" fmla="*/ 10735 h 30159"/>
                    <a:gd name="connsiteX11" fmla="*/ 168687 w 170220"/>
                    <a:gd name="connsiteY11" fmla="*/ 9712 h 30159"/>
                    <a:gd name="connsiteX12" fmla="*/ 169198 w 170220"/>
                    <a:gd name="connsiteY12" fmla="*/ 8690 h 30159"/>
                    <a:gd name="connsiteX13" fmla="*/ 168687 w 170220"/>
                    <a:gd name="connsiteY13" fmla="*/ 8179 h 30159"/>
                    <a:gd name="connsiteX14" fmla="*/ 163575 w 170220"/>
                    <a:gd name="connsiteY14" fmla="*/ 7668 h 30159"/>
                    <a:gd name="connsiteX15" fmla="*/ 156418 w 170220"/>
                    <a:gd name="connsiteY15" fmla="*/ 13290 h 30159"/>
                    <a:gd name="connsiteX16" fmla="*/ 156418 w 170220"/>
                    <a:gd name="connsiteY16" fmla="*/ 13802 h 30159"/>
                    <a:gd name="connsiteX17" fmla="*/ 161530 w 170220"/>
                    <a:gd name="connsiteY17" fmla="*/ 19425 h 30159"/>
                    <a:gd name="connsiteX18" fmla="*/ 163575 w 170220"/>
                    <a:gd name="connsiteY18" fmla="*/ 19936 h 30159"/>
                    <a:gd name="connsiteX19" fmla="*/ 166642 w 170220"/>
                    <a:gd name="connsiteY19" fmla="*/ 23003 h 30159"/>
                    <a:gd name="connsiteX20" fmla="*/ 166642 w 170220"/>
                    <a:gd name="connsiteY20" fmla="*/ 23003 h 30159"/>
                    <a:gd name="connsiteX21" fmla="*/ 162552 w 170220"/>
                    <a:gd name="connsiteY21" fmla="*/ 26070 h 30159"/>
                    <a:gd name="connsiteX22" fmla="*/ 158463 w 170220"/>
                    <a:gd name="connsiteY22" fmla="*/ 25559 h 30159"/>
                    <a:gd name="connsiteX23" fmla="*/ 156930 w 170220"/>
                    <a:gd name="connsiteY23" fmla="*/ 25047 h 30159"/>
                    <a:gd name="connsiteX24" fmla="*/ 156418 w 170220"/>
                    <a:gd name="connsiteY24" fmla="*/ 25559 h 30159"/>
                    <a:gd name="connsiteX25" fmla="*/ 156418 w 170220"/>
                    <a:gd name="connsiteY25" fmla="*/ 26070 h 30159"/>
                    <a:gd name="connsiteX26" fmla="*/ 155907 w 170220"/>
                    <a:gd name="connsiteY26" fmla="*/ 27092 h 30159"/>
                    <a:gd name="connsiteX27" fmla="*/ 156418 w 170220"/>
                    <a:gd name="connsiteY27" fmla="*/ 27603 h 30159"/>
                    <a:gd name="connsiteX28" fmla="*/ 162552 w 170220"/>
                    <a:gd name="connsiteY28" fmla="*/ 29137 h 30159"/>
                    <a:gd name="connsiteX29" fmla="*/ 134949 w 170220"/>
                    <a:gd name="connsiteY29" fmla="*/ 28115 h 30159"/>
                    <a:gd name="connsiteX30" fmla="*/ 135972 w 170220"/>
                    <a:gd name="connsiteY30" fmla="*/ 28626 h 30159"/>
                    <a:gd name="connsiteX31" fmla="*/ 138016 w 170220"/>
                    <a:gd name="connsiteY31" fmla="*/ 28626 h 30159"/>
                    <a:gd name="connsiteX32" fmla="*/ 139039 w 170220"/>
                    <a:gd name="connsiteY32" fmla="*/ 28115 h 30159"/>
                    <a:gd name="connsiteX33" fmla="*/ 139039 w 170220"/>
                    <a:gd name="connsiteY33" fmla="*/ 15335 h 30159"/>
                    <a:gd name="connsiteX34" fmla="*/ 143639 w 170220"/>
                    <a:gd name="connsiteY34" fmla="*/ 10735 h 30159"/>
                    <a:gd name="connsiteX35" fmla="*/ 148240 w 170220"/>
                    <a:gd name="connsiteY35" fmla="*/ 15846 h 30159"/>
                    <a:gd name="connsiteX36" fmla="*/ 148240 w 170220"/>
                    <a:gd name="connsiteY36" fmla="*/ 28115 h 30159"/>
                    <a:gd name="connsiteX37" fmla="*/ 149262 w 170220"/>
                    <a:gd name="connsiteY37" fmla="*/ 28626 h 30159"/>
                    <a:gd name="connsiteX38" fmla="*/ 151307 w 170220"/>
                    <a:gd name="connsiteY38" fmla="*/ 28626 h 30159"/>
                    <a:gd name="connsiteX39" fmla="*/ 152329 w 170220"/>
                    <a:gd name="connsiteY39" fmla="*/ 28115 h 30159"/>
                    <a:gd name="connsiteX40" fmla="*/ 152329 w 170220"/>
                    <a:gd name="connsiteY40" fmla="*/ 16358 h 30159"/>
                    <a:gd name="connsiteX41" fmla="*/ 145173 w 170220"/>
                    <a:gd name="connsiteY41" fmla="*/ 8179 h 30159"/>
                    <a:gd name="connsiteX42" fmla="*/ 139039 w 170220"/>
                    <a:gd name="connsiteY42" fmla="*/ 10735 h 30159"/>
                    <a:gd name="connsiteX43" fmla="*/ 139039 w 170220"/>
                    <a:gd name="connsiteY43" fmla="*/ 10735 h 30159"/>
                    <a:gd name="connsiteX44" fmla="*/ 139039 w 170220"/>
                    <a:gd name="connsiteY44" fmla="*/ 9201 h 30159"/>
                    <a:gd name="connsiteX45" fmla="*/ 138016 w 170220"/>
                    <a:gd name="connsiteY45" fmla="*/ 8690 h 30159"/>
                    <a:gd name="connsiteX46" fmla="*/ 136483 w 170220"/>
                    <a:gd name="connsiteY46" fmla="*/ 8690 h 30159"/>
                    <a:gd name="connsiteX47" fmla="*/ 135972 w 170220"/>
                    <a:gd name="connsiteY47" fmla="*/ 9201 h 30159"/>
                    <a:gd name="connsiteX48" fmla="*/ 135972 w 170220"/>
                    <a:gd name="connsiteY48" fmla="*/ 28115 h 30159"/>
                    <a:gd name="connsiteX49" fmla="*/ 118592 w 170220"/>
                    <a:gd name="connsiteY49" fmla="*/ 17380 h 30159"/>
                    <a:gd name="connsiteX50" fmla="*/ 122681 w 170220"/>
                    <a:gd name="connsiteY50" fmla="*/ 11246 h 30159"/>
                    <a:gd name="connsiteX51" fmla="*/ 126770 w 170220"/>
                    <a:gd name="connsiteY51" fmla="*/ 16869 h 30159"/>
                    <a:gd name="connsiteX52" fmla="*/ 126259 w 170220"/>
                    <a:gd name="connsiteY52" fmla="*/ 17380 h 30159"/>
                    <a:gd name="connsiteX53" fmla="*/ 118592 w 170220"/>
                    <a:gd name="connsiteY53" fmla="*/ 17380 h 30159"/>
                    <a:gd name="connsiteX54" fmla="*/ 130860 w 170220"/>
                    <a:gd name="connsiteY54" fmla="*/ 16358 h 30159"/>
                    <a:gd name="connsiteX55" fmla="*/ 123192 w 170220"/>
                    <a:gd name="connsiteY55" fmla="*/ 8179 h 30159"/>
                    <a:gd name="connsiteX56" fmla="*/ 115014 w 170220"/>
                    <a:gd name="connsiteY56" fmla="*/ 18402 h 30159"/>
                    <a:gd name="connsiteX57" fmla="*/ 115014 w 170220"/>
                    <a:gd name="connsiteY57" fmla="*/ 19936 h 30159"/>
                    <a:gd name="connsiteX58" fmla="*/ 123703 w 170220"/>
                    <a:gd name="connsiteY58" fmla="*/ 30159 h 30159"/>
                    <a:gd name="connsiteX59" fmla="*/ 129838 w 170220"/>
                    <a:gd name="connsiteY59" fmla="*/ 29137 h 30159"/>
                    <a:gd name="connsiteX60" fmla="*/ 130349 w 170220"/>
                    <a:gd name="connsiteY60" fmla="*/ 28626 h 30159"/>
                    <a:gd name="connsiteX61" fmla="*/ 130349 w 170220"/>
                    <a:gd name="connsiteY61" fmla="*/ 27603 h 30159"/>
                    <a:gd name="connsiteX62" fmla="*/ 129838 w 170220"/>
                    <a:gd name="connsiteY62" fmla="*/ 26581 h 30159"/>
                    <a:gd name="connsiteX63" fmla="*/ 129326 w 170220"/>
                    <a:gd name="connsiteY63" fmla="*/ 26070 h 30159"/>
                    <a:gd name="connsiteX64" fmla="*/ 128815 w 170220"/>
                    <a:gd name="connsiteY64" fmla="*/ 26070 h 30159"/>
                    <a:gd name="connsiteX65" fmla="*/ 124215 w 170220"/>
                    <a:gd name="connsiteY65" fmla="*/ 27092 h 30159"/>
                    <a:gd name="connsiteX66" fmla="*/ 119103 w 170220"/>
                    <a:gd name="connsiteY66" fmla="*/ 21469 h 30159"/>
                    <a:gd name="connsiteX67" fmla="*/ 129838 w 170220"/>
                    <a:gd name="connsiteY67" fmla="*/ 21469 h 30159"/>
                    <a:gd name="connsiteX68" fmla="*/ 130860 w 170220"/>
                    <a:gd name="connsiteY68" fmla="*/ 20447 h 30159"/>
                    <a:gd name="connsiteX69" fmla="*/ 130860 w 170220"/>
                    <a:gd name="connsiteY69" fmla="*/ 16358 h 30159"/>
                    <a:gd name="connsiteX70" fmla="*/ 103768 w 170220"/>
                    <a:gd name="connsiteY70" fmla="*/ 29137 h 30159"/>
                    <a:gd name="connsiteX71" fmla="*/ 111435 w 170220"/>
                    <a:gd name="connsiteY71" fmla="*/ 23003 h 30159"/>
                    <a:gd name="connsiteX72" fmla="*/ 111435 w 170220"/>
                    <a:gd name="connsiteY72" fmla="*/ 22491 h 30159"/>
                    <a:gd name="connsiteX73" fmla="*/ 106324 w 170220"/>
                    <a:gd name="connsiteY73" fmla="*/ 16358 h 30159"/>
                    <a:gd name="connsiteX74" fmla="*/ 104279 w 170220"/>
                    <a:gd name="connsiteY74" fmla="*/ 15846 h 30159"/>
                    <a:gd name="connsiteX75" fmla="*/ 101212 w 170220"/>
                    <a:gd name="connsiteY75" fmla="*/ 13290 h 30159"/>
                    <a:gd name="connsiteX76" fmla="*/ 101212 w 170220"/>
                    <a:gd name="connsiteY76" fmla="*/ 13290 h 30159"/>
                    <a:gd name="connsiteX77" fmla="*/ 104790 w 170220"/>
                    <a:gd name="connsiteY77" fmla="*/ 10735 h 30159"/>
                    <a:gd name="connsiteX78" fmla="*/ 108368 w 170220"/>
                    <a:gd name="connsiteY78" fmla="*/ 11246 h 30159"/>
                    <a:gd name="connsiteX79" fmla="*/ 109391 w 170220"/>
                    <a:gd name="connsiteY79" fmla="*/ 11246 h 30159"/>
                    <a:gd name="connsiteX80" fmla="*/ 109902 w 170220"/>
                    <a:gd name="connsiteY80" fmla="*/ 10735 h 30159"/>
                    <a:gd name="connsiteX81" fmla="*/ 109902 w 170220"/>
                    <a:gd name="connsiteY81" fmla="*/ 9712 h 30159"/>
                    <a:gd name="connsiteX82" fmla="*/ 110413 w 170220"/>
                    <a:gd name="connsiteY82" fmla="*/ 8690 h 30159"/>
                    <a:gd name="connsiteX83" fmla="*/ 109902 w 170220"/>
                    <a:gd name="connsiteY83" fmla="*/ 8179 h 30159"/>
                    <a:gd name="connsiteX84" fmla="*/ 104790 w 170220"/>
                    <a:gd name="connsiteY84" fmla="*/ 7668 h 30159"/>
                    <a:gd name="connsiteX85" fmla="*/ 97634 w 170220"/>
                    <a:gd name="connsiteY85" fmla="*/ 13290 h 30159"/>
                    <a:gd name="connsiteX86" fmla="*/ 97634 w 170220"/>
                    <a:gd name="connsiteY86" fmla="*/ 13802 h 30159"/>
                    <a:gd name="connsiteX87" fmla="*/ 102745 w 170220"/>
                    <a:gd name="connsiteY87" fmla="*/ 19425 h 30159"/>
                    <a:gd name="connsiteX88" fmla="*/ 104790 w 170220"/>
                    <a:gd name="connsiteY88" fmla="*/ 19936 h 30159"/>
                    <a:gd name="connsiteX89" fmla="*/ 107857 w 170220"/>
                    <a:gd name="connsiteY89" fmla="*/ 23003 h 30159"/>
                    <a:gd name="connsiteX90" fmla="*/ 107857 w 170220"/>
                    <a:gd name="connsiteY90" fmla="*/ 23003 h 30159"/>
                    <a:gd name="connsiteX91" fmla="*/ 103768 w 170220"/>
                    <a:gd name="connsiteY91" fmla="*/ 26070 h 30159"/>
                    <a:gd name="connsiteX92" fmla="*/ 99678 w 170220"/>
                    <a:gd name="connsiteY92" fmla="*/ 25559 h 30159"/>
                    <a:gd name="connsiteX93" fmla="*/ 98145 w 170220"/>
                    <a:gd name="connsiteY93" fmla="*/ 25047 h 30159"/>
                    <a:gd name="connsiteX94" fmla="*/ 97634 w 170220"/>
                    <a:gd name="connsiteY94" fmla="*/ 25559 h 30159"/>
                    <a:gd name="connsiteX95" fmla="*/ 97634 w 170220"/>
                    <a:gd name="connsiteY95" fmla="*/ 26070 h 30159"/>
                    <a:gd name="connsiteX96" fmla="*/ 97634 w 170220"/>
                    <a:gd name="connsiteY96" fmla="*/ 27092 h 30159"/>
                    <a:gd name="connsiteX97" fmla="*/ 98145 w 170220"/>
                    <a:gd name="connsiteY97" fmla="*/ 27603 h 30159"/>
                    <a:gd name="connsiteX98" fmla="*/ 103768 w 170220"/>
                    <a:gd name="connsiteY98" fmla="*/ 29137 h 30159"/>
                    <a:gd name="connsiteX99" fmla="*/ 88944 w 170220"/>
                    <a:gd name="connsiteY99" fmla="*/ 22491 h 30159"/>
                    <a:gd name="connsiteX100" fmla="*/ 84854 w 170220"/>
                    <a:gd name="connsiteY100" fmla="*/ 26070 h 30159"/>
                    <a:gd name="connsiteX101" fmla="*/ 83321 w 170220"/>
                    <a:gd name="connsiteY101" fmla="*/ 26070 h 30159"/>
                    <a:gd name="connsiteX102" fmla="*/ 80254 w 170220"/>
                    <a:gd name="connsiteY102" fmla="*/ 23003 h 30159"/>
                    <a:gd name="connsiteX103" fmla="*/ 80254 w 170220"/>
                    <a:gd name="connsiteY103" fmla="*/ 22491 h 30159"/>
                    <a:gd name="connsiteX104" fmla="*/ 84343 w 170220"/>
                    <a:gd name="connsiteY104" fmla="*/ 19425 h 30159"/>
                    <a:gd name="connsiteX105" fmla="*/ 86388 w 170220"/>
                    <a:gd name="connsiteY105" fmla="*/ 19425 h 30159"/>
                    <a:gd name="connsiteX106" fmla="*/ 88433 w 170220"/>
                    <a:gd name="connsiteY106" fmla="*/ 19425 h 30159"/>
                    <a:gd name="connsiteX107" fmla="*/ 88433 w 170220"/>
                    <a:gd name="connsiteY107" fmla="*/ 22491 h 30159"/>
                    <a:gd name="connsiteX108" fmla="*/ 89455 w 170220"/>
                    <a:gd name="connsiteY108" fmla="*/ 28115 h 30159"/>
                    <a:gd name="connsiteX109" fmla="*/ 90477 w 170220"/>
                    <a:gd name="connsiteY109" fmla="*/ 28626 h 30159"/>
                    <a:gd name="connsiteX110" fmla="*/ 92011 w 170220"/>
                    <a:gd name="connsiteY110" fmla="*/ 28626 h 30159"/>
                    <a:gd name="connsiteX111" fmla="*/ 92522 w 170220"/>
                    <a:gd name="connsiteY111" fmla="*/ 28115 h 30159"/>
                    <a:gd name="connsiteX112" fmla="*/ 92522 w 170220"/>
                    <a:gd name="connsiteY112" fmla="*/ 14824 h 30159"/>
                    <a:gd name="connsiteX113" fmla="*/ 84854 w 170220"/>
                    <a:gd name="connsiteY113" fmla="*/ 7668 h 30159"/>
                    <a:gd name="connsiteX114" fmla="*/ 78720 w 170220"/>
                    <a:gd name="connsiteY114" fmla="*/ 8690 h 30159"/>
                    <a:gd name="connsiteX115" fmla="*/ 78209 w 170220"/>
                    <a:gd name="connsiteY115" fmla="*/ 9201 h 30159"/>
                    <a:gd name="connsiteX116" fmla="*/ 78209 w 170220"/>
                    <a:gd name="connsiteY116" fmla="*/ 10223 h 30159"/>
                    <a:gd name="connsiteX117" fmla="*/ 78209 w 170220"/>
                    <a:gd name="connsiteY117" fmla="*/ 11246 h 30159"/>
                    <a:gd name="connsiteX118" fmla="*/ 78720 w 170220"/>
                    <a:gd name="connsiteY118" fmla="*/ 11757 h 30159"/>
                    <a:gd name="connsiteX119" fmla="*/ 79743 w 170220"/>
                    <a:gd name="connsiteY119" fmla="*/ 11757 h 30159"/>
                    <a:gd name="connsiteX120" fmla="*/ 84343 w 170220"/>
                    <a:gd name="connsiteY120" fmla="*/ 11246 h 30159"/>
                    <a:gd name="connsiteX121" fmla="*/ 88433 w 170220"/>
                    <a:gd name="connsiteY121" fmla="*/ 14824 h 30159"/>
                    <a:gd name="connsiteX122" fmla="*/ 88433 w 170220"/>
                    <a:gd name="connsiteY122" fmla="*/ 16358 h 30159"/>
                    <a:gd name="connsiteX123" fmla="*/ 85877 w 170220"/>
                    <a:gd name="connsiteY123" fmla="*/ 16358 h 30159"/>
                    <a:gd name="connsiteX124" fmla="*/ 84854 w 170220"/>
                    <a:gd name="connsiteY124" fmla="*/ 16358 h 30159"/>
                    <a:gd name="connsiteX125" fmla="*/ 78209 w 170220"/>
                    <a:gd name="connsiteY125" fmla="*/ 17891 h 30159"/>
                    <a:gd name="connsiteX126" fmla="*/ 76165 w 170220"/>
                    <a:gd name="connsiteY126" fmla="*/ 23003 h 30159"/>
                    <a:gd name="connsiteX127" fmla="*/ 76165 w 170220"/>
                    <a:gd name="connsiteY127" fmla="*/ 23514 h 30159"/>
                    <a:gd name="connsiteX128" fmla="*/ 82299 w 170220"/>
                    <a:gd name="connsiteY128" fmla="*/ 29648 h 30159"/>
                    <a:gd name="connsiteX129" fmla="*/ 83832 w 170220"/>
                    <a:gd name="connsiteY129" fmla="*/ 29648 h 30159"/>
                    <a:gd name="connsiteX130" fmla="*/ 88944 w 170220"/>
                    <a:gd name="connsiteY130" fmla="*/ 27603 h 30159"/>
                    <a:gd name="connsiteX131" fmla="*/ 88944 w 170220"/>
                    <a:gd name="connsiteY131" fmla="*/ 27603 h 30159"/>
                    <a:gd name="connsiteX132" fmla="*/ 89455 w 170220"/>
                    <a:gd name="connsiteY132" fmla="*/ 28115 h 30159"/>
                    <a:gd name="connsiteX133" fmla="*/ 72586 w 170220"/>
                    <a:gd name="connsiteY133" fmla="*/ 15846 h 30159"/>
                    <a:gd name="connsiteX134" fmla="*/ 65430 w 170220"/>
                    <a:gd name="connsiteY134" fmla="*/ 7668 h 30159"/>
                    <a:gd name="connsiteX135" fmla="*/ 58785 w 170220"/>
                    <a:gd name="connsiteY135" fmla="*/ 10223 h 30159"/>
                    <a:gd name="connsiteX136" fmla="*/ 58785 w 170220"/>
                    <a:gd name="connsiteY136" fmla="*/ 10223 h 30159"/>
                    <a:gd name="connsiteX137" fmla="*/ 52651 w 170220"/>
                    <a:gd name="connsiteY137" fmla="*/ 7668 h 30159"/>
                    <a:gd name="connsiteX138" fmla="*/ 47028 w 170220"/>
                    <a:gd name="connsiteY138" fmla="*/ 10223 h 30159"/>
                    <a:gd name="connsiteX139" fmla="*/ 47028 w 170220"/>
                    <a:gd name="connsiteY139" fmla="*/ 10223 h 30159"/>
                    <a:gd name="connsiteX140" fmla="*/ 47028 w 170220"/>
                    <a:gd name="connsiteY140" fmla="*/ 8690 h 30159"/>
                    <a:gd name="connsiteX141" fmla="*/ 46517 w 170220"/>
                    <a:gd name="connsiteY141" fmla="*/ 8179 h 30159"/>
                    <a:gd name="connsiteX142" fmla="*/ 44983 w 170220"/>
                    <a:gd name="connsiteY142" fmla="*/ 8179 h 30159"/>
                    <a:gd name="connsiteX143" fmla="*/ 44472 w 170220"/>
                    <a:gd name="connsiteY143" fmla="*/ 8690 h 30159"/>
                    <a:gd name="connsiteX144" fmla="*/ 44472 w 170220"/>
                    <a:gd name="connsiteY144" fmla="*/ 28115 h 30159"/>
                    <a:gd name="connsiteX145" fmla="*/ 45494 w 170220"/>
                    <a:gd name="connsiteY145" fmla="*/ 28626 h 30159"/>
                    <a:gd name="connsiteX146" fmla="*/ 47539 w 170220"/>
                    <a:gd name="connsiteY146" fmla="*/ 28626 h 30159"/>
                    <a:gd name="connsiteX147" fmla="*/ 48561 w 170220"/>
                    <a:gd name="connsiteY147" fmla="*/ 28115 h 30159"/>
                    <a:gd name="connsiteX148" fmla="*/ 48561 w 170220"/>
                    <a:gd name="connsiteY148" fmla="*/ 15335 h 30159"/>
                    <a:gd name="connsiteX149" fmla="*/ 52651 w 170220"/>
                    <a:gd name="connsiteY149" fmla="*/ 10735 h 30159"/>
                    <a:gd name="connsiteX150" fmla="*/ 57251 w 170220"/>
                    <a:gd name="connsiteY150" fmla="*/ 15846 h 30159"/>
                    <a:gd name="connsiteX151" fmla="*/ 57251 w 170220"/>
                    <a:gd name="connsiteY151" fmla="*/ 28115 h 30159"/>
                    <a:gd name="connsiteX152" fmla="*/ 58274 w 170220"/>
                    <a:gd name="connsiteY152" fmla="*/ 28626 h 30159"/>
                    <a:gd name="connsiteX153" fmla="*/ 60318 w 170220"/>
                    <a:gd name="connsiteY153" fmla="*/ 28626 h 30159"/>
                    <a:gd name="connsiteX154" fmla="*/ 61341 w 170220"/>
                    <a:gd name="connsiteY154" fmla="*/ 28115 h 30159"/>
                    <a:gd name="connsiteX155" fmla="*/ 61341 w 170220"/>
                    <a:gd name="connsiteY155" fmla="*/ 16358 h 30159"/>
                    <a:gd name="connsiteX156" fmla="*/ 61341 w 170220"/>
                    <a:gd name="connsiteY156" fmla="*/ 13290 h 30159"/>
                    <a:gd name="connsiteX157" fmla="*/ 65941 w 170220"/>
                    <a:gd name="connsiteY157" fmla="*/ 11246 h 30159"/>
                    <a:gd name="connsiteX158" fmla="*/ 70030 w 170220"/>
                    <a:gd name="connsiteY158" fmla="*/ 16358 h 30159"/>
                    <a:gd name="connsiteX159" fmla="*/ 70030 w 170220"/>
                    <a:gd name="connsiteY159" fmla="*/ 28626 h 30159"/>
                    <a:gd name="connsiteX160" fmla="*/ 71053 w 170220"/>
                    <a:gd name="connsiteY160" fmla="*/ 29137 h 30159"/>
                    <a:gd name="connsiteX161" fmla="*/ 73097 w 170220"/>
                    <a:gd name="connsiteY161" fmla="*/ 29137 h 30159"/>
                    <a:gd name="connsiteX162" fmla="*/ 74120 w 170220"/>
                    <a:gd name="connsiteY162" fmla="*/ 28626 h 30159"/>
                    <a:gd name="connsiteX163" fmla="*/ 74120 w 170220"/>
                    <a:gd name="connsiteY163" fmla="*/ 15846 h 30159"/>
                    <a:gd name="connsiteX164" fmla="*/ 33226 w 170220"/>
                    <a:gd name="connsiteY164" fmla="*/ 8690 h 30159"/>
                    <a:gd name="connsiteX165" fmla="*/ 32204 w 170220"/>
                    <a:gd name="connsiteY165" fmla="*/ 8179 h 30159"/>
                    <a:gd name="connsiteX166" fmla="*/ 30670 w 170220"/>
                    <a:gd name="connsiteY166" fmla="*/ 8179 h 30159"/>
                    <a:gd name="connsiteX167" fmla="*/ 30159 w 170220"/>
                    <a:gd name="connsiteY167" fmla="*/ 8690 h 30159"/>
                    <a:gd name="connsiteX168" fmla="*/ 30159 w 170220"/>
                    <a:gd name="connsiteY168" fmla="*/ 28115 h 30159"/>
                    <a:gd name="connsiteX169" fmla="*/ 31181 w 170220"/>
                    <a:gd name="connsiteY169" fmla="*/ 28626 h 30159"/>
                    <a:gd name="connsiteX170" fmla="*/ 33226 w 170220"/>
                    <a:gd name="connsiteY170" fmla="*/ 28626 h 30159"/>
                    <a:gd name="connsiteX171" fmla="*/ 34248 w 170220"/>
                    <a:gd name="connsiteY171" fmla="*/ 28115 h 30159"/>
                    <a:gd name="connsiteX172" fmla="*/ 34248 w 170220"/>
                    <a:gd name="connsiteY172" fmla="*/ 16358 h 30159"/>
                    <a:gd name="connsiteX173" fmla="*/ 35271 w 170220"/>
                    <a:gd name="connsiteY173" fmla="*/ 12779 h 30159"/>
                    <a:gd name="connsiteX174" fmla="*/ 38849 w 170220"/>
                    <a:gd name="connsiteY174" fmla="*/ 11757 h 30159"/>
                    <a:gd name="connsiteX175" fmla="*/ 39871 w 170220"/>
                    <a:gd name="connsiteY175" fmla="*/ 11757 h 30159"/>
                    <a:gd name="connsiteX176" fmla="*/ 40894 w 170220"/>
                    <a:gd name="connsiteY176" fmla="*/ 11246 h 30159"/>
                    <a:gd name="connsiteX177" fmla="*/ 40894 w 170220"/>
                    <a:gd name="connsiteY177" fmla="*/ 9201 h 30159"/>
                    <a:gd name="connsiteX178" fmla="*/ 39871 w 170220"/>
                    <a:gd name="connsiteY178" fmla="*/ 8690 h 30159"/>
                    <a:gd name="connsiteX179" fmla="*/ 38849 w 170220"/>
                    <a:gd name="connsiteY179" fmla="*/ 8690 h 30159"/>
                    <a:gd name="connsiteX180" fmla="*/ 33737 w 170220"/>
                    <a:gd name="connsiteY180" fmla="*/ 11246 h 30159"/>
                    <a:gd name="connsiteX181" fmla="*/ 33737 w 170220"/>
                    <a:gd name="connsiteY181" fmla="*/ 11246 h 30159"/>
                    <a:gd name="connsiteX182" fmla="*/ 33226 w 170220"/>
                    <a:gd name="connsiteY182" fmla="*/ 8690 h 30159"/>
                    <a:gd name="connsiteX183" fmla="*/ 19936 w 170220"/>
                    <a:gd name="connsiteY183" fmla="*/ 3067 h 30159"/>
                    <a:gd name="connsiteX184" fmla="*/ 22492 w 170220"/>
                    <a:gd name="connsiteY184" fmla="*/ 5623 h 30159"/>
                    <a:gd name="connsiteX185" fmla="*/ 22492 w 170220"/>
                    <a:gd name="connsiteY185" fmla="*/ 5623 h 30159"/>
                    <a:gd name="connsiteX186" fmla="*/ 25047 w 170220"/>
                    <a:gd name="connsiteY186" fmla="*/ 3067 h 30159"/>
                    <a:gd name="connsiteX187" fmla="*/ 25047 w 170220"/>
                    <a:gd name="connsiteY187" fmla="*/ 2556 h 30159"/>
                    <a:gd name="connsiteX188" fmla="*/ 22492 w 170220"/>
                    <a:gd name="connsiteY188" fmla="*/ 0 h 30159"/>
                    <a:gd name="connsiteX189" fmla="*/ 22492 w 170220"/>
                    <a:gd name="connsiteY189" fmla="*/ 0 h 30159"/>
                    <a:gd name="connsiteX190" fmla="*/ 19936 w 170220"/>
                    <a:gd name="connsiteY190" fmla="*/ 3067 h 30159"/>
                    <a:gd name="connsiteX191" fmla="*/ 19936 w 170220"/>
                    <a:gd name="connsiteY191" fmla="*/ 3067 h 30159"/>
                    <a:gd name="connsiteX192" fmla="*/ 24536 w 170220"/>
                    <a:gd name="connsiteY192" fmla="*/ 8690 h 30159"/>
                    <a:gd name="connsiteX193" fmla="*/ 23514 w 170220"/>
                    <a:gd name="connsiteY193" fmla="*/ 8179 h 30159"/>
                    <a:gd name="connsiteX194" fmla="*/ 21469 w 170220"/>
                    <a:gd name="connsiteY194" fmla="*/ 8179 h 30159"/>
                    <a:gd name="connsiteX195" fmla="*/ 20447 w 170220"/>
                    <a:gd name="connsiteY195" fmla="*/ 8690 h 30159"/>
                    <a:gd name="connsiteX196" fmla="*/ 20447 w 170220"/>
                    <a:gd name="connsiteY196" fmla="*/ 27603 h 30159"/>
                    <a:gd name="connsiteX197" fmla="*/ 21469 w 170220"/>
                    <a:gd name="connsiteY197" fmla="*/ 28115 h 30159"/>
                    <a:gd name="connsiteX198" fmla="*/ 23514 w 170220"/>
                    <a:gd name="connsiteY198" fmla="*/ 28115 h 30159"/>
                    <a:gd name="connsiteX199" fmla="*/ 24536 w 170220"/>
                    <a:gd name="connsiteY199" fmla="*/ 27603 h 30159"/>
                    <a:gd name="connsiteX200" fmla="*/ 24536 w 170220"/>
                    <a:gd name="connsiteY200" fmla="*/ 8690 h 30159"/>
                    <a:gd name="connsiteX201" fmla="*/ 4089 w 170220"/>
                    <a:gd name="connsiteY201" fmla="*/ 4600 h 30159"/>
                    <a:gd name="connsiteX202" fmla="*/ 6645 w 170220"/>
                    <a:gd name="connsiteY202" fmla="*/ 4600 h 30159"/>
                    <a:gd name="connsiteX203" fmla="*/ 12779 w 170220"/>
                    <a:gd name="connsiteY203" fmla="*/ 9712 h 30159"/>
                    <a:gd name="connsiteX204" fmla="*/ 12779 w 170220"/>
                    <a:gd name="connsiteY204" fmla="*/ 10223 h 30159"/>
                    <a:gd name="connsiteX205" fmla="*/ 6134 w 170220"/>
                    <a:gd name="connsiteY205" fmla="*/ 15846 h 30159"/>
                    <a:gd name="connsiteX206" fmla="*/ 3578 w 170220"/>
                    <a:gd name="connsiteY206" fmla="*/ 15846 h 30159"/>
                    <a:gd name="connsiteX207" fmla="*/ 3578 w 170220"/>
                    <a:gd name="connsiteY207" fmla="*/ 6134 h 30159"/>
                    <a:gd name="connsiteX208" fmla="*/ 4089 w 170220"/>
                    <a:gd name="connsiteY208" fmla="*/ 4600 h 30159"/>
                    <a:gd name="connsiteX209" fmla="*/ 3578 w 170220"/>
                    <a:gd name="connsiteY209" fmla="*/ 18402 h 30159"/>
                    <a:gd name="connsiteX210" fmla="*/ 7156 w 170220"/>
                    <a:gd name="connsiteY210" fmla="*/ 18402 h 30159"/>
                    <a:gd name="connsiteX211" fmla="*/ 17380 w 170220"/>
                    <a:gd name="connsiteY211" fmla="*/ 9712 h 30159"/>
                    <a:gd name="connsiteX212" fmla="*/ 17380 w 170220"/>
                    <a:gd name="connsiteY212" fmla="*/ 9201 h 30159"/>
                    <a:gd name="connsiteX213" fmla="*/ 7156 w 170220"/>
                    <a:gd name="connsiteY213" fmla="*/ 1022 h 30159"/>
                    <a:gd name="connsiteX214" fmla="*/ 1022 w 170220"/>
                    <a:gd name="connsiteY214" fmla="*/ 1533 h 30159"/>
                    <a:gd name="connsiteX215" fmla="*/ 0 w 170220"/>
                    <a:gd name="connsiteY215" fmla="*/ 3067 h 30159"/>
                    <a:gd name="connsiteX216" fmla="*/ 0 w 170220"/>
                    <a:gd name="connsiteY216" fmla="*/ 28115 h 30159"/>
                    <a:gd name="connsiteX217" fmla="*/ 1022 w 170220"/>
                    <a:gd name="connsiteY217" fmla="*/ 29137 h 30159"/>
                    <a:gd name="connsiteX218" fmla="*/ 3067 w 170220"/>
                    <a:gd name="connsiteY218" fmla="*/ 29137 h 30159"/>
                    <a:gd name="connsiteX219" fmla="*/ 4089 w 170220"/>
                    <a:gd name="connsiteY219" fmla="*/ 28115 h 30159"/>
                    <a:gd name="connsiteX220" fmla="*/ 4089 w 170220"/>
                    <a:gd name="connsiteY220" fmla="*/ 18402 h 30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</a:cxnLst>
                  <a:rect l="l" t="t" r="r" b="b"/>
                  <a:pathLst>
                    <a:path w="170220" h="30159">
                      <a:moveTo>
                        <a:pt x="162552" y="29137"/>
                      </a:moveTo>
                      <a:cubicBezTo>
                        <a:pt x="167664" y="29137"/>
                        <a:pt x="170220" y="27092"/>
                        <a:pt x="170220" y="23003"/>
                      </a:cubicBezTo>
                      <a:lnTo>
                        <a:pt x="170220" y="22491"/>
                      </a:lnTo>
                      <a:cubicBezTo>
                        <a:pt x="170220" y="18913"/>
                        <a:pt x="168687" y="17380"/>
                        <a:pt x="165108" y="16358"/>
                      </a:cubicBezTo>
                      <a:lnTo>
                        <a:pt x="163064" y="15846"/>
                      </a:lnTo>
                      <a:cubicBezTo>
                        <a:pt x="160508" y="15335"/>
                        <a:pt x="159997" y="14824"/>
                        <a:pt x="159997" y="13290"/>
                      </a:cubicBezTo>
                      <a:lnTo>
                        <a:pt x="159997" y="13290"/>
                      </a:lnTo>
                      <a:cubicBezTo>
                        <a:pt x="159997" y="11757"/>
                        <a:pt x="161019" y="10735"/>
                        <a:pt x="163575" y="10735"/>
                      </a:cubicBezTo>
                      <a:cubicBezTo>
                        <a:pt x="164597" y="10735"/>
                        <a:pt x="166642" y="10735"/>
                        <a:pt x="167153" y="11246"/>
                      </a:cubicBezTo>
                      <a:cubicBezTo>
                        <a:pt x="167664" y="11246"/>
                        <a:pt x="167664" y="11246"/>
                        <a:pt x="168175" y="11246"/>
                      </a:cubicBezTo>
                      <a:cubicBezTo>
                        <a:pt x="168687" y="11246"/>
                        <a:pt x="168687" y="11246"/>
                        <a:pt x="168687" y="10735"/>
                      </a:cubicBezTo>
                      <a:lnTo>
                        <a:pt x="168687" y="9712"/>
                      </a:lnTo>
                      <a:cubicBezTo>
                        <a:pt x="168687" y="9201"/>
                        <a:pt x="169198" y="8690"/>
                        <a:pt x="169198" y="8690"/>
                      </a:cubicBezTo>
                      <a:cubicBezTo>
                        <a:pt x="169198" y="8179"/>
                        <a:pt x="169198" y="8179"/>
                        <a:pt x="168687" y="8179"/>
                      </a:cubicBezTo>
                      <a:cubicBezTo>
                        <a:pt x="167153" y="7668"/>
                        <a:pt x="165620" y="7668"/>
                        <a:pt x="163575" y="7668"/>
                      </a:cubicBezTo>
                      <a:cubicBezTo>
                        <a:pt x="158974" y="7668"/>
                        <a:pt x="156418" y="9712"/>
                        <a:pt x="156418" y="13290"/>
                      </a:cubicBezTo>
                      <a:lnTo>
                        <a:pt x="156418" y="13802"/>
                      </a:lnTo>
                      <a:cubicBezTo>
                        <a:pt x="156418" y="17380"/>
                        <a:pt x="157441" y="18402"/>
                        <a:pt x="161530" y="19425"/>
                      </a:cubicBezTo>
                      <a:lnTo>
                        <a:pt x="163575" y="19936"/>
                      </a:lnTo>
                      <a:cubicBezTo>
                        <a:pt x="165620" y="20447"/>
                        <a:pt x="166642" y="20958"/>
                        <a:pt x="166642" y="23003"/>
                      </a:cubicBezTo>
                      <a:lnTo>
                        <a:pt x="166642" y="23003"/>
                      </a:lnTo>
                      <a:cubicBezTo>
                        <a:pt x="166642" y="25047"/>
                        <a:pt x="165620" y="26070"/>
                        <a:pt x="162552" y="26070"/>
                      </a:cubicBezTo>
                      <a:cubicBezTo>
                        <a:pt x="161019" y="26070"/>
                        <a:pt x="159485" y="26070"/>
                        <a:pt x="158463" y="25559"/>
                      </a:cubicBezTo>
                      <a:cubicBezTo>
                        <a:pt x="157441" y="25047"/>
                        <a:pt x="157441" y="25047"/>
                        <a:pt x="156930" y="25047"/>
                      </a:cubicBezTo>
                      <a:cubicBezTo>
                        <a:pt x="156418" y="25047"/>
                        <a:pt x="156418" y="25047"/>
                        <a:pt x="156418" y="25559"/>
                      </a:cubicBezTo>
                      <a:lnTo>
                        <a:pt x="156418" y="26070"/>
                      </a:lnTo>
                      <a:cubicBezTo>
                        <a:pt x="156418" y="26581"/>
                        <a:pt x="155907" y="27092"/>
                        <a:pt x="155907" y="27092"/>
                      </a:cubicBezTo>
                      <a:cubicBezTo>
                        <a:pt x="155907" y="27603"/>
                        <a:pt x="155907" y="27603"/>
                        <a:pt x="156418" y="27603"/>
                      </a:cubicBezTo>
                      <a:cubicBezTo>
                        <a:pt x="158463" y="28626"/>
                        <a:pt x="160508" y="29137"/>
                        <a:pt x="162552" y="29137"/>
                      </a:cubicBezTo>
                      <a:moveTo>
                        <a:pt x="134949" y="28115"/>
                      </a:moveTo>
                      <a:cubicBezTo>
                        <a:pt x="134949" y="28626"/>
                        <a:pt x="134949" y="28626"/>
                        <a:pt x="135972" y="28626"/>
                      </a:cubicBezTo>
                      <a:lnTo>
                        <a:pt x="138016" y="28626"/>
                      </a:lnTo>
                      <a:cubicBezTo>
                        <a:pt x="138527" y="28626"/>
                        <a:pt x="139039" y="28626"/>
                        <a:pt x="139039" y="28115"/>
                      </a:cubicBezTo>
                      <a:lnTo>
                        <a:pt x="139039" y="15335"/>
                      </a:lnTo>
                      <a:cubicBezTo>
                        <a:pt x="139039" y="11757"/>
                        <a:pt x="140572" y="10735"/>
                        <a:pt x="143639" y="10735"/>
                      </a:cubicBezTo>
                      <a:cubicBezTo>
                        <a:pt x="146706" y="10735"/>
                        <a:pt x="148240" y="12268"/>
                        <a:pt x="148240" y="15846"/>
                      </a:cubicBezTo>
                      <a:lnTo>
                        <a:pt x="148240" y="28115"/>
                      </a:lnTo>
                      <a:cubicBezTo>
                        <a:pt x="148240" y="28626"/>
                        <a:pt x="148751" y="28626"/>
                        <a:pt x="149262" y="28626"/>
                      </a:cubicBezTo>
                      <a:lnTo>
                        <a:pt x="151307" y="28626"/>
                      </a:lnTo>
                      <a:cubicBezTo>
                        <a:pt x="151818" y="28626"/>
                        <a:pt x="152329" y="28626"/>
                        <a:pt x="152329" y="28115"/>
                      </a:cubicBezTo>
                      <a:lnTo>
                        <a:pt x="152329" y="16358"/>
                      </a:lnTo>
                      <a:cubicBezTo>
                        <a:pt x="152329" y="10223"/>
                        <a:pt x="149773" y="8179"/>
                        <a:pt x="145173" y="8179"/>
                      </a:cubicBezTo>
                      <a:cubicBezTo>
                        <a:pt x="142106" y="8179"/>
                        <a:pt x="140572" y="9201"/>
                        <a:pt x="139039" y="10735"/>
                      </a:cubicBezTo>
                      <a:lnTo>
                        <a:pt x="139039" y="10735"/>
                      </a:lnTo>
                      <a:lnTo>
                        <a:pt x="139039" y="9201"/>
                      </a:lnTo>
                      <a:cubicBezTo>
                        <a:pt x="139039" y="8690"/>
                        <a:pt x="138527" y="8690"/>
                        <a:pt x="138016" y="8690"/>
                      </a:cubicBezTo>
                      <a:lnTo>
                        <a:pt x="136483" y="8690"/>
                      </a:lnTo>
                      <a:cubicBezTo>
                        <a:pt x="135972" y="8690"/>
                        <a:pt x="135972" y="8690"/>
                        <a:pt x="135972" y="9201"/>
                      </a:cubicBezTo>
                      <a:lnTo>
                        <a:pt x="135972" y="28115"/>
                      </a:lnTo>
                      <a:close/>
                      <a:moveTo>
                        <a:pt x="118592" y="17380"/>
                      </a:moveTo>
                      <a:cubicBezTo>
                        <a:pt x="118592" y="13290"/>
                        <a:pt x="119103" y="11246"/>
                        <a:pt x="122681" y="11246"/>
                      </a:cubicBezTo>
                      <a:cubicBezTo>
                        <a:pt x="125748" y="11246"/>
                        <a:pt x="126770" y="12779"/>
                        <a:pt x="126770" y="16869"/>
                      </a:cubicBezTo>
                      <a:cubicBezTo>
                        <a:pt x="126770" y="17380"/>
                        <a:pt x="126770" y="17380"/>
                        <a:pt x="126259" y="17380"/>
                      </a:cubicBezTo>
                      <a:lnTo>
                        <a:pt x="118592" y="17380"/>
                      </a:lnTo>
                      <a:close/>
                      <a:moveTo>
                        <a:pt x="130860" y="16358"/>
                      </a:moveTo>
                      <a:cubicBezTo>
                        <a:pt x="130860" y="10223"/>
                        <a:pt x="128304" y="8179"/>
                        <a:pt x="123192" y="8179"/>
                      </a:cubicBezTo>
                      <a:cubicBezTo>
                        <a:pt x="117058" y="8179"/>
                        <a:pt x="115014" y="11757"/>
                        <a:pt x="115014" y="18402"/>
                      </a:cubicBezTo>
                      <a:lnTo>
                        <a:pt x="115014" y="19936"/>
                      </a:lnTo>
                      <a:cubicBezTo>
                        <a:pt x="115014" y="27092"/>
                        <a:pt x="117058" y="30159"/>
                        <a:pt x="123703" y="30159"/>
                      </a:cubicBezTo>
                      <a:cubicBezTo>
                        <a:pt x="125748" y="30159"/>
                        <a:pt x="128304" y="29648"/>
                        <a:pt x="129838" y="29137"/>
                      </a:cubicBezTo>
                      <a:cubicBezTo>
                        <a:pt x="130349" y="29137"/>
                        <a:pt x="130349" y="28626"/>
                        <a:pt x="130349" y="28626"/>
                      </a:cubicBezTo>
                      <a:cubicBezTo>
                        <a:pt x="130349" y="28626"/>
                        <a:pt x="130349" y="28115"/>
                        <a:pt x="130349" y="27603"/>
                      </a:cubicBezTo>
                      <a:lnTo>
                        <a:pt x="129838" y="26581"/>
                      </a:lnTo>
                      <a:cubicBezTo>
                        <a:pt x="129838" y="26070"/>
                        <a:pt x="129326" y="26070"/>
                        <a:pt x="129326" y="26070"/>
                      </a:cubicBezTo>
                      <a:cubicBezTo>
                        <a:pt x="129326" y="26070"/>
                        <a:pt x="128815" y="26070"/>
                        <a:pt x="128815" y="26070"/>
                      </a:cubicBezTo>
                      <a:cubicBezTo>
                        <a:pt x="127793" y="26581"/>
                        <a:pt x="125748" y="27092"/>
                        <a:pt x="124215" y="27092"/>
                      </a:cubicBezTo>
                      <a:cubicBezTo>
                        <a:pt x="120125" y="27092"/>
                        <a:pt x="119103" y="25559"/>
                        <a:pt x="119103" y="21469"/>
                      </a:cubicBezTo>
                      <a:lnTo>
                        <a:pt x="129838" y="21469"/>
                      </a:lnTo>
                      <a:cubicBezTo>
                        <a:pt x="130860" y="21469"/>
                        <a:pt x="130860" y="20958"/>
                        <a:pt x="130860" y="20447"/>
                      </a:cubicBezTo>
                      <a:lnTo>
                        <a:pt x="130860" y="16358"/>
                      </a:lnTo>
                      <a:close/>
                      <a:moveTo>
                        <a:pt x="103768" y="29137"/>
                      </a:moveTo>
                      <a:cubicBezTo>
                        <a:pt x="108879" y="29137"/>
                        <a:pt x="111435" y="27092"/>
                        <a:pt x="111435" y="23003"/>
                      </a:cubicBezTo>
                      <a:lnTo>
                        <a:pt x="111435" y="22491"/>
                      </a:lnTo>
                      <a:cubicBezTo>
                        <a:pt x="111435" y="18913"/>
                        <a:pt x="109902" y="17380"/>
                        <a:pt x="106324" y="16358"/>
                      </a:cubicBezTo>
                      <a:lnTo>
                        <a:pt x="104279" y="15846"/>
                      </a:lnTo>
                      <a:cubicBezTo>
                        <a:pt x="101723" y="15335"/>
                        <a:pt x="101212" y="14824"/>
                        <a:pt x="101212" y="13290"/>
                      </a:cubicBezTo>
                      <a:lnTo>
                        <a:pt x="101212" y="13290"/>
                      </a:lnTo>
                      <a:cubicBezTo>
                        <a:pt x="101212" y="11757"/>
                        <a:pt x="102234" y="10735"/>
                        <a:pt x="104790" y="10735"/>
                      </a:cubicBezTo>
                      <a:cubicBezTo>
                        <a:pt x="105812" y="10735"/>
                        <a:pt x="107857" y="10735"/>
                        <a:pt x="108368" y="11246"/>
                      </a:cubicBezTo>
                      <a:cubicBezTo>
                        <a:pt x="108879" y="11246"/>
                        <a:pt x="108879" y="11246"/>
                        <a:pt x="109391" y="11246"/>
                      </a:cubicBezTo>
                      <a:cubicBezTo>
                        <a:pt x="109902" y="11246"/>
                        <a:pt x="109902" y="11246"/>
                        <a:pt x="109902" y="10735"/>
                      </a:cubicBezTo>
                      <a:lnTo>
                        <a:pt x="109902" y="9712"/>
                      </a:lnTo>
                      <a:cubicBezTo>
                        <a:pt x="109902" y="9201"/>
                        <a:pt x="110413" y="8690"/>
                        <a:pt x="110413" y="8690"/>
                      </a:cubicBezTo>
                      <a:cubicBezTo>
                        <a:pt x="110413" y="8179"/>
                        <a:pt x="110413" y="8179"/>
                        <a:pt x="109902" y="8179"/>
                      </a:cubicBezTo>
                      <a:cubicBezTo>
                        <a:pt x="108368" y="7668"/>
                        <a:pt x="106835" y="7668"/>
                        <a:pt x="104790" y="7668"/>
                      </a:cubicBezTo>
                      <a:cubicBezTo>
                        <a:pt x="100190" y="7668"/>
                        <a:pt x="97634" y="9712"/>
                        <a:pt x="97634" y="13290"/>
                      </a:cubicBezTo>
                      <a:lnTo>
                        <a:pt x="97634" y="13802"/>
                      </a:lnTo>
                      <a:cubicBezTo>
                        <a:pt x="97634" y="17380"/>
                        <a:pt x="98656" y="18402"/>
                        <a:pt x="102745" y="19425"/>
                      </a:cubicBezTo>
                      <a:lnTo>
                        <a:pt x="104790" y="19936"/>
                      </a:lnTo>
                      <a:cubicBezTo>
                        <a:pt x="106835" y="20447"/>
                        <a:pt x="107857" y="20958"/>
                        <a:pt x="107857" y="23003"/>
                      </a:cubicBezTo>
                      <a:lnTo>
                        <a:pt x="107857" y="23003"/>
                      </a:lnTo>
                      <a:cubicBezTo>
                        <a:pt x="107857" y="25047"/>
                        <a:pt x="106835" y="26070"/>
                        <a:pt x="103768" y="26070"/>
                      </a:cubicBezTo>
                      <a:cubicBezTo>
                        <a:pt x="102234" y="26070"/>
                        <a:pt x="100701" y="26070"/>
                        <a:pt x="99678" y="25559"/>
                      </a:cubicBezTo>
                      <a:cubicBezTo>
                        <a:pt x="98656" y="25047"/>
                        <a:pt x="98656" y="25047"/>
                        <a:pt x="98145" y="25047"/>
                      </a:cubicBezTo>
                      <a:cubicBezTo>
                        <a:pt x="97634" y="25047"/>
                        <a:pt x="97634" y="25047"/>
                        <a:pt x="97634" y="25559"/>
                      </a:cubicBezTo>
                      <a:lnTo>
                        <a:pt x="97634" y="26070"/>
                      </a:lnTo>
                      <a:cubicBezTo>
                        <a:pt x="97634" y="26581"/>
                        <a:pt x="97634" y="27092"/>
                        <a:pt x="97634" y="27092"/>
                      </a:cubicBezTo>
                      <a:cubicBezTo>
                        <a:pt x="97634" y="27603"/>
                        <a:pt x="97634" y="27603"/>
                        <a:pt x="98145" y="27603"/>
                      </a:cubicBezTo>
                      <a:cubicBezTo>
                        <a:pt x="99167" y="28626"/>
                        <a:pt x="101723" y="29137"/>
                        <a:pt x="103768" y="29137"/>
                      </a:cubicBezTo>
                      <a:moveTo>
                        <a:pt x="88944" y="22491"/>
                      </a:moveTo>
                      <a:cubicBezTo>
                        <a:pt x="88944" y="25047"/>
                        <a:pt x="87921" y="26070"/>
                        <a:pt x="84854" y="26070"/>
                      </a:cubicBezTo>
                      <a:lnTo>
                        <a:pt x="83321" y="26070"/>
                      </a:lnTo>
                      <a:cubicBezTo>
                        <a:pt x="81276" y="26070"/>
                        <a:pt x="80254" y="25047"/>
                        <a:pt x="80254" y="23003"/>
                      </a:cubicBezTo>
                      <a:lnTo>
                        <a:pt x="80254" y="22491"/>
                      </a:lnTo>
                      <a:cubicBezTo>
                        <a:pt x="80254" y="19936"/>
                        <a:pt x="81276" y="19425"/>
                        <a:pt x="84343" y="19425"/>
                      </a:cubicBezTo>
                      <a:lnTo>
                        <a:pt x="86388" y="19425"/>
                      </a:lnTo>
                      <a:cubicBezTo>
                        <a:pt x="86899" y="19425"/>
                        <a:pt x="87921" y="19425"/>
                        <a:pt x="88433" y="19425"/>
                      </a:cubicBezTo>
                      <a:lnTo>
                        <a:pt x="88433" y="22491"/>
                      </a:lnTo>
                      <a:close/>
                      <a:moveTo>
                        <a:pt x="89455" y="28115"/>
                      </a:moveTo>
                      <a:cubicBezTo>
                        <a:pt x="89455" y="28626"/>
                        <a:pt x="89966" y="28626"/>
                        <a:pt x="90477" y="28626"/>
                      </a:cubicBezTo>
                      <a:lnTo>
                        <a:pt x="92011" y="28626"/>
                      </a:lnTo>
                      <a:cubicBezTo>
                        <a:pt x="92522" y="28626"/>
                        <a:pt x="92522" y="28626"/>
                        <a:pt x="92522" y="28115"/>
                      </a:cubicBezTo>
                      <a:lnTo>
                        <a:pt x="92522" y="14824"/>
                      </a:lnTo>
                      <a:cubicBezTo>
                        <a:pt x="92522" y="9712"/>
                        <a:pt x="89966" y="7668"/>
                        <a:pt x="84854" y="7668"/>
                      </a:cubicBezTo>
                      <a:cubicBezTo>
                        <a:pt x="82810" y="7668"/>
                        <a:pt x="80254" y="8179"/>
                        <a:pt x="78720" y="8690"/>
                      </a:cubicBezTo>
                      <a:cubicBezTo>
                        <a:pt x="78209" y="8690"/>
                        <a:pt x="78209" y="9201"/>
                        <a:pt x="78209" y="9201"/>
                      </a:cubicBezTo>
                      <a:cubicBezTo>
                        <a:pt x="78209" y="9201"/>
                        <a:pt x="78209" y="9712"/>
                        <a:pt x="78209" y="10223"/>
                      </a:cubicBezTo>
                      <a:lnTo>
                        <a:pt x="78209" y="11246"/>
                      </a:lnTo>
                      <a:cubicBezTo>
                        <a:pt x="78209" y="11757"/>
                        <a:pt x="78720" y="11757"/>
                        <a:pt x="78720" y="11757"/>
                      </a:cubicBezTo>
                      <a:cubicBezTo>
                        <a:pt x="78720" y="11757"/>
                        <a:pt x="79232" y="11757"/>
                        <a:pt x="79743" y="11757"/>
                      </a:cubicBezTo>
                      <a:cubicBezTo>
                        <a:pt x="81276" y="11246"/>
                        <a:pt x="82810" y="11246"/>
                        <a:pt x="84343" y="11246"/>
                      </a:cubicBezTo>
                      <a:cubicBezTo>
                        <a:pt x="87410" y="11246"/>
                        <a:pt x="88433" y="11757"/>
                        <a:pt x="88433" y="14824"/>
                      </a:cubicBezTo>
                      <a:lnTo>
                        <a:pt x="88433" y="16358"/>
                      </a:lnTo>
                      <a:cubicBezTo>
                        <a:pt x="87921" y="16358"/>
                        <a:pt x="86899" y="16358"/>
                        <a:pt x="85877" y="16358"/>
                      </a:cubicBezTo>
                      <a:lnTo>
                        <a:pt x="84854" y="16358"/>
                      </a:lnTo>
                      <a:cubicBezTo>
                        <a:pt x="81276" y="16358"/>
                        <a:pt x="79743" y="16869"/>
                        <a:pt x="78209" y="17891"/>
                      </a:cubicBezTo>
                      <a:cubicBezTo>
                        <a:pt x="76676" y="18913"/>
                        <a:pt x="76165" y="20447"/>
                        <a:pt x="76165" y="23003"/>
                      </a:cubicBezTo>
                      <a:lnTo>
                        <a:pt x="76165" y="23514"/>
                      </a:lnTo>
                      <a:cubicBezTo>
                        <a:pt x="76165" y="27092"/>
                        <a:pt x="78209" y="29648"/>
                        <a:pt x="82299" y="29648"/>
                      </a:cubicBezTo>
                      <a:lnTo>
                        <a:pt x="83832" y="29648"/>
                      </a:lnTo>
                      <a:cubicBezTo>
                        <a:pt x="86388" y="29648"/>
                        <a:pt x="87921" y="29137"/>
                        <a:pt x="88944" y="27603"/>
                      </a:cubicBezTo>
                      <a:lnTo>
                        <a:pt x="88944" y="27603"/>
                      </a:lnTo>
                      <a:lnTo>
                        <a:pt x="89455" y="28115"/>
                      </a:lnTo>
                      <a:close/>
                      <a:moveTo>
                        <a:pt x="72586" y="15846"/>
                      </a:moveTo>
                      <a:cubicBezTo>
                        <a:pt x="72586" y="10223"/>
                        <a:pt x="70542" y="7668"/>
                        <a:pt x="65430" y="7668"/>
                      </a:cubicBezTo>
                      <a:cubicBezTo>
                        <a:pt x="62874" y="7668"/>
                        <a:pt x="60829" y="8690"/>
                        <a:pt x="58785" y="10223"/>
                      </a:cubicBezTo>
                      <a:lnTo>
                        <a:pt x="58785" y="10223"/>
                      </a:lnTo>
                      <a:cubicBezTo>
                        <a:pt x="57762" y="8690"/>
                        <a:pt x="55718" y="7668"/>
                        <a:pt x="52651" y="7668"/>
                      </a:cubicBezTo>
                      <a:cubicBezTo>
                        <a:pt x="50095" y="7668"/>
                        <a:pt x="48050" y="8690"/>
                        <a:pt x="47028" y="10223"/>
                      </a:cubicBezTo>
                      <a:lnTo>
                        <a:pt x="47028" y="10223"/>
                      </a:lnTo>
                      <a:lnTo>
                        <a:pt x="47028" y="8690"/>
                      </a:lnTo>
                      <a:cubicBezTo>
                        <a:pt x="47028" y="8179"/>
                        <a:pt x="47028" y="8179"/>
                        <a:pt x="46517" y="8179"/>
                      </a:cubicBezTo>
                      <a:lnTo>
                        <a:pt x="44983" y="8179"/>
                      </a:lnTo>
                      <a:cubicBezTo>
                        <a:pt x="44472" y="8179"/>
                        <a:pt x="44472" y="8179"/>
                        <a:pt x="44472" y="8690"/>
                      </a:cubicBezTo>
                      <a:lnTo>
                        <a:pt x="44472" y="28115"/>
                      </a:lnTo>
                      <a:cubicBezTo>
                        <a:pt x="44472" y="28626"/>
                        <a:pt x="44472" y="28626"/>
                        <a:pt x="45494" y="28626"/>
                      </a:cubicBezTo>
                      <a:lnTo>
                        <a:pt x="47539" y="28626"/>
                      </a:lnTo>
                      <a:cubicBezTo>
                        <a:pt x="48050" y="28626"/>
                        <a:pt x="48561" y="28626"/>
                        <a:pt x="48561" y="28115"/>
                      </a:cubicBezTo>
                      <a:lnTo>
                        <a:pt x="48561" y="15335"/>
                      </a:lnTo>
                      <a:cubicBezTo>
                        <a:pt x="48561" y="12268"/>
                        <a:pt x="50095" y="10735"/>
                        <a:pt x="52651" y="10735"/>
                      </a:cubicBezTo>
                      <a:cubicBezTo>
                        <a:pt x="55718" y="10735"/>
                        <a:pt x="57251" y="12268"/>
                        <a:pt x="57251" y="15846"/>
                      </a:cubicBezTo>
                      <a:lnTo>
                        <a:pt x="57251" y="28115"/>
                      </a:lnTo>
                      <a:cubicBezTo>
                        <a:pt x="57251" y="28626"/>
                        <a:pt x="57251" y="28626"/>
                        <a:pt x="58274" y="28626"/>
                      </a:cubicBezTo>
                      <a:lnTo>
                        <a:pt x="60318" y="28626"/>
                      </a:lnTo>
                      <a:cubicBezTo>
                        <a:pt x="60829" y="28626"/>
                        <a:pt x="61341" y="28626"/>
                        <a:pt x="61341" y="28115"/>
                      </a:cubicBezTo>
                      <a:lnTo>
                        <a:pt x="61341" y="16358"/>
                      </a:lnTo>
                      <a:cubicBezTo>
                        <a:pt x="61341" y="15335"/>
                        <a:pt x="61341" y="14313"/>
                        <a:pt x="61341" y="13290"/>
                      </a:cubicBezTo>
                      <a:cubicBezTo>
                        <a:pt x="62363" y="12268"/>
                        <a:pt x="63896" y="11246"/>
                        <a:pt x="65941" y="11246"/>
                      </a:cubicBezTo>
                      <a:cubicBezTo>
                        <a:pt x="69008" y="11246"/>
                        <a:pt x="70030" y="12779"/>
                        <a:pt x="70030" y="16358"/>
                      </a:cubicBezTo>
                      <a:lnTo>
                        <a:pt x="70030" y="28626"/>
                      </a:lnTo>
                      <a:cubicBezTo>
                        <a:pt x="70030" y="29137"/>
                        <a:pt x="70542" y="29137"/>
                        <a:pt x="71053" y="29137"/>
                      </a:cubicBezTo>
                      <a:lnTo>
                        <a:pt x="73097" y="29137"/>
                      </a:lnTo>
                      <a:cubicBezTo>
                        <a:pt x="73609" y="29137"/>
                        <a:pt x="74120" y="29137"/>
                        <a:pt x="74120" y="28626"/>
                      </a:cubicBezTo>
                      <a:lnTo>
                        <a:pt x="74120" y="15846"/>
                      </a:lnTo>
                      <a:close/>
                      <a:moveTo>
                        <a:pt x="33226" y="8690"/>
                      </a:moveTo>
                      <a:cubicBezTo>
                        <a:pt x="33226" y="8179"/>
                        <a:pt x="32715" y="8179"/>
                        <a:pt x="32204" y="8179"/>
                      </a:cubicBezTo>
                      <a:lnTo>
                        <a:pt x="30670" y="8179"/>
                      </a:lnTo>
                      <a:cubicBezTo>
                        <a:pt x="30159" y="8179"/>
                        <a:pt x="30159" y="8179"/>
                        <a:pt x="30159" y="8690"/>
                      </a:cubicBezTo>
                      <a:lnTo>
                        <a:pt x="30159" y="28115"/>
                      </a:lnTo>
                      <a:cubicBezTo>
                        <a:pt x="30159" y="28626"/>
                        <a:pt x="30670" y="28626"/>
                        <a:pt x="31181" y="28626"/>
                      </a:cubicBezTo>
                      <a:lnTo>
                        <a:pt x="33226" y="28626"/>
                      </a:lnTo>
                      <a:cubicBezTo>
                        <a:pt x="33737" y="28626"/>
                        <a:pt x="34248" y="28626"/>
                        <a:pt x="34248" y="28115"/>
                      </a:cubicBezTo>
                      <a:lnTo>
                        <a:pt x="34248" y="16358"/>
                      </a:lnTo>
                      <a:cubicBezTo>
                        <a:pt x="34248" y="14824"/>
                        <a:pt x="34248" y="13290"/>
                        <a:pt x="35271" y="12779"/>
                      </a:cubicBezTo>
                      <a:cubicBezTo>
                        <a:pt x="35782" y="11757"/>
                        <a:pt x="36804" y="11757"/>
                        <a:pt x="38849" y="11757"/>
                      </a:cubicBezTo>
                      <a:lnTo>
                        <a:pt x="39871" y="11757"/>
                      </a:lnTo>
                      <a:cubicBezTo>
                        <a:pt x="40383" y="11757"/>
                        <a:pt x="40894" y="11757"/>
                        <a:pt x="40894" y="11246"/>
                      </a:cubicBezTo>
                      <a:lnTo>
                        <a:pt x="40894" y="9201"/>
                      </a:lnTo>
                      <a:cubicBezTo>
                        <a:pt x="40894" y="8690"/>
                        <a:pt x="40894" y="8690"/>
                        <a:pt x="39871" y="8690"/>
                      </a:cubicBezTo>
                      <a:lnTo>
                        <a:pt x="38849" y="8690"/>
                      </a:lnTo>
                      <a:cubicBezTo>
                        <a:pt x="36293" y="8690"/>
                        <a:pt x="34760" y="9712"/>
                        <a:pt x="33737" y="11246"/>
                      </a:cubicBezTo>
                      <a:lnTo>
                        <a:pt x="33737" y="11246"/>
                      </a:lnTo>
                      <a:lnTo>
                        <a:pt x="33226" y="8690"/>
                      </a:lnTo>
                      <a:close/>
                      <a:moveTo>
                        <a:pt x="19936" y="3067"/>
                      </a:moveTo>
                      <a:cubicBezTo>
                        <a:pt x="19936" y="4600"/>
                        <a:pt x="20958" y="5623"/>
                        <a:pt x="22492" y="5623"/>
                      </a:cubicBezTo>
                      <a:lnTo>
                        <a:pt x="22492" y="5623"/>
                      </a:lnTo>
                      <a:cubicBezTo>
                        <a:pt x="24025" y="5623"/>
                        <a:pt x="25047" y="5112"/>
                        <a:pt x="25047" y="3067"/>
                      </a:cubicBezTo>
                      <a:lnTo>
                        <a:pt x="25047" y="2556"/>
                      </a:lnTo>
                      <a:cubicBezTo>
                        <a:pt x="25047" y="1022"/>
                        <a:pt x="24025" y="0"/>
                        <a:pt x="22492" y="0"/>
                      </a:cubicBezTo>
                      <a:lnTo>
                        <a:pt x="22492" y="0"/>
                      </a:lnTo>
                      <a:cubicBezTo>
                        <a:pt x="21469" y="0"/>
                        <a:pt x="19936" y="1022"/>
                        <a:pt x="19936" y="3067"/>
                      </a:cubicBezTo>
                      <a:lnTo>
                        <a:pt x="19936" y="3067"/>
                      </a:lnTo>
                      <a:close/>
                      <a:moveTo>
                        <a:pt x="24536" y="8690"/>
                      </a:moveTo>
                      <a:cubicBezTo>
                        <a:pt x="24536" y="8179"/>
                        <a:pt x="24536" y="8179"/>
                        <a:pt x="23514" y="8179"/>
                      </a:cubicBezTo>
                      <a:lnTo>
                        <a:pt x="21469" y="8179"/>
                      </a:lnTo>
                      <a:cubicBezTo>
                        <a:pt x="20958" y="8179"/>
                        <a:pt x="20447" y="8179"/>
                        <a:pt x="20447" y="8690"/>
                      </a:cubicBezTo>
                      <a:lnTo>
                        <a:pt x="20447" y="27603"/>
                      </a:lnTo>
                      <a:cubicBezTo>
                        <a:pt x="20447" y="28115"/>
                        <a:pt x="20447" y="28115"/>
                        <a:pt x="21469" y="28115"/>
                      </a:cubicBezTo>
                      <a:lnTo>
                        <a:pt x="23514" y="28115"/>
                      </a:lnTo>
                      <a:cubicBezTo>
                        <a:pt x="24025" y="28115"/>
                        <a:pt x="24536" y="28115"/>
                        <a:pt x="24536" y="27603"/>
                      </a:cubicBezTo>
                      <a:lnTo>
                        <a:pt x="24536" y="8690"/>
                      </a:lnTo>
                      <a:close/>
                      <a:moveTo>
                        <a:pt x="4089" y="4600"/>
                      </a:moveTo>
                      <a:cubicBezTo>
                        <a:pt x="4601" y="4600"/>
                        <a:pt x="5623" y="4600"/>
                        <a:pt x="6645" y="4600"/>
                      </a:cubicBezTo>
                      <a:cubicBezTo>
                        <a:pt x="11246" y="4600"/>
                        <a:pt x="12779" y="6134"/>
                        <a:pt x="12779" y="9712"/>
                      </a:cubicBezTo>
                      <a:lnTo>
                        <a:pt x="12779" y="10223"/>
                      </a:lnTo>
                      <a:cubicBezTo>
                        <a:pt x="12779" y="14313"/>
                        <a:pt x="10735" y="15846"/>
                        <a:pt x="6134" y="15846"/>
                      </a:cubicBezTo>
                      <a:cubicBezTo>
                        <a:pt x="5623" y="15846"/>
                        <a:pt x="4601" y="15846"/>
                        <a:pt x="3578" y="15846"/>
                      </a:cubicBezTo>
                      <a:lnTo>
                        <a:pt x="3578" y="6134"/>
                      </a:lnTo>
                      <a:cubicBezTo>
                        <a:pt x="3578" y="4600"/>
                        <a:pt x="3578" y="4600"/>
                        <a:pt x="4089" y="4600"/>
                      </a:cubicBezTo>
                      <a:moveTo>
                        <a:pt x="3578" y="18402"/>
                      </a:moveTo>
                      <a:cubicBezTo>
                        <a:pt x="4601" y="18402"/>
                        <a:pt x="5623" y="18402"/>
                        <a:pt x="7156" y="18402"/>
                      </a:cubicBezTo>
                      <a:cubicBezTo>
                        <a:pt x="13290" y="18402"/>
                        <a:pt x="17380" y="15846"/>
                        <a:pt x="17380" y="9712"/>
                      </a:cubicBezTo>
                      <a:lnTo>
                        <a:pt x="17380" y="9201"/>
                      </a:lnTo>
                      <a:cubicBezTo>
                        <a:pt x="17380" y="3067"/>
                        <a:pt x="14313" y="1022"/>
                        <a:pt x="7156" y="1022"/>
                      </a:cubicBezTo>
                      <a:cubicBezTo>
                        <a:pt x="4601" y="1022"/>
                        <a:pt x="2556" y="1022"/>
                        <a:pt x="1022" y="1533"/>
                      </a:cubicBezTo>
                      <a:cubicBezTo>
                        <a:pt x="0" y="1533"/>
                        <a:pt x="0" y="2045"/>
                        <a:pt x="0" y="3067"/>
                      </a:cubicBezTo>
                      <a:lnTo>
                        <a:pt x="0" y="28115"/>
                      </a:lnTo>
                      <a:cubicBezTo>
                        <a:pt x="0" y="28626"/>
                        <a:pt x="0" y="29137"/>
                        <a:pt x="1022" y="29137"/>
                      </a:cubicBezTo>
                      <a:lnTo>
                        <a:pt x="3067" y="29137"/>
                      </a:lnTo>
                      <a:cubicBezTo>
                        <a:pt x="3578" y="29137"/>
                        <a:pt x="4089" y="29137"/>
                        <a:pt x="4089" y="28115"/>
                      </a:cubicBezTo>
                      <a:lnTo>
                        <a:pt x="4089" y="18402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3" name="Freihandform: Form 132">
                  <a:extLst>
                    <a:ext uri="{FF2B5EF4-FFF2-40B4-BE49-F238E27FC236}">
                      <a16:creationId xmlns:a16="http://schemas.microsoft.com/office/drawing/2014/main" id="{0200506A-4B21-43BC-884D-C35DF81947C7}"/>
                    </a:ext>
                  </a:extLst>
                </p:cNvPr>
                <p:cNvSpPr/>
                <p:nvPr/>
              </p:nvSpPr>
              <p:spPr>
                <a:xfrm>
                  <a:off x="7105156" y="2803435"/>
                  <a:ext cx="149261" cy="36293"/>
                </a:xfrm>
                <a:custGeom>
                  <a:avLst/>
                  <a:gdLst>
                    <a:gd name="connsiteX0" fmla="*/ 131882 w 149261"/>
                    <a:gd name="connsiteY0" fmla="*/ 28115 h 36293"/>
                    <a:gd name="connsiteX1" fmla="*/ 132905 w 149261"/>
                    <a:gd name="connsiteY1" fmla="*/ 28626 h 36293"/>
                    <a:gd name="connsiteX2" fmla="*/ 134949 w 149261"/>
                    <a:gd name="connsiteY2" fmla="*/ 28626 h 36293"/>
                    <a:gd name="connsiteX3" fmla="*/ 135972 w 149261"/>
                    <a:gd name="connsiteY3" fmla="*/ 28115 h 36293"/>
                    <a:gd name="connsiteX4" fmla="*/ 135972 w 149261"/>
                    <a:gd name="connsiteY4" fmla="*/ 15335 h 36293"/>
                    <a:gd name="connsiteX5" fmla="*/ 140572 w 149261"/>
                    <a:gd name="connsiteY5" fmla="*/ 10735 h 36293"/>
                    <a:gd name="connsiteX6" fmla="*/ 145173 w 149261"/>
                    <a:gd name="connsiteY6" fmla="*/ 15846 h 36293"/>
                    <a:gd name="connsiteX7" fmla="*/ 145173 w 149261"/>
                    <a:gd name="connsiteY7" fmla="*/ 28115 h 36293"/>
                    <a:gd name="connsiteX8" fmla="*/ 146195 w 149261"/>
                    <a:gd name="connsiteY8" fmla="*/ 28626 h 36293"/>
                    <a:gd name="connsiteX9" fmla="*/ 148240 w 149261"/>
                    <a:gd name="connsiteY9" fmla="*/ 28626 h 36293"/>
                    <a:gd name="connsiteX10" fmla="*/ 149262 w 149261"/>
                    <a:gd name="connsiteY10" fmla="*/ 28115 h 36293"/>
                    <a:gd name="connsiteX11" fmla="*/ 149262 w 149261"/>
                    <a:gd name="connsiteY11" fmla="*/ 16357 h 36293"/>
                    <a:gd name="connsiteX12" fmla="*/ 142106 w 149261"/>
                    <a:gd name="connsiteY12" fmla="*/ 8179 h 36293"/>
                    <a:gd name="connsiteX13" fmla="*/ 135972 w 149261"/>
                    <a:gd name="connsiteY13" fmla="*/ 10735 h 36293"/>
                    <a:gd name="connsiteX14" fmla="*/ 135972 w 149261"/>
                    <a:gd name="connsiteY14" fmla="*/ 10735 h 36293"/>
                    <a:gd name="connsiteX15" fmla="*/ 135972 w 149261"/>
                    <a:gd name="connsiteY15" fmla="*/ 9201 h 36293"/>
                    <a:gd name="connsiteX16" fmla="*/ 134949 w 149261"/>
                    <a:gd name="connsiteY16" fmla="*/ 8690 h 36293"/>
                    <a:gd name="connsiteX17" fmla="*/ 133416 w 149261"/>
                    <a:gd name="connsiteY17" fmla="*/ 8690 h 36293"/>
                    <a:gd name="connsiteX18" fmla="*/ 132905 w 149261"/>
                    <a:gd name="connsiteY18" fmla="*/ 9201 h 36293"/>
                    <a:gd name="connsiteX19" fmla="*/ 132905 w 149261"/>
                    <a:gd name="connsiteY19" fmla="*/ 28115 h 36293"/>
                    <a:gd name="connsiteX20" fmla="*/ 115014 w 149261"/>
                    <a:gd name="connsiteY20" fmla="*/ 17380 h 36293"/>
                    <a:gd name="connsiteX21" fmla="*/ 119103 w 149261"/>
                    <a:gd name="connsiteY21" fmla="*/ 11246 h 36293"/>
                    <a:gd name="connsiteX22" fmla="*/ 123192 w 149261"/>
                    <a:gd name="connsiteY22" fmla="*/ 16869 h 36293"/>
                    <a:gd name="connsiteX23" fmla="*/ 122681 w 149261"/>
                    <a:gd name="connsiteY23" fmla="*/ 17380 h 36293"/>
                    <a:gd name="connsiteX24" fmla="*/ 115014 w 149261"/>
                    <a:gd name="connsiteY24" fmla="*/ 17380 h 36293"/>
                    <a:gd name="connsiteX25" fmla="*/ 127282 w 149261"/>
                    <a:gd name="connsiteY25" fmla="*/ 16357 h 36293"/>
                    <a:gd name="connsiteX26" fmla="*/ 119614 w 149261"/>
                    <a:gd name="connsiteY26" fmla="*/ 7668 h 36293"/>
                    <a:gd name="connsiteX27" fmla="*/ 111435 w 149261"/>
                    <a:gd name="connsiteY27" fmla="*/ 17891 h 36293"/>
                    <a:gd name="connsiteX28" fmla="*/ 111435 w 149261"/>
                    <a:gd name="connsiteY28" fmla="*/ 19425 h 36293"/>
                    <a:gd name="connsiteX29" fmla="*/ 120125 w 149261"/>
                    <a:gd name="connsiteY29" fmla="*/ 29648 h 36293"/>
                    <a:gd name="connsiteX30" fmla="*/ 126259 w 149261"/>
                    <a:gd name="connsiteY30" fmla="*/ 28626 h 36293"/>
                    <a:gd name="connsiteX31" fmla="*/ 126770 w 149261"/>
                    <a:gd name="connsiteY31" fmla="*/ 28115 h 36293"/>
                    <a:gd name="connsiteX32" fmla="*/ 126770 w 149261"/>
                    <a:gd name="connsiteY32" fmla="*/ 27092 h 36293"/>
                    <a:gd name="connsiteX33" fmla="*/ 126259 w 149261"/>
                    <a:gd name="connsiteY33" fmla="*/ 26070 h 36293"/>
                    <a:gd name="connsiteX34" fmla="*/ 125748 w 149261"/>
                    <a:gd name="connsiteY34" fmla="*/ 25559 h 36293"/>
                    <a:gd name="connsiteX35" fmla="*/ 125237 w 149261"/>
                    <a:gd name="connsiteY35" fmla="*/ 25559 h 36293"/>
                    <a:gd name="connsiteX36" fmla="*/ 120636 w 149261"/>
                    <a:gd name="connsiteY36" fmla="*/ 26581 h 36293"/>
                    <a:gd name="connsiteX37" fmla="*/ 115525 w 149261"/>
                    <a:gd name="connsiteY37" fmla="*/ 20958 h 36293"/>
                    <a:gd name="connsiteX38" fmla="*/ 126259 w 149261"/>
                    <a:gd name="connsiteY38" fmla="*/ 20958 h 36293"/>
                    <a:gd name="connsiteX39" fmla="*/ 127282 w 149261"/>
                    <a:gd name="connsiteY39" fmla="*/ 19936 h 36293"/>
                    <a:gd name="connsiteX40" fmla="*/ 127282 w 149261"/>
                    <a:gd name="connsiteY40" fmla="*/ 16357 h 36293"/>
                    <a:gd name="connsiteX41" fmla="*/ 106835 w 149261"/>
                    <a:gd name="connsiteY41" fmla="*/ 9201 h 36293"/>
                    <a:gd name="connsiteX42" fmla="*/ 105812 w 149261"/>
                    <a:gd name="connsiteY42" fmla="*/ 8690 h 36293"/>
                    <a:gd name="connsiteX43" fmla="*/ 104279 w 149261"/>
                    <a:gd name="connsiteY43" fmla="*/ 8690 h 36293"/>
                    <a:gd name="connsiteX44" fmla="*/ 103257 w 149261"/>
                    <a:gd name="connsiteY44" fmla="*/ 9201 h 36293"/>
                    <a:gd name="connsiteX45" fmla="*/ 102745 w 149261"/>
                    <a:gd name="connsiteY45" fmla="*/ 10735 h 36293"/>
                    <a:gd name="connsiteX46" fmla="*/ 102745 w 149261"/>
                    <a:gd name="connsiteY46" fmla="*/ 10735 h 36293"/>
                    <a:gd name="connsiteX47" fmla="*/ 97123 w 149261"/>
                    <a:gd name="connsiteY47" fmla="*/ 8179 h 36293"/>
                    <a:gd name="connsiteX48" fmla="*/ 88944 w 149261"/>
                    <a:gd name="connsiteY48" fmla="*/ 17891 h 36293"/>
                    <a:gd name="connsiteX49" fmla="*/ 88944 w 149261"/>
                    <a:gd name="connsiteY49" fmla="*/ 19425 h 36293"/>
                    <a:gd name="connsiteX50" fmla="*/ 97123 w 149261"/>
                    <a:gd name="connsiteY50" fmla="*/ 29137 h 36293"/>
                    <a:gd name="connsiteX51" fmla="*/ 102234 w 149261"/>
                    <a:gd name="connsiteY51" fmla="*/ 27092 h 36293"/>
                    <a:gd name="connsiteX52" fmla="*/ 102234 w 149261"/>
                    <a:gd name="connsiteY52" fmla="*/ 27092 h 36293"/>
                    <a:gd name="connsiteX53" fmla="*/ 102234 w 149261"/>
                    <a:gd name="connsiteY53" fmla="*/ 28626 h 36293"/>
                    <a:gd name="connsiteX54" fmla="*/ 101212 w 149261"/>
                    <a:gd name="connsiteY54" fmla="*/ 32204 h 36293"/>
                    <a:gd name="connsiteX55" fmla="*/ 97634 w 149261"/>
                    <a:gd name="connsiteY55" fmla="*/ 33226 h 36293"/>
                    <a:gd name="connsiteX56" fmla="*/ 92522 w 149261"/>
                    <a:gd name="connsiteY56" fmla="*/ 32715 h 36293"/>
                    <a:gd name="connsiteX57" fmla="*/ 91500 w 149261"/>
                    <a:gd name="connsiteY57" fmla="*/ 33226 h 36293"/>
                    <a:gd name="connsiteX58" fmla="*/ 90988 w 149261"/>
                    <a:gd name="connsiteY58" fmla="*/ 34249 h 36293"/>
                    <a:gd name="connsiteX59" fmla="*/ 91500 w 149261"/>
                    <a:gd name="connsiteY59" fmla="*/ 35271 h 36293"/>
                    <a:gd name="connsiteX60" fmla="*/ 97634 w 149261"/>
                    <a:gd name="connsiteY60" fmla="*/ 36293 h 36293"/>
                    <a:gd name="connsiteX61" fmla="*/ 104279 w 149261"/>
                    <a:gd name="connsiteY61" fmla="*/ 34249 h 36293"/>
                    <a:gd name="connsiteX62" fmla="*/ 106324 w 149261"/>
                    <a:gd name="connsiteY62" fmla="*/ 27092 h 36293"/>
                    <a:gd name="connsiteX63" fmla="*/ 106324 w 149261"/>
                    <a:gd name="connsiteY63" fmla="*/ 9201 h 36293"/>
                    <a:gd name="connsiteX64" fmla="*/ 98145 w 149261"/>
                    <a:gd name="connsiteY64" fmla="*/ 11246 h 36293"/>
                    <a:gd name="connsiteX65" fmla="*/ 102745 w 149261"/>
                    <a:gd name="connsiteY65" fmla="*/ 15846 h 36293"/>
                    <a:gd name="connsiteX66" fmla="*/ 102745 w 149261"/>
                    <a:gd name="connsiteY66" fmla="*/ 21469 h 36293"/>
                    <a:gd name="connsiteX67" fmla="*/ 98145 w 149261"/>
                    <a:gd name="connsiteY67" fmla="*/ 26070 h 36293"/>
                    <a:gd name="connsiteX68" fmla="*/ 93544 w 149261"/>
                    <a:gd name="connsiteY68" fmla="*/ 19425 h 36293"/>
                    <a:gd name="connsiteX69" fmla="*/ 93544 w 149261"/>
                    <a:gd name="connsiteY69" fmla="*/ 18402 h 36293"/>
                    <a:gd name="connsiteX70" fmla="*/ 98145 w 149261"/>
                    <a:gd name="connsiteY70" fmla="*/ 11246 h 36293"/>
                    <a:gd name="connsiteX71" fmla="*/ 69008 w 149261"/>
                    <a:gd name="connsiteY71" fmla="*/ 28115 h 36293"/>
                    <a:gd name="connsiteX72" fmla="*/ 70030 w 149261"/>
                    <a:gd name="connsiteY72" fmla="*/ 28626 h 36293"/>
                    <a:gd name="connsiteX73" fmla="*/ 72075 w 149261"/>
                    <a:gd name="connsiteY73" fmla="*/ 28626 h 36293"/>
                    <a:gd name="connsiteX74" fmla="*/ 73097 w 149261"/>
                    <a:gd name="connsiteY74" fmla="*/ 28115 h 36293"/>
                    <a:gd name="connsiteX75" fmla="*/ 73097 w 149261"/>
                    <a:gd name="connsiteY75" fmla="*/ 15335 h 36293"/>
                    <a:gd name="connsiteX76" fmla="*/ 77698 w 149261"/>
                    <a:gd name="connsiteY76" fmla="*/ 10735 h 36293"/>
                    <a:gd name="connsiteX77" fmla="*/ 82299 w 149261"/>
                    <a:gd name="connsiteY77" fmla="*/ 15846 h 36293"/>
                    <a:gd name="connsiteX78" fmla="*/ 82299 w 149261"/>
                    <a:gd name="connsiteY78" fmla="*/ 28115 h 36293"/>
                    <a:gd name="connsiteX79" fmla="*/ 83321 w 149261"/>
                    <a:gd name="connsiteY79" fmla="*/ 28626 h 36293"/>
                    <a:gd name="connsiteX80" fmla="*/ 85366 w 149261"/>
                    <a:gd name="connsiteY80" fmla="*/ 28626 h 36293"/>
                    <a:gd name="connsiteX81" fmla="*/ 86388 w 149261"/>
                    <a:gd name="connsiteY81" fmla="*/ 28115 h 36293"/>
                    <a:gd name="connsiteX82" fmla="*/ 86388 w 149261"/>
                    <a:gd name="connsiteY82" fmla="*/ 16357 h 36293"/>
                    <a:gd name="connsiteX83" fmla="*/ 79232 w 149261"/>
                    <a:gd name="connsiteY83" fmla="*/ 8179 h 36293"/>
                    <a:gd name="connsiteX84" fmla="*/ 73097 w 149261"/>
                    <a:gd name="connsiteY84" fmla="*/ 10735 h 36293"/>
                    <a:gd name="connsiteX85" fmla="*/ 73097 w 149261"/>
                    <a:gd name="connsiteY85" fmla="*/ 10735 h 36293"/>
                    <a:gd name="connsiteX86" fmla="*/ 73097 w 149261"/>
                    <a:gd name="connsiteY86" fmla="*/ 9201 h 36293"/>
                    <a:gd name="connsiteX87" fmla="*/ 72075 w 149261"/>
                    <a:gd name="connsiteY87" fmla="*/ 8690 h 36293"/>
                    <a:gd name="connsiteX88" fmla="*/ 70542 w 149261"/>
                    <a:gd name="connsiteY88" fmla="*/ 8690 h 36293"/>
                    <a:gd name="connsiteX89" fmla="*/ 70030 w 149261"/>
                    <a:gd name="connsiteY89" fmla="*/ 9201 h 36293"/>
                    <a:gd name="connsiteX90" fmla="*/ 70030 w 149261"/>
                    <a:gd name="connsiteY90" fmla="*/ 28115 h 36293"/>
                    <a:gd name="connsiteX91" fmla="*/ 58785 w 149261"/>
                    <a:gd name="connsiteY91" fmla="*/ 3067 h 36293"/>
                    <a:gd name="connsiteX92" fmla="*/ 61341 w 149261"/>
                    <a:gd name="connsiteY92" fmla="*/ 5623 h 36293"/>
                    <a:gd name="connsiteX93" fmla="*/ 61341 w 149261"/>
                    <a:gd name="connsiteY93" fmla="*/ 5623 h 36293"/>
                    <a:gd name="connsiteX94" fmla="*/ 63896 w 149261"/>
                    <a:gd name="connsiteY94" fmla="*/ 3067 h 36293"/>
                    <a:gd name="connsiteX95" fmla="*/ 63896 w 149261"/>
                    <a:gd name="connsiteY95" fmla="*/ 2556 h 36293"/>
                    <a:gd name="connsiteX96" fmla="*/ 61341 w 149261"/>
                    <a:gd name="connsiteY96" fmla="*/ 0 h 36293"/>
                    <a:gd name="connsiteX97" fmla="*/ 61341 w 149261"/>
                    <a:gd name="connsiteY97" fmla="*/ 0 h 36293"/>
                    <a:gd name="connsiteX98" fmla="*/ 58785 w 149261"/>
                    <a:gd name="connsiteY98" fmla="*/ 3067 h 36293"/>
                    <a:gd name="connsiteX99" fmla="*/ 58785 w 149261"/>
                    <a:gd name="connsiteY99" fmla="*/ 3067 h 36293"/>
                    <a:gd name="connsiteX100" fmla="*/ 63385 w 149261"/>
                    <a:gd name="connsiteY100" fmla="*/ 9201 h 36293"/>
                    <a:gd name="connsiteX101" fmla="*/ 62363 w 149261"/>
                    <a:gd name="connsiteY101" fmla="*/ 8690 h 36293"/>
                    <a:gd name="connsiteX102" fmla="*/ 60318 w 149261"/>
                    <a:gd name="connsiteY102" fmla="*/ 8690 h 36293"/>
                    <a:gd name="connsiteX103" fmla="*/ 59296 w 149261"/>
                    <a:gd name="connsiteY103" fmla="*/ 9201 h 36293"/>
                    <a:gd name="connsiteX104" fmla="*/ 59296 w 149261"/>
                    <a:gd name="connsiteY104" fmla="*/ 28115 h 36293"/>
                    <a:gd name="connsiteX105" fmla="*/ 60318 w 149261"/>
                    <a:gd name="connsiteY105" fmla="*/ 28626 h 36293"/>
                    <a:gd name="connsiteX106" fmla="*/ 62363 w 149261"/>
                    <a:gd name="connsiteY106" fmla="*/ 28626 h 36293"/>
                    <a:gd name="connsiteX107" fmla="*/ 63385 w 149261"/>
                    <a:gd name="connsiteY107" fmla="*/ 28115 h 36293"/>
                    <a:gd name="connsiteX108" fmla="*/ 63385 w 149261"/>
                    <a:gd name="connsiteY108" fmla="*/ 9201 h 36293"/>
                    <a:gd name="connsiteX109" fmla="*/ 48050 w 149261"/>
                    <a:gd name="connsiteY109" fmla="*/ 8690 h 36293"/>
                    <a:gd name="connsiteX110" fmla="*/ 47028 w 149261"/>
                    <a:gd name="connsiteY110" fmla="*/ 8179 h 36293"/>
                    <a:gd name="connsiteX111" fmla="*/ 45494 w 149261"/>
                    <a:gd name="connsiteY111" fmla="*/ 8179 h 36293"/>
                    <a:gd name="connsiteX112" fmla="*/ 44983 w 149261"/>
                    <a:gd name="connsiteY112" fmla="*/ 8690 h 36293"/>
                    <a:gd name="connsiteX113" fmla="*/ 44983 w 149261"/>
                    <a:gd name="connsiteY113" fmla="*/ 28115 h 36293"/>
                    <a:gd name="connsiteX114" fmla="*/ 46005 w 149261"/>
                    <a:gd name="connsiteY114" fmla="*/ 28626 h 36293"/>
                    <a:gd name="connsiteX115" fmla="*/ 48050 w 149261"/>
                    <a:gd name="connsiteY115" fmla="*/ 28626 h 36293"/>
                    <a:gd name="connsiteX116" fmla="*/ 49072 w 149261"/>
                    <a:gd name="connsiteY116" fmla="*/ 28115 h 36293"/>
                    <a:gd name="connsiteX117" fmla="*/ 49072 w 149261"/>
                    <a:gd name="connsiteY117" fmla="*/ 16357 h 36293"/>
                    <a:gd name="connsiteX118" fmla="*/ 50095 w 149261"/>
                    <a:gd name="connsiteY118" fmla="*/ 12779 h 36293"/>
                    <a:gd name="connsiteX119" fmla="*/ 53673 w 149261"/>
                    <a:gd name="connsiteY119" fmla="*/ 11757 h 36293"/>
                    <a:gd name="connsiteX120" fmla="*/ 54695 w 149261"/>
                    <a:gd name="connsiteY120" fmla="*/ 11757 h 36293"/>
                    <a:gd name="connsiteX121" fmla="*/ 55718 w 149261"/>
                    <a:gd name="connsiteY121" fmla="*/ 11246 h 36293"/>
                    <a:gd name="connsiteX122" fmla="*/ 55718 w 149261"/>
                    <a:gd name="connsiteY122" fmla="*/ 9201 h 36293"/>
                    <a:gd name="connsiteX123" fmla="*/ 54695 w 149261"/>
                    <a:gd name="connsiteY123" fmla="*/ 8690 h 36293"/>
                    <a:gd name="connsiteX124" fmla="*/ 53673 w 149261"/>
                    <a:gd name="connsiteY124" fmla="*/ 8690 h 36293"/>
                    <a:gd name="connsiteX125" fmla="*/ 48561 w 149261"/>
                    <a:gd name="connsiteY125" fmla="*/ 11246 h 36293"/>
                    <a:gd name="connsiteX126" fmla="*/ 48561 w 149261"/>
                    <a:gd name="connsiteY126" fmla="*/ 11246 h 36293"/>
                    <a:gd name="connsiteX127" fmla="*/ 48050 w 149261"/>
                    <a:gd name="connsiteY127" fmla="*/ 8690 h 36293"/>
                    <a:gd name="connsiteX128" fmla="*/ 28626 w 149261"/>
                    <a:gd name="connsiteY128" fmla="*/ 17380 h 36293"/>
                    <a:gd name="connsiteX129" fmla="*/ 32715 w 149261"/>
                    <a:gd name="connsiteY129" fmla="*/ 11246 h 36293"/>
                    <a:gd name="connsiteX130" fmla="*/ 36804 w 149261"/>
                    <a:gd name="connsiteY130" fmla="*/ 16869 h 36293"/>
                    <a:gd name="connsiteX131" fmla="*/ 36293 w 149261"/>
                    <a:gd name="connsiteY131" fmla="*/ 17380 h 36293"/>
                    <a:gd name="connsiteX132" fmla="*/ 28626 w 149261"/>
                    <a:gd name="connsiteY132" fmla="*/ 17380 h 36293"/>
                    <a:gd name="connsiteX133" fmla="*/ 40894 w 149261"/>
                    <a:gd name="connsiteY133" fmla="*/ 16357 h 36293"/>
                    <a:gd name="connsiteX134" fmla="*/ 33226 w 149261"/>
                    <a:gd name="connsiteY134" fmla="*/ 7668 h 36293"/>
                    <a:gd name="connsiteX135" fmla="*/ 25047 w 149261"/>
                    <a:gd name="connsiteY135" fmla="*/ 17891 h 36293"/>
                    <a:gd name="connsiteX136" fmla="*/ 25047 w 149261"/>
                    <a:gd name="connsiteY136" fmla="*/ 19425 h 36293"/>
                    <a:gd name="connsiteX137" fmla="*/ 33737 w 149261"/>
                    <a:gd name="connsiteY137" fmla="*/ 29648 h 36293"/>
                    <a:gd name="connsiteX138" fmla="*/ 39871 w 149261"/>
                    <a:gd name="connsiteY138" fmla="*/ 28626 h 36293"/>
                    <a:gd name="connsiteX139" fmla="*/ 40383 w 149261"/>
                    <a:gd name="connsiteY139" fmla="*/ 28115 h 36293"/>
                    <a:gd name="connsiteX140" fmla="*/ 40383 w 149261"/>
                    <a:gd name="connsiteY140" fmla="*/ 27092 h 36293"/>
                    <a:gd name="connsiteX141" fmla="*/ 39871 w 149261"/>
                    <a:gd name="connsiteY141" fmla="*/ 26070 h 36293"/>
                    <a:gd name="connsiteX142" fmla="*/ 39360 w 149261"/>
                    <a:gd name="connsiteY142" fmla="*/ 25559 h 36293"/>
                    <a:gd name="connsiteX143" fmla="*/ 38849 w 149261"/>
                    <a:gd name="connsiteY143" fmla="*/ 25559 h 36293"/>
                    <a:gd name="connsiteX144" fmla="*/ 34248 w 149261"/>
                    <a:gd name="connsiteY144" fmla="*/ 26581 h 36293"/>
                    <a:gd name="connsiteX145" fmla="*/ 29137 w 149261"/>
                    <a:gd name="connsiteY145" fmla="*/ 20958 h 36293"/>
                    <a:gd name="connsiteX146" fmla="*/ 39871 w 149261"/>
                    <a:gd name="connsiteY146" fmla="*/ 20958 h 36293"/>
                    <a:gd name="connsiteX147" fmla="*/ 40894 w 149261"/>
                    <a:gd name="connsiteY147" fmla="*/ 19936 h 36293"/>
                    <a:gd name="connsiteX148" fmla="*/ 40894 w 149261"/>
                    <a:gd name="connsiteY148" fmla="*/ 16357 h 36293"/>
                    <a:gd name="connsiteX149" fmla="*/ 19936 w 149261"/>
                    <a:gd name="connsiteY149" fmla="*/ 2556 h 36293"/>
                    <a:gd name="connsiteX150" fmla="*/ 18913 w 149261"/>
                    <a:gd name="connsiteY150" fmla="*/ 1533 h 36293"/>
                    <a:gd name="connsiteX151" fmla="*/ 16869 w 149261"/>
                    <a:gd name="connsiteY151" fmla="*/ 1533 h 36293"/>
                    <a:gd name="connsiteX152" fmla="*/ 15846 w 149261"/>
                    <a:gd name="connsiteY152" fmla="*/ 2556 h 36293"/>
                    <a:gd name="connsiteX153" fmla="*/ 15846 w 149261"/>
                    <a:gd name="connsiteY153" fmla="*/ 13291 h 36293"/>
                    <a:gd name="connsiteX154" fmla="*/ 4089 w 149261"/>
                    <a:gd name="connsiteY154" fmla="*/ 13291 h 36293"/>
                    <a:gd name="connsiteX155" fmla="*/ 4089 w 149261"/>
                    <a:gd name="connsiteY155" fmla="*/ 2556 h 36293"/>
                    <a:gd name="connsiteX156" fmla="*/ 3067 w 149261"/>
                    <a:gd name="connsiteY156" fmla="*/ 1533 h 36293"/>
                    <a:gd name="connsiteX157" fmla="*/ 1022 w 149261"/>
                    <a:gd name="connsiteY157" fmla="*/ 1533 h 36293"/>
                    <a:gd name="connsiteX158" fmla="*/ 0 w 149261"/>
                    <a:gd name="connsiteY158" fmla="*/ 2556 h 36293"/>
                    <a:gd name="connsiteX159" fmla="*/ 0 w 149261"/>
                    <a:gd name="connsiteY159" fmla="*/ 28115 h 36293"/>
                    <a:gd name="connsiteX160" fmla="*/ 1022 w 149261"/>
                    <a:gd name="connsiteY160" fmla="*/ 29137 h 36293"/>
                    <a:gd name="connsiteX161" fmla="*/ 3067 w 149261"/>
                    <a:gd name="connsiteY161" fmla="*/ 29137 h 36293"/>
                    <a:gd name="connsiteX162" fmla="*/ 4089 w 149261"/>
                    <a:gd name="connsiteY162" fmla="*/ 28115 h 36293"/>
                    <a:gd name="connsiteX163" fmla="*/ 4089 w 149261"/>
                    <a:gd name="connsiteY163" fmla="*/ 16869 h 36293"/>
                    <a:gd name="connsiteX164" fmla="*/ 15846 w 149261"/>
                    <a:gd name="connsiteY164" fmla="*/ 16869 h 36293"/>
                    <a:gd name="connsiteX165" fmla="*/ 15846 w 149261"/>
                    <a:gd name="connsiteY165" fmla="*/ 28115 h 36293"/>
                    <a:gd name="connsiteX166" fmla="*/ 16869 w 149261"/>
                    <a:gd name="connsiteY166" fmla="*/ 29137 h 36293"/>
                    <a:gd name="connsiteX167" fmla="*/ 19424 w 149261"/>
                    <a:gd name="connsiteY167" fmla="*/ 29137 h 36293"/>
                    <a:gd name="connsiteX168" fmla="*/ 20447 w 149261"/>
                    <a:gd name="connsiteY168" fmla="*/ 28115 h 36293"/>
                    <a:gd name="connsiteX169" fmla="*/ 20447 w 149261"/>
                    <a:gd name="connsiteY169" fmla="*/ 2556 h 362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</a:cxnLst>
                  <a:rect l="l" t="t" r="r" b="b"/>
                  <a:pathLst>
                    <a:path w="149261" h="36293">
                      <a:moveTo>
                        <a:pt x="131882" y="28115"/>
                      </a:moveTo>
                      <a:cubicBezTo>
                        <a:pt x="131882" y="28626"/>
                        <a:pt x="131882" y="28626"/>
                        <a:pt x="132905" y="28626"/>
                      </a:cubicBezTo>
                      <a:lnTo>
                        <a:pt x="134949" y="28626"/>
                      </a:lnTo>
                      <a:cubicBezTo>
                        <a:pt x="135460" y="28626"/>
                        <a:pt x="135972" y="28626"/>
                        <a:pt x="135972" y="28115"/>
                      </a:cubicBezTo>
                      <a:lnTo>
                        <a:pt x="135972" y="15335"/>
                      </a:lnTo>
                      <a:cubicBezTo>
                        <a:pt x="135972" y="11757"/>
                        <a:pt x="137505" y="10735"/>
                        <a:pt x="140572" y="10735"/>
                      </a:cubicBezTo>
                      <a:cubicBezTo>
                        <a:pt x="143639" y="10735"/>
                        <a:pt x="145173" y="12268"/>
                        <a:pt x="145173" y="15846"/>
                      </a:cubicBezTo>
                      <a:lnTo>
                        <a:pt x="145173" y="28115"/>
                      </a:lnTo>
                      <a:cubicBezTo>
                        <a:pt x="145173" y="28626"/>
                        <a:pt x="145173" y="28626"/>
                        <a:pt x="146195" y="28626"/>
                      </a:cubicBezTo>
                      <a:lnTo>
                        <a:pt x="148240" y="28626"/>
                      </a:lnTo>
                      <a:cubicBezTo>
                        <a:pt x="148751" y="28626"/>
                        <a:pt x="149262" y="28626"/>
                        <a:pt x="149262" y="28115"/>
                      </a:cubicBezTo>
                      <a:lnTo>
                        <a:pt x="149262" y="16357"/>
                      </a:lnTo>
                      <a:cubicBezTo>
                        <a:pt x="149262" y="10223"/>
                        <a:pt x="146706" y="8179"/>
                        <a:pt x="142106" y="8179"/>
                      </a:cubicBezTo>
                      <a:cubicBezTo>
                        <a:pt x="139039" y="8179"/>
                        <a:pt x="137505" y="9201"/>
                        <a:pt x="135972" y="10735"/>
                      </a:cubicBezTo>
                      <a:lnTo>
                        <a:pt x="135972" y="10735"/>
                      </a:lnTo>
                      <a:lnTo>
                        <a:pt x="135972" y="9201"/>
                      </a:lnTo>
                      <a:cubicBezTo>
                        <a:pt x="135972" y="8690"/>
                        <a:pt x="135460" y="8690"/>
                        <a:pt x="134949" y="8690"/>
                      </a:cubicBezTo>
                      <a:lnTo>
                        <a:pt x="133416" y="8690"/>
                      </a:lnTo>
                      <a:cubicBezTo>
                        <a:pt x="132905" y="8690"/>
                        <a:pt x="132905" y="8690"/>
                        <a:pt x="132905" y="9201"/>
                      </a:cubicBezTo>
                      <a:lnTo>
                        <a:pt x="132905" y="28115"/>
                      </a:lnTo>
                      <a:close/>
                      <a:moveTo>
                        <a:pt x="115014" y="17380"/>
                      </a:moveTo>
                      <a:cubicBezTo>
                        <a:pt x="115014" y="13291"/>
                        <a:pt x="115525" y="11246"/>
                        <a:pt x="119103" y="11246"/>
                      </a:cubicBezTo>
                      <a:cubicBezTo>
                        <a:pt x="122170" y="11246"/>
                        <a:pt x="123192" y="12779"/>
                        <a:pt x="123192" y="16869"/>
                      </a:cubicBezTo>
                      <a:cubicBezTo>
                        <a:pt x="123192" y="17380"/>
                        <a:pt x="123192" y="17380"/>
                        <a:pt x="122681" y="17380"/>
                      </a:cubicBezTo>
                      <a:lnTo>
                        <a:pt x="115014" y="17380"/>
                      </a:lnTo>
                      <a:close/>
                      <a:moveTo>
                        <a:pt x="127282" y="16357"/>
                      </a:moveTo>
                      <a:cubicBezTo>
                        <a:pt x="127282" y="10223"/>
                        <a:pt x="124726" y="7668"/>
                        <a:pt x="119614" y="7668"/>
                      </a:cubicBezTo>
                      <a:cubicBezTo>
                        <a:pt x="113480" y="7668"/>
                        <a:pt x="111435" y="11246"/>
                        <a:pt x="111435" y="17891"/>
                      </a:cubicBezTo>
                      <a:lnTo>
                        <a:pt x="111435" y="19425"/>
                      </a:lnTo>
                      <a:cubicBezTo>
                        <a:pt x="111435" y="26581"/>
                        <a:pt x="113480" y="29648"/>
                        <a:pt x="120125" y="29648"/>
                      </a:cubicBezTo>
                      <a:cubicBezTo>
                        <a:pt x="122170" y="29648"/>
                        <a:pt x="124726" y="29137"/>
                        <a:pt x="126259" y="28626"/>
                      </a:cubicBezTo>
                      <a:cubicBezTo>
                        <a:pt x="126770" y="28626"/>
                        <a:pt x="126770" y="28115"/>
                        <a:pt x="126770" y="28115"/>
                      </a:cubicBezTo>
                      <a:cubicBezTo>
                        <a:pt x="126770" y="28115"/>
                        <a:pt x="126770" y="27603"/>
                        <a:pt x="126770" y="27092"/>
                      </a:cubicBezTo>
                      <a:lnTo>
                        <a:pt x="126259" y="26070"/>
                      </a:lnTo>
                      <a:cubicBezTo>
                        <a:pt x="126259" y="25559"/>
                        <a:pt x="125748" y="25559"/>
                        <a:pt x="125748" y="25559"/>
                      </a:cubicBezTo>
                      <a:cubicBezTo>
                        <a:pt x="125748" y="25559"/>
                        <a:pt x="125237" y="25559"/>
                        <a:pt x="125237" y="25559"/>
                      </a:cubicBezTo>
                      <a:cubicBezTo>
                        <a:pt x="124215" y="26070"/>
                        <a:pt x="122170" y="26581"/>
                        <a:pt x="120636" y="26581"/>
                      </a:cubicBezTo>
                      <a:cubicBezTo>
                        <a:pt x="116547" y="26581"/>
                        <a:pt x="115525" y="25047"/>
                        <a:pt x="115525" y="20958"/>
                      </a:cubicBezTo>
                      <a:lnTo>
                        <a:pt x="126259" y="20958"/>
                      </a:lnTo>
                      <a:cubicBezTo>
                        <a:pt x="127282" y="20958"/>
                        <a:pt x="127282" y="20447"/>
                        <a:pt x="127282" y="19936"/>
                      </a:cubicBezTo>
                      <a:lnTo>
                        <a:pt x="127282" y="16357"/>
                      </a:lnTo>
                      <a:close/>
                      <a:moveTo>
                        <a:pt x="106835" y="9201"/>
                      </a:moveTo>
                      <a:cubicBezTo>
                        <a:pt x="106835" y="8690"/>
                        <a:pt x="106324" y="8690"/>
                        <a:pt x="105812" y="8690"/>
                      </a:cubicBezTo>
                      <a:lnTo>
                        <a:pt x="104279" y="8690"/>
                      </a:lnTo>
                      <a:cubicBezTo>
                        <a:pt x="103768" y="8690"/>
                        <a:pt x="103768" y="8690"/>
                        <a:pt x="103257" y="9201"/>
                      </a:cubicBezTo>
                      <a:lnTo>
                        <a:pt x="102745" y="10735"/>
                      </a:lnTo>
                      <a:lnTo>
                        <a:pt x="102745" y="10735"/>
                      </a:lnTo>
                      <a:cubicBezTo>
                        <a:pt x="101723" y="9201"/>
                        <a:pt x="99678" y="8179"/>
                        <a:pt x="97123" y="8179"/>
                      </a:cubicBezTo>
                      <a:cubicBezTo>
                        <a:pt x="91500" y="8179"/>
                        <a:pt x="88944" y="10735"/>
                        <a:pt x="88944" y="17891"/>
                      </a:cubicBezTo>
                      <a:lnTo>
                        <a:pt x="88944" y="19425"/>
                      </a:lnTo>
                      <a:cubicBezTo>
                        <a:pt x="88944" y="26581"/>
                        <a:pt x="91500" y="29137"/>
                        <a:pt x="97123" y="29137"/>
                      </a:cubicBezTo>
                      <a:cubicBezTo>
                        <a:pt x="99678" y="29137"/>
                        <a:pt x="101212" y="28626"/>
                        <a:pt x="102234" y="27092"/>
                      </a:cubicBezTo>
                      <a:lnTo>
                        <a:pt x="102234" y="27092"/>
                      </a:lnTo>
                      <a:lnTo>
                        <a:pt x="102234" y="28626"/>
                      </a:lnTo>
                      <a:cubicBezTo>
                        <a:pt x="102234" y="30670"/>
                        <a:pt x="101723" y="31693"/>
                        <a:pt x="101212" y="32204"/>
                      </a:cubicBezTo>
                      <a:cubicBezTo>
                        <a:pt x="100190" y="32715"/>
                        <a:pt x="99167" y="33226"/>
                        <a:pt x="97634" y="33226"/>
                      </a:cubicBezTo>
                      <a:cubicBezTo>
                        <a:pt x="96100" y="33226"/>
                        <a:pt x="94056" y="32715"/>
                        <a:pt x="92522" y="32715"/>
                      </a:cubicBezTo>
                      <a:cubicBezTo>
                        <a:pt x="92011" y="32715"/>
                        <a:pt x="91500" y="32715"/>
                        <a:pt x="91500" y="33226"/>
                      </a:cubicBezTo>
                      <a:lnTo>
                        <a:pt x="90988" y="34249"/>
                      </a:lnTo>
                      <a:cubicBezTo>
                        <a:pt x="90988" y="34760"/>
                        <a:pt x="90988" y="35271"/>
                        <a:pt x="91500" y="35271"/>
                      </a:cubicBezTo>
                      <a:cubicBezTo>
                        <a:pt x="93033" y="35782"/>
                        <a:pt x="95078" y="36293"/>
                        <a:pt x="97634" y="36293"/>
                      </a:cubicBezTo>
                      <a:cubicBezTo>
                        <a:pt x="100701" y="36293"/>
                        <a:pt x="102745" y="35782"/>
                        <a:pt x="104279" y="34249"/>
                      </a:cubicBezTo>
                      <a:cubicBezTo>
                        <a:pt x="105812" y="32715"/>
                        <a:pt x="106324" y="30159"/>
                        <a:pt x="106324" y="27092"/>
                      </a:cubicBezTo>
                      <a:lnTo>
                        <a:pt x="106324" y="9201"/>
                      </a:lnTo>
                      <a:close/>
                      <a:moveTo>
                        <a:pt x="98145" y="11246"/>
                      </a:moveTo>
                      <a:cubicBezTo>
                        <a:pt x="101212" y="11246"/>
                        <a:pt x="102745" y="12779"/>
                        <a:pt x="102745" y="15846"/>
                      </a:cubicBezTo>
                      <a:lnTo>
                        <a:pt x="102745" y="21469"/>
                      </a:lnTo>
                      <a:cubicBezTo>
                        <a:pt x="102745" y="24536"/>
                        <a:pt x="101212" y="26070"/>
                        <a:pt x="98145" y="26070"/>
                      </a:cubicBezTo>
                      <a:cubicBezTo>
                        <a:pt x="94567" y="26070"/>
                        <a:pt x="93544" y="25047"/>
                        <a:pt x="93544" y="19425"/>
                      </a:cubicBezTo>
                      <a:lnTo>
                        <a:pt x="93544" y="18402"/>
                      </a:lnTo>
                      <a:cubicBezTo>
                        <a:pt x="93544" y="12779"/>
                        <a:pt x="94567" y="11246"/>
                        <a:pt x="98145" y="11246"/>
                      </a:cubicBezTo>
                      <a:moveTo>
                        <a:pt x="69008" y="28115"/>
                      </a:moveTo>
                      <a:cubicBezTo>
                        <a:pt x="69008" y="28626"/>
                        <a:pt x="69519" y="28626"/>
                        <a:pt x="70030" y="28626"/>
                      </a:cubicBezTo>
                      <a:lnTo>
                        <a:pt x="72075" y="28626"/>
                      </a:lnTo>
                      <a:cubicBezTo>
                        <a:pt x="72586" y="28626"/>
                        <a:pt x="73097" y="28626"/>
                        <a:pt x="73097" y="28115"/>
                      </a:cubicBezTo>
                      <a:lnTo>
                        <a:pt x="73097" y="15335"/>
                      </a:lnTo>
                      <a:cubicBezTo>
                        <a:pt x="73097" y="11757"/>
                        <a:pt x="74631" y="10735"/>
                        <a:pt x="77698" y="10735"/>
                      </a:cubicBezTo>
                      <a:cubicBezTo>
                        <a:pt x="80765" y="10735"/>
                        <a:pt x="82299" y="12268"/>
                        <a:pt x="82299" y="15846"/>
                      </a:cubicBezTo>
                      <a:lnTo>
                        <a:pt x="82299" y="28115"/>
                      </a:lnTo>
                      <a:cubicBezTo>
                        <a:pt x="82299" y="28626"/>
                        <a:pt x="82810" y="28626"/>
                        <a:pt x="83321" y="28626"/>
                      </a:cubicBezTo>
                      <a:lnTo>
                        <a:pt x="85366" y="28626"/>
                      </a:lnTo>
                      <a:cubicBezTo>
                        <a:pt x="85877" y="28626"/>
                        <a:pt x="86388" y="28626"/>
                        <a:pt x="86388" y="28115"/>
                      </a:cubicBezTo>
                      <a:lnTo>
                        <a:pt x="86388" y="16357"/>
                      </a:lnTo>
                      <a:cubicBezTo>
                        <a:pt x="86388" y="10223"/>
                        <a:pt x="83832" y="8179"/>
                        <a:pt x="79232" y="8179"/>
                      </a:cubicBezTo>
                      <a:cubicBezTo>
                        <a:pt x="76165" y="8179"/>
                        <a:pt x="74631" y="9201"/>
                        <a:pt x="73097" y="10735"/>
                      </a:cubicBezTo>
                      <a:lnTo>
                        <a:pt x="73097" y="10735"/>
                      </a:lnTo>
                      <a:lnTo>
                        <a:pt x="73097" y="9201"/>
                      </a:lnTo>
                      <a:cubicBezTo>
                        <a:pt x="73097" y="8690"/>
                        <a:pt x="72586" y="8690"/>
                        <a:pt x="72075" y="8690"/>
                      </a:cubicBezTo>
                      <a:lnTo>
                        <a:pt x="70542" y="8690"/>
                      </a:lnTo>
                      <a:cubicBezTo>
                        <a:pt x="70030" y="8690"/>
                        <a:pt x="70030" y="8690"/>
                        <a:pt x="70030" y="9201"/>
                      </a:cubicBezTo>
                      <a:lnTo>
                        <a:pt x="70030" y="28115"/>
                      </a:lnTo>
                      <a:close/>
                      <a:moveTo>
                        <a:pt x="58785" y="3067"/>
                      </a:moveTo>
                      <a:cubicBezTo>
                        <a:pt x="58785" y="4601"/>
                        <a:pt x="59807" y="5623"/>
                        <a:pt x="61341" y="5623"/>
                      </a:cubicBezTo>
                      <a:lnTo>
                        <a:pt x="61341" y="5623"/>
                      </a:lnTo>
                      <a:cubicBezTo>
                        <a:pt x="62874" y="5623"/>
                        <a:pt x="63896" y="5112"/>
                        <a:pt x="63896" y="3067"/>
                      </a:cubicBezTo>
                      <a:lnTo>
                        <a:pt x="63896" y="2556"/>
                      </a:lnTo>
                      <a:cubicBezTo>
                        <a:pt x="63896" y="1022"/>
                        <a:pt x="62874" y="0"/>
                        <a:pt x="61341" y="0"/>
                      </a:cubicBezTo>
                      <a:lnTo>
                        <a:pt x="61341" y="0"/>
                      </a:lnTo>
                      <a:cubicBezTo>
                        <a:pt x="59807" y="511"/>
                        <a:pt x="58785" y="1022"/>
                        <a:pt x="58785" y="3067"/>
                      </a:cubicBezTo>
                      <a:lnTo>
                        <a:pt x="58785" y="3067"/>
                      </a:lnTo>
                      <a:close/>
                      <a:moveTo>
                        <a:pt x="63385" y="9201"/>
                      </a:moveTo>
                      <a:cubicBezTo>
                        <a:pt x="63385" y="8690"/>
                        <a:pt x="63385" y="8690"/>
                        <a:pt x="62363" y="8690"/>
                      </a:cubicBezTo>
                      <a:lnTo>
                        <a:pt x="60318" y="8690"/>
                      </a:lnTo>
                      <a:cubicBezTo>
                        <a:pt x="59807" y="8690"/>
                        <a:pt x="59296" y="8690"/>
                        <a:pt x="59296" y="9201"/>
                      </a:cubicBezTo>
                      <a:lnTo>
                        <a:pt x="59296" y="28115"/>
                      </a:lnTo>
                      <a:cubicBezTo>
                        <a:pt x="59296" y="28626"/>
                        <a:pt x="59296" y="28626"/>
                        <a:pt x="60318" y="28626"/>
                      </a:cubicBezTo>
                      <a:lnTo>
                        <a:pt x="62363" y="28626"/>
                      </a:lnTo>
                      <a:cubicBezTo>
                        <a:pt x="62874" y="28626"/>
                        <a:pt x="63385" y="28626"/>
                        <a:pt x="63385" y="28115"/>
                      </a:cubicBezTo>
                      <a:lnTo>
                        <a:pt x="63385" y="9201"/>
                      </a:lnTo>
                      <a:close/>
                      <a:moveTo>
                        <a:pt x="48050" y="8690"/>
                      </a:moveTo>
                      <a:cubicBezTo>
                        <a:pt x="48050" y="8179"/>
                        <a:pt x="47539" y="8179"/>
                        <a:pt x="47028" y="8179"/>
                      </a:cubicBezTo>
                      <a:lnTo>
                        <a:pt x="45494" y="8179"/>
                      </a:lnTo>
                      <a:cubicBezTo>
                        <a:pt x="44983" y="8179"/>
                        <a:pt x="44983" y="8179"/>
                        <a:pt x="44983" y="8690"/>
                      </a:cubicBezTo>
                      <a:lnTo>
                        <a:pt x="44983" y="28115"/>
                      </a:lnTo>
                      <a:cubicBezTo>
                        <a:pt x="44983" y="28626"/>
                        <a:pt x="44983" y="28626"/>
                        <a:pt x="46005" y="28626"/>
                      </a:cubicBezTo>
                      <a:lnTo>
                        <a:pt x="48050" y="28626"/>
                      </a:lnTo>
                      <a:cubicBezTo>
                        <a:pt x="48561" y="28626"/>
                        <a:pt x="49072" y="28626"/>
                        <a:pt x="49072" y="28115"/>
                      </a:cubicBezTo>
                      <a:lnTo>
                        <a:pt x="49072" y="16357"/>
                      </a:lnTo>
                      <a:cubicBezTo>
                        <a:pt x="49072" y="14824"/>
                        <a:pt x="49584" y="13291"/>
                        <a:pt x="50095" y="12779"/>
                      </a:cubicBezTo>
                      <a:cubicBezTo>
                        <a:pt x="50606" y="11757"/>
                        <a:pt x="51628" y="11757"/>
                        <a:pt x="53673" y="11757"/>
                      </a:cubicBezTo>
                      <a:lnTo>
                        <a:pt x="54695" y="11757"/>
                      </a:lnTo>
                      <a:cubicBezTo>
                        <a:pt x="55206" y="11757"/>
                        <a:pt x="55718" y="11757"/>
                        <a:pt x="55718" y="11246"/>
                      </a:cubicBezTo>
                      <a:lnTo>
                        <a:pt x="55718" y="9201"/>
                      </a:lnTo>
                      <a:cubicBezTo>
                        <a:pt x="55718" y="8690"/>
                        <a:pt x="55718" y="8690"/>
                        <a:pt x="54695" y="8690"/>
                      </a:cubicBezTo>
                      <a:lnTo>
                        <a:pt x="53673" y="8690"/>
                      </a:lnTo>
                      <a:cubicBezTo>
                        <a:pt x="51117" y="8690"/>
                        <a:pt x="49584" y="9712"/>
                        <a:pt x="48561" y="11246"/>
                      </a:cubicBezTo>
                      <a:lnTo>
                        <a:pt x="48561" y="11246"/>
                      </a:lnTo>
                      <a:lnTo>
                        <a:pt x="48050" y="8690"/>
                      </a:lnTo>
                      <a:close/>
                      <a:moveTo>
                        <a:pt x="28626" y="17380"/>
                      </a:moveTo>
                      <a:cubicBezTo>
                        <a:pt x="28626" y="13291"/>
                        <a:pt x="29137" y="11246"/>
                        <a:pt x="32715" y="11246"/>
                      </a:cubicBezTo>
                      <a:cubicBezTo>
                        <a:pt x="35782" y="11246"/>
                        <a:pt x="36804" y="12779"/>
                        <a:pt x="36804" y="16869"/>
                      </a:cubicBezTo>
                      <a:cubicBezTo>
                        <a:pt x="36804" y="17380"/>
                        <a:pt x="36804" y="17380"/>
                        <a:pt x="36293" y="17380"/>
                      </a:cubicBezTo>
                      <a:lnTo>
                        <a:pt x="28626" y="17380"/>
                      </a:lnTo>
                      <a:close/>
                      <a:moveTo>
                        <a:pt x="40894" y="16357"/>
                      </a:moveTo>
                      <a:cubicBezTo>
                        <a:pt x="40894" y="10223"/>
                        <a:pt x="38338" y="7668"/>
                        <a:pt x="33226" y="7668"/>
                      </a:cubicBezTo>
                      <a:cubicBezTo>
                        <a:pt x="27092" y="7668"/>
                        <a:pt x="25047" y="11246"/>
                        <a:pt x="25047" y="17891"/>
                      </a:cubicBezTo>
                      <a:lnTo>
                        <a:pt x="25047" y="19425"/>
                      </a:lnTo>
                      <a:cubicBezTo>
                        <a:pt x="25047" y="26581"/>
                        <a:pt x="27092" y="29648"/>
                        <a:pt x="33737" y="29648"/>
                      </a:cubicBezTo>
                      <a:cubicBezTo>
                        <a:pt x="35782" y="29648"/>
                        <a:pt x="38338" y="29137"/>
                        <a:pt x="39871" y="28626"/>
                      </a:cubicBezTo>
                      <a:cubicBezTo>
                        <a:pt x="40383" y="28626"/>
                        <a:pt x="40383" y="28115"/>
                        <a:pt x="40383" y="28115"/>
                      </a:cubicBezTo>
                      <a:cubicBezTo>
                        <a:pt x="40383" y="28115"/>
                        <a:pt x="40383" y="27603"/>
                        <a:pt x="40383" y="27092"/>
                      </a:cubicBezTo>
                      <a:lnTo>
                        <a:pt x="39871" y="26070"/>
                      </a:lnTo>
                      <a:cubicBezTo>
                        <a:pt x="39871" y="25559"/>
                        <a:pt x="39360" y="25559"/>
                        <a:pt x="39360" y="25559"/>
                      </a:cubicBezTo>
                      <a:cubicBezTo>
                        <a:pt x="39360" y="25559"/>
                        <a:pt x="38849" y="25559"/>
                        <a:pt x="38849" y="25559"/>
                      </a:cubicBezTo>
                      <a:cubicBezTo>
                        <a:pt x="37827" y="26070"/>
                        <a:pt x="35782" y="26581"/>
                        <a:pt x="34248" y="26581"/>
                      </a:cubicBezTo>
                      <a:cubicBezTo>
                        <a:pt x="30159" y="26581"/>
                        <a:pt x="29137" y="25047"/>
                        <a:pt x="29137" y="20958"/>
                      </a:cubicBezTo>
                      <a:lnTo>
                        <a:pt x="39871" y="20958"/>
                      </a:lnTo>
                      <a:cubicBezTo>
                        <a:pt x="40894" y="20958"/>
                        <a:pt x="40894" y="20447"/>
                        <a:pt x="40894" y="19936"/>
                      </a:cubicBezTo>
                      <a:lnTo>
                        <a:pt x="40894" y="16357"/>
                      </a:lnTo>
                      <a:close/>
                      <a:moveTo>
                        <a:pt x="19936" y="2556"/>
                      </a:moveTo>
                      <a:cubicBezTo>
                        <a:pt x="19936" y="2045"/>
                        <a:pt x="19424" y="1533"/>
                        <a:pt x="18913" y="1533"/>
                      </a:cubicBezTo>
                      <a:lnTo>
                        <a:pt x="16869" y="1533"/>
                      </a:lnTo>
                      <a:cubicBezTo>
                        <a:pt x="16357" y="1533"/>
                        <a:pt x="15846" y="1533"/>
                        <a:pt x="15846" y="2556"/>
                      </a:cubicBezTo>
                      <a:lnTo>
                        <a:pt x="15846" y="13291"/>
                      </a:lnTo>
                      <a:lnTo>
                        <a:pt x="4089" y="13291"/>
                      </a:lnTo>
                      <a:lnTo>
                        <a:pt x="4089" y="2556"/>
                      </a:lnTo>
                      <a:cubicBezTo>
                        <a:pt x="4089" y="2045"/>
                        <a:pt x="4089" y="1533"/>
                        <a:pt x="3067" y="1533"/>
                      </a:cubicBezTo>
                      <a:lnTo>
                        <a:pt x="1022" y="1533"/>
                      </a:lnTo>
                      <a:cubicBezTo>
                        <a:pt x="511" y="1533"/>
                        <a:pt x="0" y="1533"/>
                        <a:pt x="0" y="2556"/>
                      </a:cubicBezTo>
                      <a:lnTo>
                        <a:pt x="0" y="28115"/>
                      </a:lnTo>
                      <a:cubicBezTo>
                        <a:pt x="0" y="28626"/>
                        <a:pt x="511" y="29137"/>
                        <a:pt x="1022" y="29137"/>
                      </a:cubicBezTo>
                      <a:lnTo>
                        <a:pt x="3067" y="29137"/>
                      </a:lnTo>
                      <a:cubicBezTo>
                        <a:pt x="3578" y="29137"/>
                        <a:pt x="4089" y="29137"/>
                        <a:pt x="4089" y="28115"/>
                      </a:cubicBezTo>
                      <a:lnTo>
                        <a:pt x="4089" y="16869"/>
                      </a:lnTo>
                      <a:lnTo>
                        <a:pt x="15846" y="16869"/>
                      </a:lnTo>
                      <a:lnTo>
                        <a:pt x="15846" y="28115"/>
                      </a:lnTo>
                      <a:cubicBezTo>
                        <a:pt x="15846" y="28626"/>
                        <a:pt x="15846" y="29137"/>
                        <a:pt x="16869" y="29137"/>
                      </a:cubicBezTo>
                      <a:lnTo>
                        <a:pt x="19424" y="29137"/>
                      </a:lnTo>
                      <a:cubicBezTo>
                        <a:pt x="19936" y="29137"/>
                        <a:pt x="20447" y="29137"/>
                        <a:pt x="20447" y="28115"/>
                      </a:cubicBezTo>
                      <a:lnTo>
                        <a:pt x="20447" y="2556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4" name="Freihandform: Form 133">
                  <a:extLst>
                    <a:ext uri="{FF2B5EF4-FFF2-40B4-BE49-F238E27FC236}">
                      <a16:creationId xmlns:a16="http://schemas.microsoft.com/office/drawing/2014/main" id="{C6EEA8EE-5F24-4136-A4E8-98908563BF72}"/>
                    </a:ext>
                  </a:extLst>
                </p:cNvPr>
                <p:cNvSpPr/>
                <p:nvPr/>
              </p:nvSpPr>
              <p:spPr>
                <a:xfrm>
                  <a:off x="7085731" y="1928306"/>
                  <a:ext cx="158463" cy="28625"/>
                </a:xfrm>
                <a:custGeom>
                  <a:avLst/>
                  <a:gdLst>
                    <a:gd name="connsiteX0" fmla="*/ 150796 w 158463"/>
                    <a:gd name="connsiteY0" fmla="*/ 7668 h 28625"/>
                    <a:gd name="connsiteX1" fmla="*/ 149773 w 158463"/>
                    <a:gd name="connsiteY1" fmla="*/ 7156 h 28625"/>
                    <a:gd name="connsiteX2" fmla="*/ 148240 w 158463"/>
                    <a:gd name="connsiteY2" fmla="*/ 7156 h 28625"/>
                    <a:gd name="connsiteX3" fmla="*/ 147729 w 158463"/>
                    <a:gd name="connsiteY3" fmla="*/ 7668 h 28625"/>
                    <a:gd name="connsiteX4" fmla="*/ 147729 w 158463"/>
                    <a:gd name="connsiteY4" fmla="*/ 27092 h 28625"/>
                    <a:gd name="connsiteX5" fmla="*/ 148751 w 158463"/>
                    <a:gd name="connsiteY5" fmla="*/ 27603 h 28625"/>
                    <a:gd name="connsiteX6" fmla="*/ 150796 w 158463"/>
                    <a:gd name="connsiteY6" fmla="*/ 27603 h 28625"/>
                    <a:gd name="connsiteX7" fmla="*/ 151818 w 158463"/>
                    <a:gd name="connsiteY7" fmla="*/ 27092 h 28625"/>
                    <a:gd name="connsiteX8" fmla="*/ 151818 w 158463"/>
                    <a:gd name="connsiteY8" fmla="*/ 15335 h 28625"/>
                    <a:gd name="connsiteX9" fmla="*/ 152840 w 158463"/>
                    <a:gd name="connsiteY9" fmla="*/ 11757 h 28625"/>
                    <a:gd name="connsiteX10" fmla="*/ 156418 w 158463"/>
                    <a:gd name="connsiteY10" fmla="*/ 10735 h 28625"/>
                    <a:gd name="connsiteX11" fmla="*/ 157441 w 158463"/>
                    <a:gd name="connsiteY11" fmla="*/ 10735 h 28625"/>
                    <a:gd name="connsiteX12" fmla="*/ 158463 w 158463"/>
                    <a:gd name="connsiteY12" fmla="*/ 10223 h 28625"/>
                    <a:gd name="connsiteX13" fmla="*/ 158463 w 158463"/>
                    <a:gd name="connsiteY13" fmla="*/ 8179 h 28625"/>
                    <a:gd name="connsiteX14" fmla="*/ 157441 w 158463"/>
                    <a:gd name="connsiteY14" fmla="*/ 7668 h 28625"/>
                    <a:gd name="connsiteX15" fmla="*/ 156418 w 158463"/>
                    <a:gd name="connsiteY15" fmla="*/ 7668 h 28625"/>
                    <a:gd name="connsiteX16" fmla="*/ 151307 w 158463"/>
                    <a:gd name="connsiteY16" fmla="*/ 10223 h 28625"/>
                    <a:gd name="connsiteX17" fmla="*/ 151307 w 158463"/>
                    <a:gd name="connsiteY17" fmla="*/ 10223 h 28625"/>
                    <a:gd name="connsiteX18" fmla="*/ 150796 w 158463"/>
                    <a:gd name="connsiteY18" fmla="*/ 7668 h 28625"/>
                    <a:gd name="connsiteX19" fmla="*/ 131371 w 158463"/>
                    <a:gd name="connsiteY19" fmla="*/ 15846 h 28625"/>
                    <a:gd name="connsiteX20" fmla="*/ 135460 w 158463"/>
                    <a:gd name="connsiteY20" fmla="*/ 9712 h 28625"/>
                    <a:gd name="connsiteX21" fmla="*/ 139550 w 158463"/>
                    <a:gd name="connsiteY21" fmla="*/ 15335 h 28625"/>
                    <a:gd name="connsiteX22" fmla="*/ 139039 w 158463"/>
                    <a:gd name="connsiteY22" fmla="*/ 15846 h 28625"/>
                    <a:gd name="connsiteX23" fmla="*/ 131371 w 158463"/>
                    <a:gd name="connsiteY23" fmla="*/ 15846 h 28625"/>
                    <a:gd name="connsiteX24" fmla="*/ 143639 w 158463"/>
                    <a:gd name="connsiteY24" fmla="*/ 14824 h 28625"/>
                    <a:gd name="connsiteX25" fmla="*/ 135972 w 158463"/>
                    <a:gd name="connsiteY25" fmla="*/ 6134 h 28625"/>
                    <a:gd name="connsiteX26" fmla="*/ 127793 w 158463"/>
                    <a:gd name="connsiteY26" fmla="*/ 16358 h 28625"/>
                    <a:gd name="connsiteX27" fmla="*/ 127793 w 158463"/>
                    <a:gd name="connsiteY27" fmla="*/ 17891 h 28625"/>
                    <a:gd name="connsiteX28" fmla="*/ 136483 w 158463"/>
                    <a:gd name="connsiteY28" fmla="*/ 28115 h 28625"/>
                    <a:gd name="connsiteX29" fmla="*/ 142617 w 158463"/>
                    <a:gd name="connsiteY29" fmla="*/ 27092 h 28625"/>
                    <a:gd name="connsiteX30" fmla="*/ 143128 w 158463"/>
                    <a:gd name="connsiteY30" fmla="*/ 26581 h 28625"/>
                    <a:gd name="connsiteX31" fmla="*/ 143128 w 158463"/>
                    <a:gd name="connsiteY31" fmla="*/ 25559 h 28625"/>
                    <a:gd name="connsiteX32" fmla="*/ 142617 w 158463"/>
                    <a:gd name="connsiteY32" fmla="*/ 24536 h 28625"/>
                    <a:gd name="connsiteX33" fmla="*/ 142106 w 158463"/>
                    <a:gd name="connsiteY33" fmla="*/ 24025 h 28625"/>
                    <a:gd name="connsiteX34" fmla="*/ 141595 w 158463"/>
                    <a:gd name="connsiteY34" fmla="*/ 24025 h 28625"/>
                    <a:gd name="connsiteX35" fmla="*/ 136994 w 158463"/>
                    <a:gd name="connsiteY35" fmla="*/ 25047 h 28625"/>
                    <a:gd name="connsiteX36" fmla="*/ 131882 w 158463"/>
                    <a:gd name="connsiteY36" fmla="*/ 19425 h 28625"/>
                    <a:gd name="connsiteX37" fmla="*/ 142617 w 158463"/>
                    <a:gd name="connsiteY37" fmla="*/ 19425 h 28625"/>
                    <a:gd name="connsiteX38" fmla="*/ 143639 w 158463"/>
                    <a:gd name="connsiteY38" fmla="*/ 18402 h 28625"/>
                    <a:gd name="connsiteX39" fmla="*/ 143639 w 158463"/>
                    <a:gd name="connsiteY39" fmla="*/ 14824 h 28625"/>
                    <a:gd name="connsiteX40" fmla="*/ 108368 w 158463"/>
                    <a:gd name="connsiteY40" fmla="*/ 6645 h 28625"/>
                    <a:gd name="connsiteX41" fmla="*/ 107857 w 158463"/>
                    <a:gd name="connsiteY41" fmla="*/ 7156 h 28625"/>
                    <a:gd name="connsiteX42" fmla="*/ 107857 w 158463"/>
                    <a:gd name="connsiteY42" fmla="*/ 8179 h 28625"/>
                    <a:gd name="connsiteX43" fmla="*/ 113480 w 158463"/>
                    <a:gd name="connsiteY43" fmla="*/ 25559 h 28625"/>
                    <a:gd name="connsiteX44" fmla="*/ 115525 w 158463"/>
                    <a:gd name="connsiteY44" fmla="*/ 27092 h 28625"/>
                    <a:gd name="connsiteX45" fmla="*/ 117569 w 158463"/>
                    <a:gd name="connsiteY45" fmla="*/ 27092 h 28625"/>
                    <a:gd name="connsiteX46" fmla="*/ 119614 w 158463"/>
                    <a:gd name="connsiteY46" fmla="*/ 25559 h 28625"/>
                    <a:gd name="connsiteX47" fmla="*/ 125237 w 158463"/>
                    <a:gd name="connsiteY47" fmla="*/ 8179 h 28625"/>
                    <a:gd name="connsiteX48" fmla="*/ 125748 w 158463"/>
                    <a:gd name="connsiteY48" fmla="*/ 7156 h 28625"/>
                    <a:gd name="connsiteX49" fmla="*/ 125237 w 158463"/>
                    <a:gd name="connsiteY49" fmla="*/ 6645 h 28625"/>
                    <a:gd name="connsiteX50" fmla="*/ 122681 w 158463"/>
                    <a:gd name="connsiteY50" fmla="*/ 6645 h 28625"/>
                    <a:gd name="connsiteX51" fmla="*/ 121659 w 158463"/>
                    <a:gd name="connsiteY51" fmla="*/ 7156 h 28625"/>
                    <a:gd name="connsiteX52" fmla="*/ 117058 w 158463"/>
                    <a:gd name="connsiteY52" fmla="*/ 23514 h 28625"/>
                    <a:gd name="connsiteX53" fmla="*/ 116547 w 158463"/>
                    <a:gd name="connsiteY53" fmla="*/ 23514 h 28625"/>
                    <a:gd name="connsiteX54" fmla="*/ 111947 w 158463"/>
                    <a:gd name="connsiteY54" fmla="*/ 7156 h 28625"/>
                    <a:gd name="connsiteX55" fmla="*/ 110924 w 158463"/>
                    <a:gd name="connsiteY55" fmla="*/ 6645 h 28625"/>
                    <a:gd name="connsiteX56" fmla="*/ 108368 w 158463"/>
                    <a:gd name="connsiteY56" fmla="*/ 6645 h 28625"/>
                    <a:gd name="connsiteX57" fmla="*/ 105301 w 158463"/>
                    <a:gd name="connsiteY57" fmla="*/ 16358 h 28625"/>
                    <a:gd name="connsiteX58" fmla="*/ 103257 w 158463"/>
                    <a:gd name="connsiteY58" fmla="*/ 8690 h 28625"/>
                    <a:gd name="connsiteX59" fmla="*/ 96612 w 158463"/>
                    <a:gd name="connsiteY59" fmla="*/ 6645 h 28625"/>
                    <a:gd name="connsiteX60" fmla="*/ 89966 w 158463"/>
                    <a:gd name="connsiteY60" fmla="*/ 8690 h 28625"/>
                    <a:gd name="connsiteX61" fmla="*/ 87922 w 158463"/>
                    <a:gd name="connsiteY61" fmla="*/ 16358 h 28625"/>
                    <a:gd name="connsiteX62" fmla="*/ 87922 w 158463"/>
                    <a:gd name="connsiteY62" fmla="*/ 17891 h 28625"/>
                    <a:gd name="connsiteX63" fmla="*/ 89966 w 158463"/>
                    <a:gd name="connsiteY63" fmla="*/ 25559 h 28625"/>
                    <a:gd name="connsiteX64" fmla="*/ 96612 w 158463"/>
                    <a:gd name="connsiteY64" fmla="*/ 27603 h 28625"/>
                    <a:gd name="connsiteX65" fmla="*/ 103257 w 158463"/>
                    <a:gd name="connsiteY65" fmla="*/ 25559 h 28625"/>
                    <a:gd name="connsiteX66" fmla="*/ 105301 w 158463"/>
                    <a:gd name="connsiteY66" fmla="*/ 17891 h 28625"/>
                    <a:gd name="connsiteX67" fmla="*/ 105301 w 158463"/>
                    <a:gd name="connsiteY67" fmla="*/ 16358 h 28625"/>
                    <a:gd name="connsiteX68" fmla="*/ 101212 w 158463"/>
                    <a:gd name="connsiteY68" fmla="*/ 16869 h 28625"/>
                    <a:gd name="connsiteX69" fmla="*/ 101212 w 158463"/>
                    <a:gd name="connsiteY69" fmla="*/ 17891 h 28625"/>
                    <a:gd name="connsiteX70" fmla="*/ 100701 w 158463"/>
                    <a:gd name="connsiteY70" fmla="*/ 23003 h 28625"/>
                    <a:gd name="connsiteX71" fmla="*/ 96612 w 158463"/>
                    <a:gd name="connsiteY71" fmla="*/ 25047 h 28625"/>
                    <a:gd name="connsiteX72" fmla="*/ 92522 w 158463"/>
                    <a:gd name="connsiteY72" fmla="*/ 23003 h 28625"/>
                    <a:gd name="connsiteX73" fmla="*/ 92011 w 158463"/>
                    <a:gd name="connsiteY73" fmla="*/ 17891 h 28625"/>
                    <a:gd name="connsiteX74" fmla="*/ 92011 w 158463"/>
                    <a:gd name="connsiteY74" fmla="*/ 16869 h 28625"/>
                    <a:gd name="connsiteX75" fmla="*/ 92522 w 158463"/>
                    <a:gd name="connsiteY75" fmla="*/ 11757 h 28625"/>
                    <a:gd name="connsiteX76" fmla="*/ 96612 w 158463"/>
                    <a:gd name="connsiteY76" fmla="*/ 9712 h 28625"/>
                    <a:gd name="connsiteX77" fmla="*/ 100701 w 158463"/>
                    <a:gd name="connsiteY77" fmla="*/ 11757 h 28625"/>
                    <a:gd name="connsiteX78" fmla="*/ 101212 w 158463"/>
                    <a:gd name="connsiteY78" fmla="*/ 16869 h 28625"/>
                    <a:gd name="connsiteX79" fmla="*/ 67475 w 158463"/>
                    <a:gd name="connsiteY79" fmla="*/ 26581 h 28625"/>
                    <a:gd name="connsiteX80" fmla="*/ 68497 w 158463"/>
                    <a:gd name="connsiteY80" fmla="*/ 27092 h 28625"/>
                    <a:gd name="connsiteX81" fmla="*/ 70542 w 158463"/>
                    <a:gd name="connsiteY81" fmla="*/ 27092 h 28625"/>
                    <a:gd name="connsiteX82" fmla="*/ 71564 w 158463"/>
                    <a:gd name="connsiteY82" fmla="*/ 26581 h 28625"/>
                    <a:gd name="connsiteX83" fmla="*/ 71564 w 158463"/>
                    <a:gd name="connsiteY83" fmla="*/ 13802 h 28625"/>
                    <a:gd name="connsiteX84" fmla="*/ 76165 w 158463"/>
                    <a:gd name="connsiteY84" fmla="*/ 9201 h 28625"/>
                    <a:gd name="connsiteX85" fmla="*/ 80765 w 158463"/>
                    <a:gd name="connsiteY85" fmla="*/ 14313 h 28625"/>
                    <a:gd name="connsiteX86" fmla="*/ 80765 w 158463"/>
                    <a:gd name="connsiteY86" fmla="*/ 26581 h 28625"/>
                    <a:gd name="connsiteX87" fmla="*/ 81787 w 158463"/>
                    <a:gd name="connsiteY87" fmla="*/ 27092 h 28625"/>
                    <a:gd name="connsiteX88" fmla="*/ 83832 w 158463"/>
                    <a:gd name="connsiteY88" fmla="*/ 27092 h 28625"/>
                    <a:gd name="connsiteX89" fmla="*/ 84854 w 158463"/>
                    <a:gd name="connsiteY89" fmla="*/ 26581 h 28625"/>
                    <a:gd name="connsiteX90" fmla="*/ 84854 w 158463"/>
                    <a:gd name="connsiteY90" fmla="*/ 14824 h 28625"/>
                    <a:gd name="connsiteX91" fmla="*/ 77698 w 158463"/>
                    <a:gd name="connsiteY91" fmla="*/ 6645 h 28625"/>
                    <a:gd name="connsiteX92" fmla="*/ 71564 w 158463"/>
                    <a:gd name="connsiteY92" fmla="*/ 9201 h 28625"/>
                    <a:gd name="connsiteX93" fmla="*/ 71564 w 158463"/>
                    <a:gd name="connsiteY93" fmla="*/ 9201 h 28625"/>
                    <a:gd name="connsiteX94" fmla="*/ 71564 w 158463"/>
                    <a:gd name="connsiteY94" fmla="*/ 7668 h 28625"/>
                    <a:gd name="connsiteX95" fmla="*/ 70542 w 158463"/>
                    <a:gd name="connsiteY95" fmla="*/ 7156 h 28625"/>
                    <a:gd name="connsiteX96" fmla="*/ 69008 w 158463"/>
                    <a:gd name="connsiteY96" fmla="*/ 7156 h 28625"/>
                    <a:gd name="connsiteX97" fmla="*/ 68497 w 158463"/>
                    <a:gd name="connsiteY97" fmla="*/ 7668 h 28625"/>
                    <a:gd name="connsiteX98" fmla="*/ 68497 w 158463"/>
                    <a:gd name="connsiteY98" fmla="*/ 26581 h 28625"/>
                    <a:gd name="connsiteX99" fmla="*/ 45494 w 158463"/>
                    <a:gd name="connsiteY99" fmla="*/ 26581 h 28625"/>
                    <a:gd name="connsiteX100" fmla="*/ 46517 w 158463"/>
                    <a:gd name="connsiteY100" fmla="*/ 27092 h 28625"/>
                    <a:gd name="connsiteX101" fmla="*/ 48561 w 158463"/>
                    <a:gd name="connsiteY101" fmla="*/ 27092 h 28625"/>
                    <a:gd name="connsiteX102" fmla="*/ 49584 w 158463"/>
                    <a:gd name="connsiteY102" fmla="*/ 26581 h 28625"/>
                    <a:gd name="connsiteX103" fmla="*/ 49584 w 158463"/>
                    <a:gd name="connsiteY103" fmla="*/ 13802 h 28625"/>
                    <a:gd name="connsiteX104" fmla="*/ 54184 w 158463"/>
                    <a:gd name="connsiteY104" fmla="*/ 9201 h 28625"/>
                    <a:gd name="connsiteX105" fmla="*/ 58785 w 158463"/>
                    <a:gd name="connsiteY105" fmla="*/ 14313 h 28625"/>
                    <a:gd name="connsiteX106" fmla="*/ 58785 w 158463"/>
                    <a:gd name="connsiteY106" fmla="*/ 26581 h 28625"/>
                    <a:gd name="connsiteX107" fmla="*/ 59807 w 158463"/>
                    <a:gd name="connsiteY107" fmla="*/ 27092 h 28625"/>
                    <a:gd name="connsiteX108" fmla="*/ 61852 w 158463"/>
                    <a:gd name="connsiteY108" fmla="*/ 27092 h 28625"/>
                    <a:gd name="connsiteX109" fmla="*/ 62874 w 158463"/>
                    <a:gd name="connsiteY109" fmla="*/ 26581 h 28625"/>
                    <a:gd name="connsiteX110" fmla="*/ 62874 w 158463"/>
                    <a:gd name="connsiteY110" fmla="*/ 14824 h 28625"/>
                    <a:gd name="connsiteX111" fmla="*/ 55718 w 158463"/>
                    <a:gd name="connsiteY111" fmla="*/ 6645 h 28625"/>
                    <a:gd name="connsiteX112" fmla="*/ 49584 w 158463"/>
                    <a:gd name="connsiteY112" fmla="*/ 9201 h 28625"/>
                    <a:gd name="connsiteX113" fmla="*/ 49584 w 158463"/>
                    <a:gd name="connsiteY113" fmla="*/ 9201 h 28625"/>
                    <a:gd name="connsiteX114" fmla="*/ 49584 w 158463"/>
                    <a:gd name="connsiteY114" fmla="*/ 7668 h 28625"/>
                    <a:gd name="connsiteX115" fmla="*/ 48561 w 158463"/>
                    <a:gd name="connsiteY115" fmla="*/ 7156 h 28625"/>
                    <a:gd name="connsiteX116" fmla="*/ 47028 w 158463"/>
                    <a:gd name="connsiteY116" fmla="*/ 7156 h 28625"/>
                    <a:gd name="connsiteX117" fmla="*/ 46517 w 158463"/>
                    <a:gd name="connsiteY117" fmla="*/ 7668 h 28625"/>
                    <a:gd name="connsiteX118" fmla="*/ 46517 w 158463"/>
                    <a:gd name="connsiteY118" fmla="*/ 26581 h 28625"/>
                    <a:gd name="connsiteX119" fmla="*/ 36293 w 158463"/>
                    <a:gd name="connsiteY119" fmla="*/ 20958 h 28625"/>
                    <a:gd name="connsiteX120" fmla="*/ 32204 w 158463"/>
                    <a:gd name="connsiteY120" fmla="*/ 24536 h 28625"/>
                    <a:gd name="connsiteX121" fmla="*/ 30670 w 158463"/>
                    <a:gd name="connsiteY121" fmla="*/ 24536 h 28625"/>
                    <a:gd name="connsiteX122" fmla="*/ 27603 w 158463"/>
                    <a:gd name="connsiteY122" fmla="*/ 21469 h 28625"/>
                    <a:gd name="connsiteX123" fmla="*/ 27603 w 158463"/>
                    <a:gd name="connsiteY123" fmla="*/ 20958 h 28625"/>
                    <a:gd name="connsiteX124" fmla="*/ 31693 w 158463"/>
                    <a:gd name="connsiteY124" fmla="*/ 17891 h 28625"/>
                    <a:gd name="connsiteX125" fmla="*/ 33737 w 158463"/>
                    <a:gd name="connsiteY125" fmla="*/ 17891 h 28625"/>
                    <a:gd name="connsiteX126" fmla="*/ 35782 w 158463"/>
                    <a:gd name="connsiteY126" fmla="*/ 17891 h 28625"/>
                    <a:gd name="connsiteX127" fmla="*/ 35782 w 158463"/>
                    <a:gd name="connsiteY127" fmla="*/ 20958 h 28625"/>
                    <a:gd name="connsiteX128" fmla="*/ 37316 w 158463"/>
                    <a:gd name="connsiteY128" fmla="*/ 27092 h 28625"/>
                    <a:gd name="connsiteX129" fmla="*/ 38338 w 158463"/>
                    <a:gd name="connsiteY129" fmla="*/ 27603 h 28625"/>
                    <a:gd name="connsiteX130" fmla="*/ 39871 w 158463"/>
                    <a:gd name="connsiteY130" fmla="*/ 27603 h 28625"/>
                    <a:gd name="connsiteX131" fmla="*/ 40383 w 158463"/>
                    <a:gd name="connsiteY131" fmla="*/ 27092 h 28625"/>
                    <a:gd name="connsiteX132" fmla="*/ 40383 w 158463"/>
                    <a:gd name="connsiteY132" fmla="*/ 13802 h 28625"/>
                    <a:gd name="connsiteX133" fmla="*/ 32715 w 158463"/>
                    <a:gd name="connsiteY133" fmla="*/ 6645 h 28625"/>
                    <a:gd name="connsiteX134" fmla="*/ 26581 w 158463"/>
                    <a:gd name="connsiteY134" fmla="*/ 7668 h 28625"/>
                    <a:gd name="connsiteX135" fmla="*/ 26070 w 158463"/>
                    <a:gd name="connsiteY135" fmla="*/ 8179 h 28625"/>
                    <a:gd name="connsiteX136" fmla="*/ 26070 w 158463"/>
                    <a:gd name="connsiteY136" fmla="*/ 9201 h 28625"/>
                    <a:gd name="connsiteX137" fmla="*/ 26070 w 158463"/>
                    <a:gd name="connsiteY137" fmla="*/ 10223 h 28625"/>
                    <a:gd name="connsiteX138" fmla="*/ 26581 w 158463"/>
                    <a:gd name="connsiteY138" fmla="*/ 10735 h 28625"/>
                    <a:gd name="connsiteX139" fmla="*/ 27603 w 158463"/>
                    <a:gd name="connsiteY139" fmla="*/ 10735 h 28625"/>
                    <a:gd name="connsiteX140" fmla="*/ 32204 w 158463"/>
                    <a:gd name="connsiteY140" fmla="*/ 10223 h 28625"/>
                    <a:gd name="connsiteX141" fmla="*/ 36293 w 158463"/>
                    <a:gd name="connsiteY141" fmla="*/ 13802 h 28625"/>
                    <a:gd name="connsiteX142" fmla="*/ 36293 w 158463"/>
                    <a:gd name="connsiteY142" fmla="*/ 15335 h 28625"/>
                    <a:gd name="connsiteX143" fmla="*/ 33737 w 158463"/>
                    <a:gd name="connsiteY143" fmla="*/ 15335 h 28625"/>
                    <a:gd name="connsiteX144" fmla="*/ 32715 w 158463"/>
                    <a:gd name="connsiteY144" fmla="*/ 15335 h 28625"/>
                    <a:gd name="connsiteX145" fmla="*/ 26070 w 158463"/>
                    <a:gd name="connsiteY145" fmla="*/ 16869 h 28625"/>
                    <a:gd name="connsiteX146" fmla="*/ 24025 w 158463"/>
                    <a:gd name="connsiteY146" fmla="*/ 21981 h 28625"/>
                    <a:gd name="connsiteX147" fmla="*/ 24025 w 158463"/>
                    <a:gd name="connsiteY147" fmla="*/ 22492 h 28625"/>
                    <a:gd name="connsiteX148" fmla="*/ 30159 w 158463"/>
                    <a:gd name="connsiteY148" fmla="*/ 28626 h 28625"/>
                    <a:gd name="connsiteX149" fmla="*/ 31693 w 158463"/>
                    <a:gd name="connsiteY149" fmla="*/ 28626 h 28625"/>
                    <a:gd name="connsiteX150" fmla="*/ 36804 w 158463"/>
                    <a:gd name="connsiteY150" fmla="*/ 26581 h 28625"/>
                    <a:gd name="connsiteX151" fmla="*/ 36804 w 158463"/>
                    <a:gd name="connsiteY151" fmla="*/ 26581 h 28625"/>
                    <a:gd name="connsiteX152" fmla="*/ 37316 w 158463"/>
                    <a:gd name="connsiteY152" fmla="*/ 27092 h 28625"/>
                    <a:gd name="connsiteX153" fmla="*/ 19936 w 158463"/>
                    <a:gd name="connsiteY153" fmla="*/ 1022 h 28625"/>
                    <a:gd name="connsiteX154" fmla="*/ 18913 w 158463"/>
                    <a:gd name="connsiteY154" fmla="*/ 0 h 28625"/>
                    <a:gd name="connsiteX155" fmla="*/ 16869 w 158463"/>
                    <a:gd name="connsiteY155" fmla="*/ 0 h 28625"/>
                    <a:gd name="connsiteX156" fmla="*/ 15846 w 158463"/>
                    <a:gd name="connsiteY156" fmla="*/ 1022 h 28625"/>
                    <a:gd name="connsiteX157" fmla="*/ 15846 w 158463"/>
                    <a:gd name="connsiteY157" fmla="*/ 11757 h 28625"/>
                    <a:gd name="connsiteX158" fmla="*/ 4089 w 158463"/>
                    <a:gd name="connsiteY158" fmla="*/ 11757 h 28625"/>
                    <a:gd name="connsiteX159" fmla="*/ 4089 w 158463"/>
                    <a:gd name="connsiteY159" fmla="*/ 1022 h 28625"/>
                    <a:gd name="connsiteX160" fmla="*/ 3067 w 158463"/>
                    <a:gd name="connsiteY160" fmla="*/ 0 h 28625"/>
                    <a:gd name="connsiteX161" fmla="*/ 1022 w 158463"/>
                    <a:gd name="connsiteY161" fmla="*/ 0 h 28625"/>
                    <a:gd name="connsiteX162" fmla="*/ 0 w 158463"/>
                    <a:gd name="connsiteY162" fmla="*/ 1022 h 28625"/>
                    <a:gd name="connsiteX163" fmla="*/ 0 w 158463"/>
                    <a:gd name="connsiteY163" fmla="*/ 26581 h 28625"/>
                    <a:gd name="connsiteX164" fmla="*/ 1022 w 158463"/>
                    <a:gd name="connsiteY164" fmla="*/ 27603 h 28625"/>
                    <a:gd name="connsiteX165" fmla="*/ 3067 w 158463"/>
                    <a:gd name="connsiteY165" fmla="*/ 27603 h 28625"/>
                    <a:gd name="connsiteX166" fmla="*/ 4089 w 158463"/>
                    <a:gd name="connsiteY166" fmla="*/ 26581 h 28625"/>
                    <a:gd name="connsiteX167" fmla="*/ 4089 w 158463"/>
                    <a:gd name="connsiteY167" fmla="*/ 15335 h 28625"/>
                    <a:gd name="connsiteX168" fmla="*/ 15846 w 158463"/>
                    <a:gd name="connsiteY168" fmla="*/ 15335 h 28625"/>
                    <a:gd name="connsiteX169" fmla="*/ 15846 w 158463"/>
                    <a:gd name="connsiteY169" fmla="*/ 26581 h 28625"/>
                    <a:gd name="connsiteX170" fmla="*/ 16869 w 158463"/>
                    <a:gd name="connsiteY170" fmla="*/ 27603 h 28625"/>
                    <a:gd name="connsiteX171" fmla="*/ 19425 w 158463"/>
                    <a:gd name="connsiteY171" fmla="*/ 27603 h 28625"/>
                    <a:gd name="connsiteX172" fmla="*/ 20447 w 158463"/>
                    <a:gd name="connsiteY172" fmla="*/ 26581 h 28625"/>
                    <a:gd name="connsiteX173" fmla="*/ 20447 w 158463"/>
                    <a:gd name="connsiteY173" fmla="*/ 1022 h 28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</a:cxnLst>
                  <a:rect l="l" t="t" r="r" b="b"/>
                  <a:pathLst>
                    <a:path w="158463" h="28625">
                      <a:moveTo>
                        <a:pt x="150796" y="7668"/>
                      </a:moveTo>
                      <a:cubicBezTo>
                        <a:pt x="150796" y="7156"/>
                        <a:pt x="150285" y="7156"/>
                        <a:pt x="149773" y="7156"/>
                      </a:cubicBezTo>
                      <a:lnTo>
                        <a:pt x="148240" y="7156"/>
                      </a:lnTo>
                      <a:cubicBezTo>
                        <a:pt x="147729" y="7156"/>
                        <a:pt x="147729" y="7156"/>
                        <a:pt x="147729" y="7668"/>
                      </a:cubicBezTo>
                      <a:lnTo>
                        <a:pt x="147729" y="27092"/>
                      </a:lnTo>
                      <a:cubicBezTo>
                        <a:pt x="147729" y="27603"/>
                        <a:pt x="148240" y="27603"/>
                        <a:pt x="148751" y="27603"/>
                      </a:cubicBezTo>
                      <a:lnTo>
                        <a:pt x="150796" y="27603"/>
                      </a:lnTo>
                      <a:cubicBezTo>
                        <a:pt x="151307" y="27603"/>
                        <a:pt x="151818" y="27603"/>
                        <a:pt x="151818" y="27092"/>
                      </a:cubicBezTo>
                      <a:lnTo>
                        <a:pt x="151818" y="15335"/>
                      </a:lnTo>
                      <a:cubicBezTo>
                        <a:pt x="151818" y="13802"/>
                        <a:pt x="151818" y="12268"/>
                        <a:pt x="152840" y="11757"/>
                      </a:cubicBezTo>
                      <a:cubicBezTo>
                        <a:pt x="153351" y="10735"/>
                        <a:pt x="154374" y="10735"/>
                        <a:pt x="156418" y="10735"/>
                      </a:cubicBezTo>
                      <a:lnTo>
                        <a:pt x="157441" y="10735"/>
                      </a:lnTo>
                      <a:cubicBezTo>
                        <a:pt x="157952" y="10735"/>
                        <a:pt x="158463" y="10735"/>
                        <a:pt x="158463" y="10223"/>
                      </a:cubicBezTo>
                      <a:lnTo>
                        <a:pt x="158463" y="8179"/>
                      </a:lnTo>
                      <a:cubicBezTo>
                        <a:pt x="158463" y="7668"/>
                        <a:pt x="158463" y="7668"/>
                        <a:pt x="157441" y="7668"/>
                      </a:cubicBezTo>
                      <a:lnTo>
                        <a:pt x="156418" y="7668"/>
                      </a:lnTo>
                      <a:cubicBezTo>
                        <a:pt x="153863" y="7668"/>
                        <a:pt x="152329" y="8690"/>
                        <a:pt x="151307" y="10223"/>
                      </a:cubicBezTo>
                      <a:lnTo>
                        <a:pt x="151307" y="10223"/>
                      </a:lnTo>
                      <a:lnTo>
                        <a:pt x="150796" y="7668"/>
                      </a:lnTo>
                      <a:close/>
                      <a:moveTo>
                        <a:pt x="131371" y="15846"/>
                      </a:moveTo>
                      <a:cubicBezTo>
                        <a:pt x="131371" y="11757"/>
                        <a:pt x="131882" y="9712"/>
                        <a:pt x="135460" y="9712"/>
                      </a:cubicBezTo>
                      <a:cubicBezTo>
                        <a:pt x="138527" y="9712"/>
                        <a:pt x="139550" y="11246"/>
                        <a:pt x="139550" y="15335"/>
                      </a:cubicBezTo>
                      <a:cubicBezTo>
                        <a:pt x="139550" y="15846"/>
                        <a:pt x="139550" y="15846"/>
                        <a:pt x="139039" y="15846"/>
                      </a:cubicBezTo>
                      <a:lnTo>
                        <a:pt x="131371" y="15846"/>
                      </a:lnTo>
                      <a:close/>
                      <a:moveTo>
                        <a:pt x="143639" y="14824"/>
                      </a:moveTo>
                      <a:cubicBezTo>
                        <a:pt x="143639" y="8690"/>
                        <a:pt x="141083" y="6134"/>
                        <a:pt x="135972" y="6134"/>
                      </a:cubicBezTo>
                      <a:cubicBezTo>
                        <a:pt x="129838" y="6134"/>
                        <a:pt x="127793" y="9712"/>
                        <a:pt x="127793" y="16358"/>
                      </a:cubicBezTo>
                      <a:lnTo>
                        <a:pt x="127793" y="17891"/>
                      </a:lnTo>
                      <a:cubicBezTo>
                        <a:pt x="127793" y="25047"/>
                        <a:pt x="129838" y="28115"/>
                        <a:pt x="136483" y="28115"/>
                      </a:cubicBezTo>
                      <a:cubicBezTo>
                        <a:pt x="138527" y="28115"/>
                        <a:pt x="141083" y="27603"/>
                        <a:pt x="142617" y="27092"/>
                      </a:cubicBezTo>
                      <a:cubicBezTo>
                        <a:pt x="143128" y="27092"/>
                        <a:pt x="143128" y="26581"/>
                        <a:pt x="143128" y="26581"/>
                      </a:cubicBezTo>
                      <a:cubicBezTo>
                        <a:pt x="143128" y="26581"/>
                        <a:pt x="143128" y="26070"/>
                        <a:pt x="143128" y="25559"/>
                      </a:cubicBezTo>
                      <a:lnTo>
                        <a:pt x="142617" y="24536"/>
                      </a:lnTo>
                      <a:cubicBezTo>
                        <a:pt x="142617" y="24025"/>
                        <a:pt x="142106" y="24025"/>
                        <a:pt x="142106" y="24025"/>
                      </a:cubicBezTo>
                      <a:cubicBezTo>
                        <a:pt x="142106" y="24025"/>
                        <a:pt x="141595" y="24025"/>
                        <a:pt x="141595" y="24025"/>
                      </a:cubicBezTo>
                      <a:cubicBezTo>
                        <a:pt x="140572" y="24536"/>
                        <a:pt x="138527" y="25047"/>
                        <a:pt x="136994" y="25047"/>
                      </a:cubicBezTo>
                      <a:cubicBezTo>
                        <a:pt x="132905" y="25047"/>
                        <a:pt x="131882" y="23514"/>
                        <a:pt x="131882" y="19425"/>
                      </a:cubicBezTo>
                      <a:lnTo>
                        <a:pt x="142617" y="19425"/>
                      </a:lnTo>
                      <a:cubicBezTo>
                        <a:pt x="143639" y="19425"/>
                        <a:pt x="143639" y="18913"/>
                        <a:pt x="143639" y="18402"/>
                      </a:cubicBezTo>
                      <a:lnTo>
                        <a:pt x="143639" y="14824"/>
                      </a:lnTo>
                      <a:close/>
                      <a:moveTo>
                        <a:pt x="108368" y="6645"/>
                      </a:moveTo>
                      <a:cubicBezTo>
                        <a:pt x="107857" y="6645"/>
                        <a:pt x="107857" y="6645"/>
                        <a:pt x="107857" y="7156"/>
                      </a:cubicBezTo>
                      <a:cubicBezTo>
                        <a:pt x="107857" y="7668"/>
                        <a:pt x="107857" y="8179"/>
                        <a:pt x="107857" y="8179"/>
                      </a:cubicBezTo>
                      <a:cubicBezTo>
                        <a:pt x="109391" y="13802"/>
                        <a:pt x="111435" y="20447"/>
                        <a:pt x="113480" y="25559"/>
                      </a:cubicBezTo>
                      <a:cubicBezTo>
                        <a:pt x="113991" y="26581"/>
                        <a:pt x="114503" y="27092"/>
                        <a:pt x="115525" y="27092"/>
                      </a:cubicBezTo>
                      <a:lnTo>
                        <a:pt x="117569" y="27092"/>
                      </a:lnTo>
                      <a:cubicBezTo>
                        <a:pt x="118592" y="27092"/>
                        <a:pt x="119103" y="26581"/>
                        <a:pt x="119614" y="25559"/>
                      </a:cubicBezTo>
                      <a:cubicBezTo>
                        <a:pt x="121659" y="20447"/>
                        <a:pt x="123704" y="13802"/>
                        <a:pt x="125237" y="8179"/>
                      </a:cubicBezTo>
                      <a:cubicBezTo>
                        <a:pt x="125237" y="7668"/>
                        <a:pt x="125748" y="7156"/>
                        <a:pt x="125748" y="7156"/>
                      </a:cubicBezTo>
                      <a:cubicBezTo>
                        <a:pt x="125748" y="6645"/>
                        <a:pt x="125748" y="6645"/>
                        <a:pt x="125237" y="6645"/>
                      </a:cubicBezTo>
                      <a:lnTo>
                        <a:pt x="122681" y="6645"/>
                      </a:lnTo>
                      <a:cubicBezTo>
                        <a:pt x="122170" y="6645"/>
                        <a:pt x="121659" y="6645"/>
                        <a:pt x="121659" y="7156"/>
                      </a:cubicBezTo>
                      <a:cubicBezTo>
                        <a:pt x="120125" y="12268"/>
                        <a:pt x="118592" y="17891"/>
                        <a:pt x="117058" y="23514"/>
                      </a:cubicBezTo>
                      <a:lnTo>
                        <a:pt x="116547" y="23514"/>
                      </a:lnTo>
                      <a:cubicBezTo>
                        <a:pt x="114503" y="17891"/>
                        <a:pt x="112969" y="12779"/>
                        <a:pt x="111947" y="7156"/>
                      </a:cubicBezTo>
                      <a:cubicBezTo>
                        <a:pt x="111947" y="6645"/>
                        <a:pt x="111435" y="6645"/>
                        <a:pt x="110924" y="6645"/>
                      </a:cubicBezTo>
                      <a:lnTo>
                        <a:pt x="108368" y="6645"/>
                      </a:lnTo>
                      <a:close/>
                      <a:moveTo>
                        <a:pt x="105301" y="16358"/>
                      </a:moveTo>
                      <a:cubicBezTo>
                        <a:pt x="105301" y="12779"/>
                        <a:pt x="104790" y="10223"/>
                        <a:pt x="103257" y="8690"/>
                      </a:cubicBezTo>
                      <a:cubicBezTo>
                        <a:pt x="101723" y="7156"/>
                        <a:pt x="99678" y="6645"/>
                        <a:pt x="96612" y="6645"/>
                      </a:cubicBezTo>
                      <a:cubicBezTo>
                        <a:pt x="94056" y="6645"/>
                        <a:pt x="91500" y="7156"/>
                        <a:pt x="89966" y="8690"/>
                      </a:cubicBezTo>
                      <a:cubicBezTo>
                        <a:pt x="88433" y="10223"/>
                        <a:pt x="87922" y="12779"/>
                        <a:pt x="87922" y="16358"/>
                      </a:cubicBezTo>
                      <a:lnTo>
                        <a:pt x="87922" y="17891"/>
                      </a:lnTo>
                      <a:cubicBezTo>
                        <a:pt x="87922" y="21469"/>
                        <a:pt x="88433" y="24025"/>
                        <a:pt x="89966" y="25559"/>
                      </a:cubicBezTo>
                      <a:cubicBezTo>
                        <a:pt x="91500" y="27092"/>
                        <a:pt x="93544" y="27603"/>
                        <a:pt x="96612" y="27603"/>
                      </a:cubicBezTo>
                      <a:cubicBezTo>
                        <a:pt x="99167" y="27603"/>
                        <a:pt x="101723" y="27092"/>
                        <a:pt x="103257" y="25559"/>
                      </a:cubicBezTo>
                      <a:cubicBezTo>
                        <a:pt x="104790" y="24025"/>
                        <a:pt x="105301" y="21469"/>
                        <a:pt x="105301" y="17891"/>
                      </a:cubicBezTo>
                      <a:lnTo>
                        <a:pt x="105301" y="16358"/>
                      </a:lnTo>
                      <a:close/>
                      <a:moveTo>
                        <a:pt x="101212" y="16869"/>
                      </a:moveTo>
                      <a:lnTo>
                        <a:pt x="101212" y="17891"/>
                      </a:lnTo>
                      <a:cubicBezTo>
                        <a:pt x="101212" y="20447"/>
                        <a:pt x="101212" y="21981"/>
                        <a:pt x="100701" y="23003"/>
                      </a:cubicBezTo>
                      <a:cubicBezTo>
                        <a:pt x="100190" y="24536"/>
                        <a:pt x="98656" y="25047"/>
                        <a:pt x="96612" y="25047"/>
                      </a:cubicBezTo>
                      <a:cubicBezTo>
                        <a:pt x="94567" y="25047"/>
                        <a:pt x="93544" y="24536"/>
                        <a:pt x="92522" y="23003"/>
                      </a:cubicBezTo>
                      <a:cubicBezTo>
                        <a:pt x="92011" y="21981"/>
                        <a:pt x="92011" y="20447"/>
                        <a:pt x="92011" y="17891"/>
                      </a:cubicBezTo>
                      <a:lnTo>
                        <a:pt x="92011" y="16869"/>
                      </a:lnTo>
                      <a:cubicBezTo>
                        <a:pt x="92011" y="14313"/>
                        <a:pt x="92011" y="12779"/>
                        <a:pt x="92522" y="11757"/>
                      </a:cubicBezTo>
                      <a:cubicBezTo>
                        <a:pt x="93033" y="10223"/>
                        <a:pt x="94567" y="9712"/>
                        <a:pt x="96612" y="9712"/>
                      </a:cubicBezTo>
                      <a:cubicBezTo>
                        <a:pt x="98656" y="9712"/>
                        <a:pt x="99678" y="10223"/>
                        <a:pt x="100701" y="11757"/>
                      </a:cubicBezTo>
                      <a:cubicBezTo>
                        <a:pt x="100701" y="12779"/>
                        <a:pt x="101212" y="13802"/>
                        <a:pt x="101212" y="16869"/>
                      </a:cubicBezTo>
                      <a:moveTo>
                        <a:pt x="67475" y="26581"/>
                      </a:moveTo>
                      <a:cubicBezTo>
                        <a:pt x="67475" y="27092"/>
                        <a:pt x="67475" y="27092"/>
                        <a:pt x="68497" y="27092"/>
                      </a:cubicBezTo>
                      <a:lnTo>
                        <a:pt x="70542" y="27092"/>
                      </a:lnTo>
                      <a:cubicBezTo>
                        <a:pt x="71053" y="27092"/>
                        <a:pt x="71564" y="27092"/>
                        <a:pt x="71564" y="26581"/>
                      </a:cubicBezTo>
                      <a:lnTo>
                        <a:pt x="71564" y="13802"/>
                      </a:lnTo>
                      <a:cubicBezTo>
                        <a:pt x="71564" y="10223"/>
                        <a:pt x="73098" y="9201"/>
                        <a:pt x="76165" y="9201"/>
                      </a:cubicBezTo>
                      <a:cubicBezTo>
                        <a:pt x="79232" y="9201"/>
                        <a:pt x="80765" y="10735"/>
                        <a:pt x="80765" y="14313"/>
                      </a:cubicBezTo>
                      <a:lnTo>
                        <a:pt x="80765" y="26581"/>
                      </a:lnTo>
                      <a:cubicBezTo>
                        <a:pt x="80765" y="27092"/>
                        <a:pt x="80765" y="27092"/>
                        <a:pt x="81787" y="27092"/>
                      </a:cubicBezTo>
                      <a:lnTo>
                        <a:pt x="83832" y="27092"/>
                      </a:lnTo>
                      <a:cubicBezTo>
                        <a:pt x="84343" y="27092"/>
                        <a:pt x="84854" y="27092"/>
                        <a:pt x="84854" y="26581"/>
                      </a:cubicBezTo>
                      <a:lnTo>
                        <a:pt x="84854" y="14824"/>
                      </a:lnTo>
                      <a:cubicBezTo>
                        <a:pt x="84854" y="8690"/>
                        <a:pt x="82299" y="6645"/>
                        <a:pt x="77698" y="6645"/>
                      </a:cubicBezTo>
                      <a:cubicBezTo>
                        <a:pt x="74631" y="6645"/>
                        <a:pt x="73098" y="7668"/>
                        <a:pt x="71564" y="9201"/>
                      </a:cubicBezTo>
                      <a:lnTo>
                        <a:pt x="71564" y="9201"/>
                      </a:lnTo>
                      <a:lnTo>
                        <a:pt x="71564" y="7668"/>
                      </a:lnTo>
                      <a:cubicBezTo>
                        <a:pt x="71564" y="7156"/>
                        <a:pt x="71053" y="7156"/>
                        <a:pt x="70542" y="7156"/>
                      </a:cubicBezTo>
                      <a:lnTo>
                        <a:pt x="69008" y="7156"/>
                      </a:lnTo>
                      <a:cubicBezTo>
                        <a:pt x="68497" y="7156"/>
                        <a:pt x="68497" y="7156"/>
                        <a:pt x="68497" y="7668"/>
                      </a:cubicBezTo>
                      <a:lnTo>
                        <a:pt x="68497" y="26581"/>
                      </a:lnTo>
                      <a:close/>
                      <a:moveTo>
                        <a:pt x="45494" y="26581"/>
                      </a:moveTo>
                      <a:cubicBezTo>
                        <a:pt x="45494" y="27092"/>
                        <a:pt x="45494" y="27092"/>
                        <a:pt x="46517" y="27092"/>
                      </a:cubicBezTo>
                      <a:lnTo>
                        <a:pt x="48561" y="27092"/>
                      </a:lnTo>
                      <a:cubicBezTo>
                        <a:pt x="49072" y="27092"/>
                        <a:pt x="49584" y="27092"/>
                        <a:pt x="49584" y="26581"/>
                      </a:cubicBezTo>
                      <a:lnTo>
                        <a:pt x="49584" y="13802"/>
                      </a:lnTo>
                      <a:cubicBezTo>
                        <a:pt x="49584" y="10223"/>
                        <a:pt x="51117" y="9201"/>
                        <a:pt x="54184" y="9201"/>
                      </a:cubicBezTo>
                      <a:cubicBezTo>
                        <a:pt x="57251" y="9201"/>
                        <a:pt x="58785" y="10735"/>
                        <a:pt x="58785" y="14313"/>
                      </a:cubicBezTo>
                      <a:lnTo>
                        <a:pt x="58785" y="26581"/>
                      </a:lnTo>
                      <a:cubicBezTo>
                        <a:pt x="58785" y="27092"/>
                        <a:pt x="59296" y="27092"/>
                        <a:pt x="59807" y="27092"/>
                      </a:cubicBezTo>
                      <a:lnTo>
                        <a:pt x="61852" y="27092"/>
                      </a:lnTo>
                      <a:cubicBezTo>
                        <a:pt x="62363" y="27092"/>
                        <a:pt x="62874" y="27092"/>
                        <a:pt x="62874" y="26581"/>
                      </a:cubicBezTo>
                      <a:lnTo>
                        <a:pt x="62874" y="14824"/>
                      </a:lnTo>
                      <a:cubicBezTo>
                        <a:pt x="62874" y="8690"/>
                        <a:pt x="60318" y="6645"/>
                        <a:pt x="55718" y="6645"/>
                      </a:cubicBezTo>
                      <a:cubicBezTo>
                        <a:pt x="52651" y="6645"/>
                        <a:pt x="51117" y="7668"/>
                        <a:pt x="49584" y="9201"/>
                      </a:cubicBezTo>
                      <a:lnTo>
                        <a:pt x="49584" y="9201"/>
                      </a:lnTo>
                      <a:lnTo>
                        <a:pt x="49584" y="7668"/>
                      </a:lnTo>
                      <a:cubicBezTo>
                        <a:pt x="49584" y="7156"/>
                        <a:pt x="49072" y="7156"/>
                        <a:pt x="48561" y="7156"/>
                      </a:cubicBezTo>
                      <a:lnTo>
                        <a:pt x="47028" y="7156"/>
                      </a:lnTo>
                      <a:cubicBezTo>
                        <a:pt x="46517" y="7156"/>
                        <a:pt x="46517" y="7156"/>
                        <a:pt x="46517" y="7668"/>
                      </a:cubicBezTo>
                      <a:lnTo>
                        <a:pt x="46517" y="26581"/>
                      </a:lnTo>
                      <a:close/>
                      <a:moveTo>
                        <a:pt x="36293" y="20958"/>
                      </a:moveTo>
                      <a:cubicBezTo>
                        <a:pt x="36293" y="23514"/>
                        <a:pt x="35271" y="24536"/>
                        <a:pt x="32204" y="24536"/>
                      </a:cubicBezTo>
                      <a:lnTo>
                        <a:pt x="30670" y="24536"/>
                      </a:lnTo>
                      <a:cubicBezTo>
                        <a:pt x="28626" y="24536"/>
                        <a:pt x="27603" y="23514"/>
                        <a:pt x="27603" y="21469"/>
                      </a:cubicBezTo>
                      <a:lnTo>
                        <a:pt x="27603" y="20958"/>
                      </a:lnTo>
                      <a:cubicBezTo>
                        <a:pt x="27603" y="18402"/>
                        <a:pt x="28626" y="17891"/>
                        <a:pt x="31693" y="17891"/>
                      </a:cubicBezTo>
                      <a:lnTo>
                        <a:pt x="33737" y="17891"/>
                      </a:lnTo>
                      <a:cubicBezTo>
                        <a:pt x="34249" y="17891"/>
                        <a:pt x="35271" y="17891"/>
                        <a:pt x="35782" y="17891"/>
                      </a:cubicBezTo>
                      <a:lnTo>
                        <a:pt x="35782" y="20958"/>
                      </a:lnTo>
                      <a:close/>
                      <a:moveTo>
                        <a:pt x="37316" y="27092"/>
                      </a:moveTo>
                      <a:cubicBezTo>
                        <a:pt x="37316" y="27603"/>
                        <a:pt x="37827" y="27603"/>
                        <a:pt x="38338" y="27603"/>
                      </a:cubicBezTo>
                      <a:lnTo>
                        <a:pt x="39871" y="27603"/>
                      </a:lnTo>
                      <a:cubicBezTo>
                        <a:pt x="40383" y="27603"/>
                        <a:pt x="40383" y="27603"/>
                        <a:pt x="40383" y="27092"/>
                      </a:cubicBezTo>
                      <a:lnTo>
                        <a:pt x="40383" y="13802"/>
                      </a:lnTo>
                      <a:cubicBezTo>
                        <a:pt x="40383" y="8690"/>
                        <a:pt x="37827" y="6645"/>
                        <a:pt x="32715" y="6645"/>
                      </a:cubicBezTo>
                      <a:cubicBezTo>
                        <a:pt x="30670" y="6645"/>
                        <a:pt x="28114" y="7156"/>
                        <a:pt x="26581" y="7668"/>
                      </a:cubicBezTo>
                      <a:cubicBezTo>
                        <a:pt x="26070" y="7668"/>
                        <a:pt x="26070" y="8179"/>
                        <a:pt x="26070" y="8179"/>
                      </a:cubicBezTo>
                      <a:cubicBezTo>
                        <a:pt x="26070" y="8179"/>
                        <a:pt x="26070" y="8690"/>
                        <a:pt x="26070" y="9201"/>
                      </a:cubicBezTo>
                      <a:lnTo>
                        <a:pt x="26070" y="10223"/>
                      </a:lnTo>
                      <a:cubicBezTo>
                        <a:pt x="26070" y="10735"/>
                        <a:pt x="26070" y="10735"/>
                        <a:pt x="26581" y="10735"/>
                      </a:cubicBezTo>
                      <a:cubicBezTo>
                        <a:pt x="26581" y="10735"/>
                        <a:pt x="27092" y="10735"/>
                        <a:pt x="27603" y="10735"/>
                      </a:cubicBezTo>
                      <a:cubicBezTo>
                        <a:pt x="29137" y="10223"/>
                        <a:pt x="30670" y="10223"/>
                        <a:pt x="32204" y="10223"/>
                      </a:cubicBezTo>
                      <a:cubicBezTo>
                        <a:pt x="35271" y="10223"/>
                        <a:pt x="36293" y="10735"/>
                        <a:pt x="36293" y="13802"/>
                      </a:cubicBezTo>
                      <a:lnTo>
                        <a:pt x="36293" y="15335"/>
                      </a:lnTo>
                      <a:cubicBezTo>
                        <a:pt x="35782" y="15335"/>
                        <a:pt x="34760" y="15335"/>
                        <a:pt x="33737" y="15335"/>
                      </a:cubicBezTo>
                      <a:lnTo>
                        <a:pt x="32715" y="15335"/>
                      </a:lnTo>
                      <a:cubicBezTo>
                        <a:pt x="29137" y="15335"/>
                        <a:pt x="27603" y="15846"/>
                        <a:pt x="26070" y="16869"/>
                      </a:cubicBezTo>
                      <a:cubicBezTo>
                        <a:pt x="24536" y="17891"/>
                        <a:pt x="24025" y="19425"/>
                        <a:pt x="24025" y="21981"/>
                      </a:cubicBezTo>
                      <a:lnTo>
                        <a:pt x="24025" y="22492"/>
                      </a:lnTo>
                      <a:cubicBezTo>
                        <a:pt x="24025" y="26070"/>
                        <a:pt x="26070" y="28626"/>
                        <a:pt x="30159" y="28626"/>
                      </a:cubicBezTo>
                      <a:lnTo>
                        <a:pt x="31693" y="28626"/>
                      </a:lnTo>
                      <a:cubicBezTo>
                        <a:pt x="34249" y="28626"/>
                        <a:pt x="36293" y="28115"/>
                        <a:pt x="36804" y="26581"/>
                      </a:cubicBezTo>
                      <a:lnTo>
                        <a:pt x="36804" y="26581"/>
                      </a:lnTo>
                      <a:lnTo>
                        <a:pt x="37316" y="27092"/>
                      </a:lnTo>
                      <a:close/>
                      <a:moveTo>
                        <a:pt x="19936" y="1022"/>
                      </a:moveTo>
                      <a:cubicBezTo>
                        <a:pt x="19936" y="511"/>
                        <a:pt x="19425" y="0"/>
                        <a:pt x="18913" y="0"/>
                      </a:cubicBezTo>
                      <a:lnTo>
                        <a:pt x="16869" y="0"/>
                      </a:lnTo>
                      <a:cubicBezTo>
                        <a:pt x="16358" y="0"/>
                        <a:pt x="15846" y="0"/>
                        <a:pt x="15846" y="1022"/>
                      </a:cubicBezTo>
                      <a:lnTo>
                        <a:pt x="15846" y="11757"/>
                      </a:lnTo>
                      <a:lnTo>
                        <a:pt x="4089" y="11757"/>
                      </a:lnTo>
                      <a:lnTo>
                        <a:pt x="4089" y="1022"/>
                      </a:lnTo>
                      <a:cubicBezTo>
                        <a:pt x="4089" y="511"/>
                        <a:pt x="3578" y="0"/>
                        <a:pt x="3067" y="0"/>
                      </a:cubicBezTo>
                      <a:lnTo>
                        <a:pt x="1022" y="0"/>
                      </a:lnTo>
                      <a:cubicBezTo>
                        <a:pt x="511" y="0"/>
                        <a:pt x="0" y="0"/>
                        <a:pt x="0" y="1022"/>
                      </a:cubicBezTo>
                      <a:lnTo>
                        <a:pt x="0" y="26581"/>
                      </a:lnTo>
                      <a:cubicBezTo>
                        <a:pt x="0" y="27092"/>
                        <a:pt x="0" y="27603"/>
                        <a:pt x="1022" y="27603"/>
                      </a:cubicBezTo>
                      <a:lnTo>
                        <a:pt x="3067" y="27603"/>
                      </a:lnTo>
                      <a:cubicBezTo>
                        <a:pt x="3578" y="27603"/>
                        <a:pt x="4089" y="27603"/>
                        <a:pt x="4089" y="26581"/>
                      </a:cubicBezTo>
                      <a:lnTo>
                        <a:pt x="4089" y="15335"/>
                      </a:lnTo>
                      <a:lnTo>
                        <a:pt x="15846" y="15335"/>
                      </a:lnTo>
                      <a:lnTo>
                        <a:pt x="15846" y="26581"/>
                      </a:lnTo>
                      <a:cubicBezTo>
                        <a:pt x="15846" y="27092"/>
                        <a:pt x="15846" y="27603"/>
                        <a:pt x="16869" y="27603"/>
                      </a:cubicBezTo>
                      <a:lnTo>
                        <a:pt x="19425" y="27603"/>
                      </a:lnTo>
                      <a:cubicBezTo>
                        <a:pt x="19936" y="27603"/>
                        <a:pt x="20447" y="27603"/>
                        <a:pt x="20447" y="26581"/>
                      </a:cubicBezTo>
                      <a:lnTo>
                        <a:pt x="20447" y="1022"/>
                      </a:lnTo>
                      <a:close/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  <p:sp>
              <p:nvSpPr>
                <p:cNvPr id="135" name="Freihandform: Form 134">
                  <a:extLst>
                    <a:ext uri="{FF2B5EF4-FFF2-40B4-BE49-F238E27FC236}">
                      <a16:creationId xmlns:a16="http://schemas.microsoft.com/office/drawing/2014/main" id="{0C6E4093-FD55-4781-B374-790D08E451B8}"/>
                    </a:ext>
                  </a:extLst>
                </p:cNvPr>
                <p:cNvSpPr/>
                <p:nvPr/>
              </p:nvSpPr>
              <p:spPr>
                <a:xfrm>
                  <a:off x="8720968" y="2269770"/>
                  <a:ext cx="208557" cy="33226"/>
                </a:xfrm>
                <a:custGeom>
                  <a:avLst/>
                  <a:gdLst>
                    <a:gd name="connsiteX0" fmla="*/ 191689 w 208557"/>
                    <a:gd name="connsiteY0" fmla="*/ 28626 h 33226"/>
                    <a:gd name="connsiteX1" fmla="*/ 192712 w 208557"/>
                    <a:gd name="connsiteY1" fmla="*/ 29648 h 33226"/>
                    <a:gd name="connsiteX2" fmla="*/ 194756 w 208557"/>
                    <a:gd name="connsiteY2" fmla="*/ 29648 h 33226"/>
                    <a:gd name="connsiteX3" fmla="*/ 195779 w 208557"/>
                    <a:gd name="connsiteY3" fmla="*/ 28626 h 33226"/>
                    <a:gd name="connsiteX4" fmla="*/ 195779 w 208557"/>
                    <a:gd name="connsiteY4" fmla="*/ 15846 h 33226"/>
                    <a:gd name="connsiteX5" fmla="*/ 199868 w 208557"/>
                    <a:gd name="connsiteY5" fmla="*/ 11246 h 33226"/>
                    <a:gd name="connsiteX6" fmla="*/ 204469 w 208557"/>
                    <a:gd name="connsiteY6" fmla="*/ 16357 h 33226"/>
                    <a:gd name="connsiteX7" fmla="*/ 204469 w 208557"/>
                    <a:gd name="connsiteY7" fmla="*/ 28626 h 33226"/>
                    <a:gd name="connsiteX8" fmla="*/ 205491 w 208557"/>
                    <a:gd name="connsiteY8" fmla="*/ 29648 h 33226"/>
                    <a:gd name="connsiteX9" fmla="*/ 207535 w 208557"/>
                    <a:gd name="connsiteY9" fmla="*/ 29648 h 33226"/>
                    <a:gd name="connsiteX10" fmla="*/ 208558 w 208557"/>
                    <a:gd name="connsiteY10" fmla="*/ 28626 h 33226"/>
                    <a:gd name="connsiteX11" fmla="*/ 208558 w 208557"/>
                    <a:gd name="connsiteY11" fmla="*/ 16869 h 33226"/>
                    <a:gd name="connsiteX12" fmla="*/ 201401 w 208557"/>
                    <a:gd name="connsiteY12" fmla="*/ 8690 h 33226"/>
                    <a:gd name="connsiteX13" fmla="*/ 195268 w 208557"/>
                    <a:gd name="connsiteY13" fmla="*/ 11246 h 33226"/>
                    <a:gd name="connsiteX14" fmla="*/ 195268 w 208557"/>
                    <a:gd name="connsiteY14" fmla="*/ 11246 h 33226"/>
                    <a:gd name="connsiteX15" fmla="*/ 195268 w 208557"/>
                    <a:gd name="connsiteY15" fmla="*/ 9712 h 33226"/>
                    <a:gd name="connsiteX16" fmla="*/ 194245 w 208557"/>
                    <a:gd name="connsiteY16" fmla="*/ 9201 h 33226"/>
                    <a:gd name="connsiteX17" fmla="*/ 192712 w 208557"/>
                    <a:gd name="connsiteY17" fmla="*/ 9201 h 33226"/>
                    <a:gd name="connsiteX18" fmla="*/ 192200 w 208557"/>
                    <a:gd name="connsiteY18" fmla="*/ 9712 h 33226"/>
                    <a:gd name="connsiteX19" fmla="*/ 192200 w 208557"/>
                    <a:gd name="connsiteY19" fmla="*/ 28626 h 33226"/>
                    <a:gd name="connsiteX20" fmla="*/ 175332 w 208557"/>
                    <a:gd name="connsiteY20" fmla="*/ 17891 h 33226"/>
                    <a:gd name="connsiteX21" fmla="*/ 179421 w 208557"/>
                    <a:gd name="connsiteY21" fmla="*/ 11757 h 33226"/>
                    <a:gd name="connsiteX22" fmla="*/ 183510 w 208557"/>
                    <a:gd name="connsiteY22" fmla="*/ 17380 h 33226"/>
                    <a:gd name="connsiteX23" fmla="*/ 182999 w 208557"/>
                    <a:gd name="connsiteY23" fmla="*/ 17891 h 33226"/>
                    <a:gd name="connsiteX24" fmla="*/ 175332 w 208557"/>
                    <a:gd name="connsiteY24" fmla="*/ 17891 h 33226"/>
                    <a:gd name="connsiteX25" fmla="*/ 187600 w 208557"/>
                    <a:gd name="connsiteY25" fmla="*/ 16357 h 33226"/>
                    <a:gd name="connsiteX26" fmla="*/ 179932 w 208557"/>
                    <a:gd name="connsiteY26" fmla="*/ 7668 h 33226"/>
                    <a:gd name="connsiteX27" fmla="*/ 171753 w 208557"/>
                    <a:gd name="connsiteY27" fmla="*/ 17891 h 33226"/>
                    <a:gd name="connsiteX28" fmla="*/ 171753 w 208557"/>
                    <a:gd name="connsiteY28" fmla="*/ 19425 h 33226"/>
                    <a:gd name="connsiteX29" fmla="*/ 180443 w 208557"/>
                    <a:gd name="connsiteY29" fmla="*/ 29648 h 33226"/>
                    <a:gd name="connsiteX30" fmla="*/ 186578 w 208557"/>
                    <a:gd name="connsiteY30" fmla="*/ 28626 h 33226"/>
                    <a:gd name="connsiteX31" fmla="*/ 187089 w 208557"/>
                    <a:gd name="connsiteY31" fmla="*/ 28115 h 33226"/>
                    <a:gd name="connsiteX32" fmla="*/ 187089 w 208557"/>
                    <a:gd name="connsiteY32" fmla="*/ 27092 h 33226"/>
                    <a:gd name="connsiteX33" fmla="*/ 186578 w 208557"/>
                    <a:gd name="connsiteY33" fmla="*/ 26070 h 33226"/>
                    <a:gd name="connsiteX34" fmla="*/ 186066 w 208557"/>
                    <a:gd name="connsiteY34" fmla="*/ 25559 h 33226"/>
                    <a:gd name="connsiteX35" fmla="*/ 185555 w 208557"/>
                    <a:gd name="connsiteY35" fmla="*/ 25559 h 33226"/>
                    <a:gd name="connsiteX36" fmla="*/ 180954 w 208557"/>
                    <a:gd name="connsiteY36" fmla="*/ 26581 h 33226"/>
                    <a:gd name="connsiteX37" fmla="*/ 175843 w 208557"/>
                    <a:gd name="connsiteY37" fmla="*/ 20958 h 33226"/>
                    <a:gd name="connsiteX38" fmla="*/ 186578 w 208557"/>
                    <a:gd name="connsiteY38" fmla="*/ 20958 h 33226"/>
                    <a:gd name="connsiteX39" fmla="*/ 187600 w 208557"/>
                    <a:gd name="connsiteY39" fmla="*/ 19936 h 33226"/>
                    <a:gd name="connsiteX40" fmla="*/ 187600 w 208557"/>
                    <a:gd name="connsiteY40" fmla="*/ 16357 h 33226"/>
                    <a:gd name="connsiteX41" fmla="*/ 167153 w 208557"/>
                    <a:gd name="connsiteY41" fmla="*/ 16357 h 33226"/>
                    <a:gd name="connsiteX42" fmla="*/ 159997 w 208557"/>
                    <a:gd name="connsiteY42" fmla="*/ 8179 h 33226"/>
                    <a:gd name="connsiteX43" fmla="*/ 154374 w 208557"/>
                    <a:gd name="connsiteY43" fmla="*/ 9712 h 33226"/>
                    <a:gd name="connsiteX44" fmla="*/ 154374 w 208557"/>
                    <a:gd name="connsiteY44" fmla="*/ 1533 h 33226"/>
                    <a:gd name="connsiteX45" fmla="*/ 153351 w 208557"/>
                    <a:gd name="connsiteY45" fmla="*/ 1022 h 33226"/>
                    <a:gd name="connsiteX46" fmla="*/ 151307 w 208557"/>
                    <a:gd name="connsiteY46" fmla="*/ 1022 h 33226"/>
                    <a:gd name="connsiteX47" fmla="*/ 150284 w 208557"/>
                    <a:gd name="connsiteY47" fmla="*/ 1533 h 33226"/>
                    <a:gd name="connsiteX48" fmla="*/ 150284 w 208557"/>
                    <a:gd name="connsiteY48" fmla="*/ 28626 h 33226"/>
                    <a:gd name="connsiteX49" fmla="*/ 151307 w 208557"/>
                    <a:gd name="connsiteY49" fmla="*/ 29648 h 33226"/>
                    <a:gd name="connsiteX50" fmla="*/ 153351 w 208557"/>
                    <a:gd name="connsiteY50" fmla="*/ 29648 h 33226"/>
                    <a:gd name="connsiteX51" fmla="*/ 154374 w 208557"/>
                    <a:gd name="connsiteY51" fmla="*/ 28626 h 33226"/>
                    <a:gd name="connsiteX52" fmla="*/ 154374 w 208557"/>
                    <a:gd name="connsiteY52" fmla="*/ 16357 h 33226"/>
                    <a:gd name="connsiteX53" fmla="*/ 158463 w 208557"/>
                    <a:gd name="connsiteY53" fmla="*/ 11757 h 33226"/>
                    <a:gd name="connsiteX54" fmla="*/ 163063 w 208557"/>
                    <a:gd name="connsiteY54" fmla="*/ 16869 h 33226"/>
                    <a:gd name="connsiteX55" fmla="*/ 163063 w 208557"/>
                    <a:gd name="connsiteY55" fmla="*/ 29137 h 33226"/>
                    <a:gd name="connsiteX56" fmla="*/ 164086 w 208557"/>
                    <a:gd name="connsiteY56" fmla="*/ 30159 h 33226"/>
                    <a:gd name="connsiteX57" fmla="*/ 166131 w 208557"/>
                    <a:gd name="connsiteY57" fmla="*/ 30159 h 33226"/>
                    <a:gd name="connsiteX58" fmla="*/ 167153 w 208557"/>
                    <a:gd name="connsiteY58" fmla="*/ 29137 h 33226"/>
                    <a:gd name="connsiteX59" fmla="*/ 167153 w 208557"/>
                    <a:gd name="connsiteY59" fmla="*/ 16357 h 33226"/>
                    <a:gd name="connsiteX60" fmla="*/ 145684 w 208557"/>
                    <a:gd name="connsiteY60" fmla="*/ 26070 h 33226"/>
                    <a:gd name="connsiteX61" fmla="*/ 145172 w 208557"/>
                    <a:gd name="connsiteY61" fmla="*/ 25559 h 33226"/>
                    <a:gd name="connsiteX62" fmla="*/ 144661 w 208557"/>
                    <a:gd name="connsiteY62" fmla="*/ 25559 h 33226"/>
                    <a:gd name="connsiteX63" fmla="*/ 140572 w 208557"/>
                    <a:gd name="connsiteY63" fmla="*/ 26070 h 33226"/>
                    <a:gd name="connsiteX64" fmla="*/ 136483 w 208557"/>
                    <a:gd name="connsiteY64" fmla="*/ 24536 h 33226"/>
                    <a:gd name="connsiteX65" fmla="*/ 135460 w 208557"/>
                    <a:gd name="connsiteY65" fmla="*/ 18913 h 33226"/>
                    <a:gd name="connsiteX66" fmla="*/ 135460 w 208557"/>
                    <a:gd name="connsiteY66" fmla="*/ 18402 h 33226"/>
                    <a:gd name="connsiteX67" fmla="*/ 136994 w 208557"/>
                    <a:gd name="connsiteY67" fmla="*/ 12268 h 33226"/>
                    <a:gd name="connsiteX68" fmla="*/ 140572 w 208557"/>
                    <a:gd name="connsiteY68" fmla="*/ 11246 h 33226"/>
                    <a:gd name="connsiteX69" fmla="*/ 145172 w 208557"/>
                    <a:gd name="connsiteY69" fmla="*/ 12779 h 33226"/>
                    <a:gd name="connsiteX70" fmla="*/ 145684 w 208557"/>
                    <a:gd name="connsiteY70" fmla="*/ 12779 h 33226"/>
                    <a:gd name="connsiteX71" fmla="*/ 146195 w 208557"/>
                    <a:gd name="connsiteY71" fmla="*/ 12268 h 33226"/>
                    <a:gd name="connsiteX72" fmla="*/ 146706 w 208557"/>
                    <a:gd name="connsiteY72" fmla="*/ 11246 h 33226"/>
                    <a:gd name="connsiteX73" fmla="*/ 147217 w 208557"/>
                    <a:gd name="connsiteY73" fmla="*/ 10223 h 33226"/>
                    <a:gd name="connsiteX74" fmla="*/ 146706 w 208557"/>
                    <a:gd name="connsiteY74" fmla="*/ 9712 h 33226"/>
                    <a:gd name="connsiteX75" fmla="*/ 140572 w 208557"/>
                    <a:gd name="connsiteY75" fmla="*/ 8179 h 33226"/>
                    <a:gd name="connsiteX76" fmla="*/ 134438 w 208557"/>
                    <a:gd name="connsiteY76" fmla="*/ 10223 h 33226"/>
                    <a:gd name="connsiteX77" fmla="*/ 132393 w 208557"/>
                    <a:gd name="connsiteY77" fmla="*/ 17891 h 33226"/>
                    <a:gd name="connsiteX78" fmla="*/ 132393 w 208557"/>
                    <a:gd name="connsiteY78" fmla="*/ 19425 h 33226"/>
                    <a:gd name="connsiteX79" fmla="*/ 134949 w 208557"/>
                    <a:gd name="connsiteY79" fmla="*/ 27603 h 33226"/>
                    <a:gd name="connsiteX80" fmla="*/ 141083 w 208557"/>
                    <a:gd name="connsiteY80" fmla="*/ 29648 h 33226"/>
                    <a:gd name="connsiteX81" fmla="*/ 146706 w 208557"/>
                    <a:gd name="connsiteY81" fmla="*/ 28626 h 33226"/>
                    <a:gd name="connsiteX82" fmla="*/ 147217 w 208557"/>
                    <a:gd name="connsiteY82" fmla="*/ 28115 h 33226"/>
                    <a:gd name="connsiteX83" fmla="*/ 147217 w 208557"/>
                    <a:gd name="connsiteY83" fmla="*/ 27092 h 33226"/>
                    <a:gd name="connsiteX84" fmla="*/ 145684 w 208557"/>
                    <a:gd name="connsiteY84" fmla="*/ 26070 h 33226"/>
                    <a:gd name="connsiteX85" fmla="*/ 120636 w 208557"/>
                    <a:gd name="connsiteY85" fmla="*/ 29648 h 33226"/>
                    <a:gd name="connsiteX86" fmla="*/ 128304 w 208557"/>
                    <a:gd name="connsiteY86" fmla="*/ 23514 h 33226"/>
                    <a:gd name="connsiteX87" fmla="*/ 128304 w 208557"/>
                    <a:gd name="connsiteY87" fmla="*/ 23003 h 33226"/>
                    <a:gd name="connsiteX88" fmla="*/ 123192 w 208557"/>
                    <a:gd name="connsiteY88" fmla="*/ 16869 h 33226"/>
                    <a:gd name="connsiteX89" fmla="*/ 121148 w 208557"/>
                    <a:gd name="connsiteY89" fmla="*/ 16357 h 33226"/>
                    <a:gd name="connsiteX90" fmla="*/ 118080 w 208557"/>
                    <a:gd name="connsiteY90" fmla="*/ 13802 h 33226"/>
                    <a:gd name="connsiteX91" fmla="*/ 118080 w 208557"/>
                    <a:gd name="connsiteY91" fmla="*/ 13802 h 33226"/>
                    <a:gd name="connsiteX92" fmla="*/ 121659 w 208557"/>
                    <a:gd name="connsiteY92" fmla="*/ 11246 h 33226"/>
                    <a:gd name="connsiteX93" fmla="*/ 125237 w 208557"/>
                    <a:gd name="connsiteY93" fmla="*/ 11757 h 33226"/>
                    <a:gd name="connsiteX94" fmla="*/ 126259 w 208557"/>
                    <a:gd name="connsiteY94" fmla="*/ 11757 h 33226"/>
                    <a:gd name="connsiteX95" fmla="*/ 126770 w 208557"/>
                    <a:gd name="connsiteY95" fmla="*/ 11246 h 33226"/>
                    <a:gd name="connsiteX96" fmla="*/ 126770 w 208557"/>
                    <a:gd name="connsiteY96" fmla="*/ 10223 h 33226"/>
                    <a:gd name="connsiteX97" fmla="*/ 127281 w 208557"/>
                    <a:gd name="connsiteY97" fmla="*/ 9201 h 33226"/>
                    <a:gd name="connsiteX98" fmla="*/ 126770 w 208557"/>
                    <a:gd name="connsiteY98" fmla="*/ 8690 h 33226"/>
                    <a:gd name="connsiteX99" fmla="*/ 121659 w 208557"/>
                    <a:gd name="connsiteY99" fmla="*/ 8179 h 33226"/>
                    <a:gd name="connsiteX100" fmla="*/ 114502 w 208557"/>
                    <a:gd name="connsiteY100" fmla="*/ 13802 h 33226"/>
                    <a:gd name="connsiteX101" fmla="*/ 114502 w 208557"/>
                    <a:gd name="connsiteY101" fmla="*/ 14313 h 33226"/>
                    <a:gd name="connsiteX102" fmla="*/ 119614 w 208557"/>
                    <a:gd name="connsiteY102" fmla="*/ 19936 h 33226"/>
                    <a:gd name="connsiteX103" fmla="*/ 121659 w 208557"/>
                    <a:gd name="connsiteY103" fmla="*/ 20447 h 33226"/>
                    <a:gd name="connsiteX104" fmla="*/ 124726 w 208557"/>
                    <a:gd name="connsiteY104" fmla="*/ 23514 h 33226"/>
                    <a:gd name="connsiteX105" fmla="*/ 124726 w 208557"/>
                    <a:gd name="connsiteY105" fmla="*/ 23514 h 33226"/>
                    <a:gd name="connsiteX106" fmla="*/ 120636 w 208557"/>
                    <a:gd name="connsiteY106" fmla="*/ 26581 h 33226"/>
                    <a:gd name="connsiteX107" fmla="*/ 116547 w 208557"/>
                    <a:gd name="connsiteY107" fmla="*/ 26070 h 33226"/>
                    <a:gd name="connsiteX108" fmla="*/ 115014 w 208557"/>
                    <a:gd name="connsiteY108" fmla="*/ 25559 h 33226"/>
                    <a:gd name="connsiteX109" fmla="*/ 114502 w 208557"/>
                    <a:gd name="connsiteY109" fmla="*/ 26070 h 33226"/>
                    <a:gd name="connsiteX110" fmla="*/ 114502 w 208557"/>
                    <a:gd name="connsiteY110" fmla="*/ 26581 h 33226"/>
                    <a:gd name="connsiteX111" fmla="*/ 113991 w 208557"/>
                    <a:gd name="connsiteY111" fmla="*/ 27603 h 33226"/>
                    <a:gd name="connsiteX112" fmla="*/ 114502 w 208557"/>
                    <a:gd name="connsiteY112" fmla="*/ 28115 h 33226"/>
                    <a:gd name="connsiteX113" fmla="*/ 120636 w 208557"/>
                    <a:gd name="connsiteY113" fmla="*/ 29648 h 33226"/>
                    <a:gd name="connsiteX114" fmla="*/ 108368 w 208557"/>
                    <a:gd name="connsiteY114" fmla="*/ 2045 h 33226"/>
                    <a:gd name="connsiteX115" fmla="*/ 106324 w 208557"/>
                    <a:gd name="connsiteY115" fmla="*/ 0 h 33226"/>
                    <a:gd name="connsiteX116" fmla="*/ 105813 w 208557"/>
                    <a:gd name="connsiteY116" fmla="*/ 0 h 33226"/>
                    <a:gd name="connsiteX117" fmla="*/ 103768 w 208557"/>
                    <a:gd name="connsiteY117" fmla="*/ 2045 h 33226"/>
                    <a:gd name="connsiteX118" fmla="*/ 103768 w 208557"/>
                    <a:gd name="connsiteY118" fmla="*/ 2556 h 33226"/>
                    <a:gd name="connsiteX119" fmla="*/ 105813 w 208557"/>
                    <a:gd name="connsiteY119" fmla="*/ 4601 h 33226"/>
                    <a:gd name="connsiteX120" fmla="*/ 106324 w 208557"/>
                    <a:gd name="connsiteY120" fmla="*/ 4601 h 33226"/>
                    <a:gd name="connsiteX121" fmla="*/ 108368 w 208557"/>
                    <a:gd name="connsiteY121" fmla="*/ 2556 h 33226"/>
                    <a:gd name="connsiteX122" fmla="*/ 108368 w 208557"/>
                    <a:gd name="connsiteY122" fmla="*/ 2045 h 33226"/>
                    <a:gd name="connsiteX123" fmla="*/ 101212 w 208557"/>
                    <a:gd name="connsiteY123" fmla="*/ 2045 h 33226"/>
                    <a:gd name="connsiteX124" fmla="*/ 99167 w 208557"/>
                    <a:gd name="connsiteY124" fmla="*/ 0 h 33226"/>
                    <a:gd name="connsiteX125" fmla="*/ 98656 w 208557"/>
                    <a:gd name="connsiteY125" fmla="*/ 0 h 33226"/>
                    <a:gd name="connsiteX126" fmla="*/ 96611 w 208557"/>
                    <a:gd name="connsiteY126" fmla="*/ 2045 h 33226"/>
                    <a:gd name="connsiteX127" fmla="*/ 96611 w 208557"/>
                    <a:gd name="connsiteY127" fmla="*/ 2556 h 33226"/>
                    <a:gd name="connsiteX128" fmla="*/ 98656 w 208557"/>
                    <a:gd name="connsiteY128" fmla="*/ 4601 h 33226"/>
                    <a:gd name="connsiteX129" fmla="*/ 99167 w 208557"/>
                    <a:gd name="connsiteY129" fmla="*/ 4601 h 33226"/>
                    <a:gd name="connsiteX130" fmla="*/ 101212 w 208557"/>
                    <a:gd name="connsiteY130" fmla="*/ 2556 h 33226"/>
                    <a:gd name="connsiteX131" fmla="*/ 101212 w 208557"/>
                    <a:gd name="connsiteY131" fmla="*/ 2045 h 33226"/>
                    <a:gd name="connsiteX132" fmla="*/ 105813 w 208557"/>
                    <a:gd name="connsiteY132" fmla="*/ 23003 h 33226"/>
                    <a:gd name="connsiteX133" fmla="*/ 101723 w 208557"/>
                    <a:gd name="connsiteY133" fmla="*/ 26581 h 33226"/>
                    <a:gd name="connsiteX134" fmla="*/ 100189 w 208557"/>
                    <a:gd name="connsiteY134" fmla="*/ 26581 h 33226"/>
                    <a:gd name="connsiteX135" fmla="*/ 97123 w 208557"/>
                    <a:gd name="connsiteY135" fmla="*/ 23514 h 33226"/>
                    <a:gd name="connsiteX136" fmla="*/ 97123 w 208557"/>
                    <a:gd name="connsiteY136" fmla="*/ 23003 h 33226"/>
                    <a:gd name="connsiteX137" fmla="*/ 101212 w 208557"/>
                    <a:gd name="connsiteY137" fmla="*/ 19936 h 33226"/>
                    <a:gd name="connsiteX138" fmla="*/ 103257 w 208557"/>
                    <a:gd name="connsiteY138" fmla="*/ 19936 h 33226"/>
                    <a:gd name="connsiteX139" fmla="*/ 105301 w 208557"/>
                    <a:gd name="connsiteY139" fmla="*/ 19936 h 33226"/>
                    <a:gd name="connsiteX140" fmla="*/ 105301 w 208557"/>
                    <a:gd name="connsiteY140" fmla="*/ 23003 h 33226"/>
                    <a:gd name="connsiteX141" fmla="*/ 106835 w 208557"/>
                    <a:gd name="connsiteY141" fmla="*/ 28626 h 33226"/>
                    <a:gd name="connsiteX142" fmla="*/ 107857 w 208557"/>
                    <a:gd name="connsiteY142" fmla="*/ 29137 h 33226"/>
                    <a:gd name="connsiteX143" fmla="*/ 109390 w 208557"/>
                    <a:gd name="connsiteY143" fmla="*/ 29137 h 33226"/>
                    <a:gd name="connsiteX144" fmla="*/ 109902 w 208557"/>
                    <a:gd name="connsiteY144" fmla="*/ 28626 h 33226"/>
                    <a:gd name="connsiteX145" fmla="*/ 109902 w 208557"/>
                    <a:gd name="connsiteY145" fmla="*/ 15335 h 33226"/>
                    <a:gd name="connsiteX146" fmla="*/ 102234 w 208557"/>
                    <a:gd name="connsiteY146" fmla="*/ 8179 h 33226"/>
                    <a:gd name="connsiteX147" fmla="*/ 96100 w 208557"/>
                    <a:gd name="connsiteY147" fmla="*/ 9201 h 33226"/>
                    <a:gd name="connsiteX148" fmla="*/ 95589 w 208557"/>
                    <a:gd name="connsiteY148" fmla="*/ 9712 h 33226"/>
                    <a:gd name="connsiteX149" fmla="*/ 95589 w 208557"/>
                    <a:gd name="connsiteY149" fmla="*/ 10735 h 33226"/>
                    <a:gd name="connsiteX150" fmla="*/ 95589 w 208557"/>
                    <a:gd name="connsiteY150" fmla="*/ 11757 h 33226"/>
                    <a:gd name="connsiteX151" fmla="*/ 96100 w 208557"/>
                    <a:gd name="connsiteY151" fmla="*/ 12268 h 33226"/>
                    <a:gd name="connsiteX152" fmla="*/ 97123 w 208557"/>
                    <a:gd name="connsiteY152" fmla="*/ 12268 h 33226"/>
                    <a:gd name="connsiteX153" fmla="*/ 101723 w 208557"/>
                    <a:gd name="connsiteY153" fmla="*/ 11757 h 33226"/>
                    <a:gd name="connsiteX154" fmla="*/ 105813 w 208557"/>
                    <a:gd name="connsiteY154" fmla="*/ 15335 h 33226"/>
                    <a:gd name="connsiteX155" fmla="*/ 105813 w 208557"/>
                    <a:gd name="connsiteY155" fmla="*/ 16869 h 33226"/>
                    <a:gd name="connsiteX156" fmla="*/ 103257 w 208557"/>
                    <a:gd name="connsiteY156" fmla="*/ 16869 h 33226"/>
                    <a:gd name="connsiteX157" fmla="*/ 102234 w 208557"/>
                    <a:gd name="connsiteY157" fmla="*/ 16869 h 33226"/>
                    <a:gd name="connsiteX158" fmla="*/ 95589 w 208557"/>
                    <a:gd name="connsiteY158" fmla="*/ 18402 h 33226"/>
                    <a:gd name="connsiteX159" fmla="*/ 93544 w 208557"/>
                    <a:gd name="connsiteY159" fmla="*/ 23514 h 33226"/>
                    <a:gd name="connsiteX160" fmla="*/ 93544 w 208557"/>
                    <a:gd name="connsiteY160" fmla="*/ 24025 h 33226"/>
                    <a:gd name="connsiteX161" fmla="*/ 99678 w 208557"/>
                    <a:gd name="connsiteY161" fmla="*/ 30159 h 33226"/>
                    <a:gd name="connsiteX162" fmla="*/ 101212 w 208557"/>
                    <a:gd name="connsiteY162" fmla="*/ 30159 h 33226"/>
                    <a:gd name="connsiteX163" fmla="*/ 106324 w 208557"/>
                    <a:gd name="connsiteY163" fmla="*/ 28115 h 33226"/>
                    <a:gd name="connsiteX164" fmla="*/ 106324 w 208557"/>
                    <a:gd name="connsiteY164" fmla="*/ 28115 h 33226"/>
                    <a:gd name="connsiteX165" fmla="*/ 106835 w 208557"/>
                    <a:gd name="connsiteY165" fmla="*/ 28626 h 33226"/>
                    <a:gd name="connsiteX166" fmla="*/ 84343 w 208557"/>
                    <a:gd name="connsiteY166" fmla="*/ 9201 h 33226"/>
                    <a:gd name="connsiteX167" fmla="*/ 83321 w 208557"/>
                    <a:gd name="connsiteY167" fmla="*/ 8690 h 33226"/>
                    <a:gd name="connsiteX168" fmla="*/ 81787 w 208557"/>
                    <a:gd name="connsiteY168" fmla="*/ 8690 h 33226"/>
                    <a:gd name="connsiteX169" fmla="*/ 81276 w 208557"/>
                    <a:gd name="connsiteY169" fmla="*/ 9201 h 33226"/>
                    <a:gd name="connsiteX170" fmla="*/ 81276 w 208557"/>
                    <a:gd name="connsiteY170" fmla="*/ 28626 h 33226"/>
                    <a:gd name="connsiteX171" fmla="*/ 82298 w 208557"/>
                    <a:gd name="connsiteY171" fmla="*/ 29648 h 33226"/>
                    <a:gd name="connsiteX172" fmla="*/ 84343 w 208557"/>
                    <a:gd name="connsiteY172" fmla="*/ 29648 h 33226"/>
                    <a:gd name="connsiteX173" fmla="*/ 85366 w 208557"/>
                    <a:gd name="connsiteY173" fmla="*/ 28626 h 33226"/>
                    <a:gd name="connsiteX174" fmla="*/ 85366 w 208557"/>
                    <a:gd name="connsiteY174" fmla="*/ 16869 h 33226"/>
                    <a:gd name="connsiteX175" fmla="*/ 86388 w 208557"/>
                    <a:gd name="connsiteY175" fmla="*/ 13290 h 33226"/>
                    <a:gd name="connsiteX176" fmla="*/ 89966 w 208557"/>
                    <a:gd name="connsiteY176" fmla="*/ 12268 h 33226"/>
                    <a:gd name="connsiteX177" fmla="*/ 90988 w 208557"/>
                    <a:gd name="connsiteY177" fmla="*/ 12268 h 33226"/>
                    <a:gd name="connsiteX178" fmla="*/ 92011 w 208557"/>
                    <a:gd name="connsiteY178" fmla="*/ 11757 h 33226"/>
                    <a:gd name="connsiteX179" fmla="*/ 92011 w 208557"/>
                    <a:gd name="connsiteY179" fmla="*/ 9712 h 33226"/>
                    <a:gd name="connsiteX180" fmla="*/ 90988 w 208557"/>
                    <a:gd name="connsiteY180" fmla="*/ 9201 h 33226"/>
                    <a:gd name="connsiteX181" fmla="*/ 89966 w 208557"/>
                    <a:gd name="connsiteY181" fmla="*/ 9201 h 33226"/>
                    <a:gd name="connsiteX182" fmla="*/ 84854 w 208557"/>
                    <a:gd name="connsiteY182" fmla="*/ 11757 h 33226"/>
                    <a:gd name="connsiteX183" fmla="*/ 84854 w 208557"/>
                    <a:gd name="connsiteY183" fmla="*/ 11757 h 33226"/>
                    <a:gd name="connsiteX184" fmla="*/ 84343 w 208557"/>
                    <a:gd name="connsiteY184" fmla="*/ 9201 h 33226"/>
                    <a:gd name="connsiteX185" fmla="*/ 63385 w 208557"/>
                    <a:gd name="connsiteY185" fmla="*/ 31693 h 33226"/>
                    <a:gd name="connsiteX186" fmla="*/ 63385 w 208557"/>
                    <a:gd name="connsiteY186" fmla="*/ 9201 h 33226"/>
                    <a:gd name="connsiteX187" fmla="*/ 67986 w 208557"/>
                    <a:gd name="connsiteY187" fmla="*/ 4089 h 33226"/>
                    <a:gd name="connsiteX188" fmla="*/ 72075 w 208557"/>
                    <a:gd name="connsiteY188" fmla="*/ 8179 h 33226"/>
                    <a:gd name="connsiteX189" fmla="*/ 72075 w 208557"/>
                    <a:gd name="connsiteY189" fmla="*/ 8690 h 33226"/>
                    <a:gd name="connsiteX190" fmla="*/ 67475 w 208557"/>
                    <a:gd name="connsiteY190" fmla="*/ 13290 h 33226"/>
                    <a:gd name="connsiteX191" fmla="*/ 66963 w 208557"/>
                    <a:gd name="connsiteY191" fmla="*/ 13290 h 33226"/>
                    <a:gd name="connsiteX192" fmla="*/ 66452 w 208557"/>
                    <a:gd name="connsiteY192" fmla="*/ 13802 h 33226"/>
                    <a:gd name="connsiteX193" fmla="*/ 66452 w 208557"/>
                    <a:gd name="connsiteY193" fmla="*/ 15846 h 33226"/>
                    <a:gd name="connsiteX194" fmla="*/ 66963 w 208557"/>
                    <a:gd name="connsiteY194" fmla="*/ 16357 h 33226"/>
                    <a:gd name="connsiteX195" fmla="*/ 68497 w 208557"/>
                    <a:gd name="connsiteY195" fmla="*/ 16357 h 33226"/>
                    <a:gd name="connsiteX196" fmla="*/ 74120 w 208557"/>
                    <a:gd name="connsiteY196" fmla="*/ 20958 h 33226"/>
                    <a:gd name="connsiteX197" fmla="*/ 74120 w 208557"/>
                    <a:gd name="connsiteY197" fmla="*/ 21469 h 33226"/>
                    <a:gd name="connsiteX198" fmla="*/ 69519 w 208557"/>
                    <a:gd name="connsiteY198" fmla="*/ 26581 h 33226"/>
                    <a:gd name="connsiteX199" fmla="*/ 66452 w 208557"/>
                    <a:gd name="connsiteY199" fmla="*/ 26070 h 33226"/>
                    <a:gd name="connsiteX200" fmla="*/ 65941 w 208557"/>
                    <a:gd name="connsiteY200" fmla="*/ 26581 h 33226"/>
                    <a:gd name="connsiteX201" fmla="*/ 65941 w 208557"/>
                    <a:gd name="connsiteY201" fmla="*/ 27603 h 33226"/>
                    <a:gd name="connsiteX202" fmla="*/ 65941 w 208557"/>
                    <a:gd name="connsiteY202" fmla="*/ 28626 h 33226"/>
                    <a:gd name="connsiteX203" fmla="*/ 66452 w 208557"/>
                    <a:gd name="connsiteY203" fmla="*/ 29137 h 33226"/>
                    <a:gd name="connsiteX204" fmla="*/ 70542 w 208557"/>
                    <a:gd name="connsiteY204" fmla="*/ 29648 h 33226"/>
                    <a:gd name="connsiteX205" fmla="*/ 78720 w 208557"/>
                    <a:gd name="connsiteY205" fmla="*/ 21469 h 33226"/>
                    <a:gd name="connsiteX206" fmla="*/ 78720 w 208557"/>
                    <a:gd name="connsiteY206" fmla="*/ 20958 h 33226"/>
                    <a:gd name="connsiteX207" fmla="*/ 73608 w 208557"/>
                    <a:gd name="connsiteY207" fmla="*/ 14313 h 33226"/>
                    <a:gd name="connsiteX208" fmla="*/ 73608 w 208557"/>
                    <a:gd name="connsiteY208" fmla="*/ 14313 h 33226"/>
                    <a:gd name="connsiteX209" fmla="*/ 77187 w 208557"/>
                    <a:gd name="connsiteY209" fmla="*/ 8179 h 33226"/>
                    <a:gd name="connsiteX210" fmla="*/ 77187 w 208557"/>
                    <a:gd name="connsiteY210" fmla="*/ 7668 h 33226"/>
                    <a:gd name="connsiteX211" fmla="*/ 69008 w 208557"/>
                    <a:gd name="connsiteY211" fmla="*/ 1022 h 33226"/>
                    <a:gd name="connsiteX212" fmla="*/ 60829 w 208557"/>
                    <a:gd name="connsiteY212" fmla="*/ 9201 h 33226"/>
                    <a:gd name="connsiteX213" fmla="*/ 60829 w 208557"/>
                    <a:gd name="connsiteY213" fmla="*/ 32715 h 33226"/>
                    <a:gd name="connsiteX214" fmla="*/ 61852 w 208557"/>
                    <a:gd name="connsiteY214" fmla="*/ 33226 h 33226"/>
                    <a:gd name="connsiteX215" fmla="*/ 63896 w 208557"/>
                    <a:gd name="connsiteY215" fmla="*/ 33226 h 33226"/>
                    <a:gd name="connsiteX216" fmla="*/ 63385 w 208557"/>
                    <a:gd name="connsiteY216" fmla="*/ 31693 h 33226"/>
                    <a:gd name="connsiteX217" fmla="*/ 54695 w 208557"/>
                    <a:gd name="connsiteY217" fmla="*/ 17891 h 33226"/>
                    <a:gd name="connsiteX218" fmla="*/ 52651 w 208557"/>
                    <a:gd name="connsiteY218" fmla="*/ 10223 h 33226"/>
                    <a:gd name="connsiteX219" fmla="*/ 46005 w 208557"/>
                    <a:gd name="connsiteY219" fmla="*/ 8179 h 33226"/>
                    <a:gd name="connsiteX220" fmla="*/ 39360 w 208557"/>
                    <a:gd name="connsiteY220" fmla="*/ 10223 h 33226"/>
                    <a:gd name="connsiteX221" fmla="*/ 37315 w 208557"/>
                    <a:gd name="connsiteY221" fmla="*/ 17891 h 33226"/>
                    <a:gd name="connsiteX222" fmla="*/ 37315 w 208557"/>
                    <a:gd name="connsiteY222" fmla="*/ 19425 h 33226"/>
                    <a:gd name="connsiteX223" fmla="*/ 39360 w 208557"/>
                    <a:gd name="connsiteY223" fmla="*/ 27092 h 33226"/>
                    <a:gd name="connsiteX224" fmla="*/ 46005 w 208557"/>
                    <a:gd name="connsiteY224" fmla="*/ 29137 h 33226"/>
                    <a:gd name="connsiteX225" fmla="*/ 52651 w 208557"/>
                    <a:gd name="connsiteY225" fmla="*/ 27092 h 33226"/>
                    <a:gd name="connsiteX226" fmla="*/ 54695 w 208557"/>
                    <a:gd name="connsiteY226" fmla="*/ 19425 h 33226"/>
                    <a:gd name="connsiteX227" fmla="*/ 54695 w 208557"/>
                    <a:gd name="connsiteY227" fmla="*/ 17891 h 33226"/>
                    <a:gd name="connsiteX228" fmla="*/ 51117 w 208557"/>
                    <a:gd name="connsiteY228" fmla="*/ 18402 h 33226"/>
                    <a:gd name="connsiteX229" fmla="*/ 51117 w 208557"/>
                    <a:gd name="connsiteY229" fmla="*/ 19425 h 33226"/>
                    <a:gd name="connsiteX230" fmla="*/ 50606 w 208557"/>
                    <a:gd name="connsiteY230" fmla="*/ 24536 h 33226"/>
                    <a:gd name="connsiteX231" fmla="*/ 46516 w 208557"/>
                    <a:gd name="connsiteY231" fmla="*/ 26581 h 33226"/>
                    <a:gd name="connsiteX232" fmla="*/ 42427 w 208557"/>
                    <a:gd name="connsiteY232" fmla="*/ 24536 h 33226"/>
                    <a:gd name="connsiteX233" fmla="*/ 41916 w 208557"/>
                    <a:gd name="connsiteY233" fmla="*/ 19425 h 33226"/>
                    <a:gd name="connsiteX234" fmla="*/ 41916 w 208557"/>
                    <a:gd name="connsiteY234" fmla="*/ 18402 h 33226"/>
                    <a:gd name="connsiteX235" fmla="*/ 42427 w 208557"/>
                    <a:gd name="connsiteY235" fmla="*/ 13290 h 33226"/>
                    <a:gd name="connsiteX236" fmla="*/ 46516 w 208557"/>
                    <a:gd name="connsiteY236" fmla="*/ 11246 h 33226"/>
                    <a:gd name="connsiteX237" fmla="*/ 50606 w 208557"/>
                    <a:gd name="connsiteY237" fmla="*/ 13290 h 33226"/>
                    <a:gd name="connsiteX238" fmla="*/ 51117 w 208557"/>
                    <a:gd name="connsiteY238" fmla="*/ 18402 h 33226"/>
                    <a:gd name="connsiteX239" fmla="*/ 28114 w 208557"/>
                    <a:gd name="connsiteY239" fmla="*/ 9201 h 33226"/>
                    <a:gd name="connsiteX240" fmla="*/ 27092 w 208557"/>
                    <a:gd name="connsiteY240" fmla="*/ 8690 h 33226"/>
                    <a:gd name="connsiteX241" fmla="*/ 25559 w 208557"/>
                    <a:gd name="connsiteY241" fmla="*/ 8690 h 33226"/>
                    <a:gd name="connsiteX242" fmla="*/ 25047 w 208557"/>
                    <a:gd name="connsiteY242" fmla="*/ 9201 h 33226"/>
                    <a:gd name="connsiteX243" fmla="*/ 25047 w 208557"/>
                    <a:gd name="connsiteY243" fmla="*/ 28626 h 33226"/>
                    <a:gd name="connsiteX244" fmla="*/ 26070 w 208557"/>
                    <a:gd name="connsiteY244" fmla="*/ 29648 h 33226"/>
                    <a:gd name="connsiteX245" fmla="*/ 28114 w 208557"/>
                    <a:gd name="connsiteY245" fmla="*/ 29648 h 33226"/>
                    <a:gd name="connsiteX246" fmla="*/ 29137 w 208557"/>
                    <a:gd name="connsiteY246" fmla="*/ 28626 h 33226"/>
                    <a:gd name="connsiteX247" fmla="*/ 29137 w 208557"/>
                    <a:gd name="connsiteY247" fmla="*/ 16869 h 33226"/>
                    <a:gd name="connsiteX248" fmla="*/ 30159 w 208557"/>
                    <a:gd name="connsiteY248" fmla="*/ 13290 h 33226"/>
                    <a:gd name="connsiteX249" fmla="*/ 33737 w 208557"/>
                    <a:gd name="connsiteY249" fmla="*/ 12268 h 33226"/>
                    <a:gd name="connsiteX250" fmla="*/ 34760 w 208557"/>
                    <a:gd name="connsiteY250" fmla="*/ 12268 h 33226"/>
                    <a:gd name="connsiteX251" fmla="*/ 35782 w 208557"/>
                    <a:gd name="connsiteY251" fmla="*/ 11757 h 33226"/>
                    <a:gd name="connsiteX252" fmla="*/ 35782 w 208557"/>
                    <a:gd name="connsiteY252" fmla="*/ 9712 h 33226"/>
                    <a:gd name="connsiteX253" fmla="*/ 34760 w 208557"/>
                    <a:gd name="connsiteY253" fmla="*/ 9201 h 33226"/>
                    <a:gd name="connsiteX254" fmla="*/ 33737 w 208557"/>
                    <a:gd name="connsiteY254" fmla="*/ 9201 h 33226"/>
                    <a:gd name="connsiteX255" fmla="*/ 28625 w 208557"/>
                    <a:gd name="connsiteY255" fmla="*/ 11757 h 33226"/>
                    <a:gd name="connsiteX256" fmla="*/ 28625 w 208557"/>
                    <a:gd name="connsiteY256" fmla="*/ 11757 h 33226"/>
                    <a:gd name="connsiteX257" fmla="*/ 28114 w 208557"/>
                    <a:gd name="connsiteY257" fmla="*/ 9201 h 33226"/>
                    <a:gd name="connsiteX258" fmla="*/ 18913 w 208557"/>
                    <a:gd name="connsiteY258" fmla="*/ 3067 h 33226"/>
                    <a:gd name="connsiteX259" fmla="*/ 11757 w 208557"/>
                    <a:gd name="connsiteY259" fmla="*/ 1533 h 33226"/>
                    <a:gd name="connsiteX260" fmla="*/ 4089 w 208557"/>
                    <a:gd name="connsiteY260" fmla="*/ 3578 h 33226"/>
                    <a:gd name="connsiteX261" fmla="*/ 0 w 208557"/>
                    <a:gd name="connsiteY261" fmla="*/ 14313 h 33226"/>
                    <a:gd name="connsiteX262" fmla="*/ 0 w 208557"/>
                    <a:gd name="connsiteY262" fmla="*/ 16357 h 33226"/>
                    <a:gd name="connsiteX263" fmla="*/ 11246 w 208557"/>
                    <a:gd name="connsiteY263" fmla="*/ 29648 h 33226"/>
                    <a:gd name="connsiteX264" fmla="*/ 18913 w 208557"/>
                    <a:gd name="connsiteY264" fmla="*/ 28626 h 33226"/>
                    <a:gd name="connsiteX265" fmla="*/ 19935 w 208557"/>
                    <a:gd name="connsiteY265" fmla="*/ 27092 h 33226"/>
                    <a:gd name="connsiteX266" fmla="*/ 19935 w 208557"/>
                    <a:gd name="connsiteY266" fmla="*/ 14824 h 33226"/>
                    <a:gd name="connsiteX267" fmla="*/ 18913 w 208557"/>
                    <a:gd name="connsiteY267" fmla="*/ 13802 h 33226"/>
                    <a:gd name="connsiteX268" fmla="*/ 12268 w 208557"/>
                    <a:gd name="connsiteY268" fmla="*/ 13802 h 33226"/>
                    <a:gd name="connsiteX269" fmla="*/ 11246 w 208557"/>
                    <a:gd name="connsiteY269" fmla="*/ 14824 h 33226"/>
                    <a:gd name="connsiteX270" fmla="*/ 11246 w 208557"/>
                    <a:gd name="connsiteY270" fmla="*/ 16869 h 33226"/>
                    <a:gd name="connsiteX271" fmla="*/ 12268 w 208557"/>
                    <a:gd name="connsiteY271" fmla="*/ 17380 h 33226"/>
                    <a:gd name="connsiteX272" fmla="*/ 15846 w 208557"/>
                    <a:gd name="connsiteY272" fmla="*/ 17380 h 33226"/>
                    <a:gd name="connsiteX273" fmla="*/ 15846 w 208557"/>
                    <a:gd name="connsiteY273" fmla="*/ 25047 h 33226"/>
                    <a:gd name="connsiteX274" fmla="*/ 15335 w 208557"/>
                    <a:gd name="connsiteY274" fmla="*/ 25559 h 33226"/>
                    <a:gd name="connsiteX275" fmla="*/ 11246 w 208557"/>
                    <a:gd name="connsiteY275" fmla="*/ 25559 h 33226"/>
                    <a:gd name="connsiteX276" fmla="*/ 4089 w 208557"/>
                    <a:gd name="connsiteY276" fmla="*/ 15335 h 33226"/>
                    <a:gd name="connsiteX277" fmla="*/ 4089 w 208557"/>
                    <a:gd name="connsiteY277" fmla="*/ 14313 h 33226"/>
                    <a:gd name="connsiteX278" fmla="*/ 11246 w 208557"/>
                    <a:gd name="connsiteY278" fmla="*/ 4089 h 33226"/>
                    <a:gd name="connsiteX279" fmla="*/ 17380 w 208557"/>
                    <a:gd name="connsiteY279" fmla="*/ 5112 h 33226"/>
                    <a:gd name="connsiteX280" fmla="*/ 18402 w 208557"/>
                    <a:gd name="connsiteY280" fmla="*/ 4601 h 33226"/>
                    <a:gd name="connsiteX281" fmla="*/ 18913 w 208557"/>
                    <a:gd name="connsiteY281" fmla="*/ 3578 h 33226"/>
                    <a:gd name="connsiteX282" fmla="*/ 19424 w 208557"/>
                    <a:gd name="connsiteY282" fmla="*/ 2556 h 33226"/>
                    <a:gd name="connsiteX283" fmla="*/ 18913 w 208557"/>
                    <a:gd name="connsiteY283" fmla="*/ 3067 h 33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</a:cxnLst>
                  <a:rect l="l" t="t" r="r" b="b"/>
                  <a:pathLst>
                    <a:path w="208557" h="33226">
                      <a:moveTo>
                        <a:pt x="191689" y="28626"/>
                      </a:moveTo>
                      <a:cubicBezTo>
                        <a:pt x="191689" y="29137"/>
                        <a:pt x="192200" y="29648"/>
                        <a:pt x="192712" y="29648"/>
                      </a:cubicBezTo>
                      <a:lnTo>
                        <a:pt x="194756" y="29648"/>
                      </a:lnTo>
                      <a:cubicBezTo>
                        <a:pt x="195268" y="29648"/>
                        <a:pt x="195779" y="29648"/>
                        <a:pt x="195779" y="28626"/>
                      </a:cubicBezTo>
                      <a:lnTo>
                        <a:pt x="195779" y="15846"/>
                      </a:lnTo>
                      <a:cubicBezTo>
                        <a:pt x="195779" y="12268"/>
                        <a:pt x="197312" y="11246"/>
                        <a:pt x="199868" y="11246"/>
                      </a:cubicBezTo>
                      <a:cubicBezTo>
                        <a:pt x="202935" y="11246"/>
                        <a:pt x="204469" y="12779"/>
                        <a:pt x="204469" y="16357"/>
                      </a:cubicBezTo>
                      <a:lnTo>
                        <a:pt x="204469" y="28626"/>
                      </a:lnTo>
                      <a:cubicBezTo>
                        <a:pt x="204469" y="29137"/>
                        <a:pt x="204980" y="29648"/>
                        <a:pt x="205491" y="29648"/>
                      </a:cubicBezTo>
                      <a:lnTo>
                        <a:pt x="207535" y="29648"/>
                      </a:lnTo>
                      <a:cubicBezTo>
                        <a:pt x="208047" y="29648"/>
                        <a:pt x="208558" y="29648"/>
                        <a:pt x="208558" y="28626"/>
                      </a:cubicBezTo>
                      <a:lnTo>
                        <a:pt x="208558" y="16869"/>
                      </a:lnTo>
                      <a:cubicBezTo>
                        <a:pt x="208558" y="10735"/>
                        <a:pt x="206002" y="8690"/>
                        <a:pt x="201401" y="8690"/>
                      </a:cubicBezTo>
                      <a:cubicBezTo>
                        <a:pt x="198334" y="8690"/>
                        <a:pt x="196801" y="9712"/>
                        <a:pt x="195268" y="11246"/>
                      </a:cubicBezTo>
                      <a:lnTo>
                        <a:pt x="195268" y="11246"/>
                      </a:lnTo>
                      <a:lnTo>
                        <a:pt x="195268" y="9712"/>
                      </a:lnTo>
                      <a:cubicBezTo>
                        <a:pt x="195268" y="9201"/>
                        <a:pt x="194756" y="9201"/>
                        <a:pt x="194245" y="9201"/>
                      </a:cubicBezTo>
                      <a:lnTo>
                        <a:pt x="192712" y="9201"/>
                      </a:lnTo>
                      <a:cubicBezTo>
                        <a:pt x="192200" y="9201"/>
                        <a:pt x="192200" y="9201"/>
                        <a:pt x="192200" y="9712"/>
                      </a:cubicBezTo>
                      <a:lnTo>
                        <a:pt x="192200" y="28626"/>
                      </a:lnTo>
                      <a:close/>
                      <a:moveTo>
                        <a:pt x="175332" y="17891"/>
                      </a:moveTo>
                      <a:cubicBezTo>
                        <a:pt x="175332" y="13802"/>
                        <a:pt x="175843" y="11757"/>
                        <a:pt x="179421" y="11757"/>
                      </a:cubicBezTo>
                      <a:cubicBezTo>
                        <a:pt x="182488" y="11757"/>
                        <a:pt x="183510" y="13290"/>
                        <a:pt x="183510" y="17380"/>
                      </a:cubicBezTo>
                      <a:cubicBezTo>
                        <a:pt x="183510" y="17891"/>
                        <a:pt x="183510" y="17891"/>
                        <a:pt x="182999" y="17891"/>
                      </a:cubicBezTo>
                      <a:lnTo>
                        <a:pt x="175332" y="17891"/>
                      </a:lnTo>
                      <a:close/>
                      <a:moveTo>
                        <a:pt x="187600" y="16357"/>
                      </a:moveTo>
                      <a:cubicBezTo>
                        <a:pt x="187600" y="10223"/>
                        <a:pt x="185044" y="7668"/>
                        <a:pt x="179932" y="7668"/>
                      </a:cubicBezTo>
                      <a:cubicBezTo>
                        <a:pt x="173798" y="7668"/>
                        <a:pt x="171753" y="11246"/>
                        <a:pt x="171753" y="17891"/>
                      </a:cubicBezTo>
                      <a:lnTo>
                        <a:pt x="171753" y="19425"/>
                      </a:lnTo>
                      <a:cubicBezTo>
                        <a:pt x="171753" y="26581"/>
                        <a:pt x="173798" y="29648"/>
                        <a:pt x="180443" y="29648"/>
                      </a:cubicBezTo>
                      <a:cubicBezTo>
                        <a:pt x="182488" y="29648"/>
                        <a:pt x="185044" y="29137"/>
                        <a:pt x="186578" y="28626"/>
                      </a:cubicBezTo>
                      <a:cubicBezTo>
                        <a:pt x="187089" y="28626"/>
                        <a:pt x="187089" y="28115"/>
                        <a:pt x="187089" y="28115"/>
                      </a:cubicBezTo>
                      <a:cubicBezTo>
                        <a:pt x="187089" y="28115"/>
                        <a:pt x="187089" y="27603"/>
                        <a:pt x="187089" y="27092"/>
                      </a:cubicBezTo>
                      <a:lnTo>
                        <a:pt x="186578" y="26070"/>
                      </a:lnTo>
                      <a:cubicBezTo>
                        <a:pt x="186578" y="25559"/>
                        <a:pt x="186066" y="25559"/>
                        <a:pt x="186066" y="25559"/>
                      </a:cubicBezTo>
                      <a:cubicBezTo>
                        <a:pt x="186066" y="25559"/>
                        <a:pt x="185555" y="25559"/>
                        <a:pt x="185555" y="25559"/>
                      </a:cubicBezTo>
                      <a:cubicBezTo>
                        <a:pt x="184533" y="26070"/>
                        <a:pt x="182488" y="26581"/>
                        <a:pt x="180954" y="26581"/>
                      </a:cubicBezTo>
                      <a:cubicBezTo>
                        <a:pt x="176865" y="26581"/>
                        <a:pt x="175843" y="25047"/>
                        <a:pt x="175843" y="20958"/>
                      </a:cubicBezTo>
                      <a:lnTo>
                        <a:pt x="186578" y="20958"/>
                      </a:lnTo>
                      <a:cubicBezTo>
                        <a:pt x="187600" y="20958"/>
                        <a:pt x="187600" y="20447"/>
                        <a:pt x="187600" y="19936"/>
                      </a:cubicBezTo>
                      <a:lnTo>
                        <a:pt x="187600" y="16357"/>
                      </a:lnTo>
                      <a:close/>
                      <a:moveTo>
                        <a:pt x="167153" y="16357"/>
                      </a:moveTo>
                      <a:cubicBezTo>
                        <a:pt x="167153" y="10223"/>
                        <a:pt x="164597" y="8179"/>
                        <a:pt x="159997" y="8179"/>
                      </a:cubicBezTo>
                      <a:cubicBezTo>
                        <a:pt x="157441" y="8179"/>
                        <a:pt x="155396" y="8690"/>
                        <a:pt x="154374" y="9712"/>
                      </a:cubicBezTo>
                      <a:lnTo>
                        <a:pt x="154374" y="1533"/>
                      </a:lnTo>
                      <a:cubicBezTo>
                        <a:pt x="154374" y="1022"/>
                        <a:pt x="154374" y="1022"/>
                        <a:pt x="153351" y="1022"/>
                      </a:cubicBezTo>
                      <a:lnTo>
                        <a:pt x="151307" y="1022"/>
                      </a:lnTo>
                      <a:cubicBezTo>
                        <a:pt x="150796" y="1022"/>
                        <a:pt x="150284" y="1022"/>
                        <a:pt x="150284" y="1533"/>
                      </a:cubicBezTo>
                      <a:lnTo>
                        <a:pt x="150284" y="28626"/>
                      </a:lnTo>
                      <a:cubicBezTo>
                        <a:pt x="150284" y="29137"/>
                        <a:pt x="150284" y="29648"/>
                        <a:pt x="151307" y="29648"/>
                      </a:cubicBezTo>
                      <a:lnTo>
                        <a:pt x="153351" y="29648"/>
                      </a:lnTo>
                      <a:cubicBezTo>
                        <a:pt x="153862" y="29648"/>
                        <a:pt x="154374" y="29648"/>
                        <a:pt x="154374" y="28626"/>
                      </a:cubicBezTo>
                      <a:lnTo>
                        <a:pt x="154374" y="16357"/>
                      </a:lnTo>
                      <a:cubicBezTo>
                        <a:pt x="154374" y="13290"/>
                        <a:pt x="155907" y="11757"/>
                        <a:pt x="158463" y="11757"/>
                      </a:cubicBezTo>
                      <a:cubicBezTo>
                        <a:pt x="161530" y="11757"/>
                        <a:pt x="163063" y="12779"/>
                        <a:pt x="163063" y="16869"/>
                      </a:cubicBezTo>
                      <a:lnTo>
                        <a:pt x="163063" y="29137"/>
                      </a:lnTo>
                      <a:cubicBezTo>
                        <a:pt x="163063" y="29648"/>
                        <a:pt x="163575" y="30159"/>
                        <a:pt x="164086" y="30159"/>
                      </a:cubicBezTo>
                      <a:lnTo>
                        <a:pt x="166131" y="30159"/>
                      </a:lnTo>
                      <a:cubicBezTo>
                        <a:pt x="166642" y="30159"/>
                        <a:pt x="167153" y="30159"/>
                        <a:pt x="167153" y="29137"/>
                      </a:cubicBezTo>
                      <a:lnTo>
                        <a:pt x="167153" y="16357"/>
                      </a:lnTo>
                      <a:close/>
                      <a:moveTo>
                        <a:pt x="145684" y="26070"/>
                      </a:moveTo>
                      <a:cubicBezTo>
                        <a:pt x="145684" y="25559"/>
                        <a:pt x="145172" y="25559"/>
                        <a:pt x="145172" y="25559"/>
                      </a:cubicBezTo>
                      <a:cubicBezTo>
                        <a:pt x="145172" y="25559"/>
                        <a:pt x="144661" y="25559"/>
                        <a:pt x="144661" y="25559"/>
                      </a:cubicBezTo>
                      <a:cubicBezTo>
                        <a:pt x="143639" y="26070"/>
                        <a:pt x="142106" y="26070"/>
                        <a:pt x="140572" y="26070"/>
                      </a:cubicBezTo>
                      <a:cubicBezTo>
                        <a:pt x="139039" y="26070"/>
                        <a:pt x="137505" y="25559"/>
                        <a:pt x="136483" y="24536"/>
                      </a:cubicBezTo>
                      <a:cubicBezTo>
                        <a:pt x="135460" y="23514"/>
                        <a:pt x="135460" y="21980"/>
                        <a:pt x="135460" y="18913"/>
                      </a:cubicBezTo>
                      <a:lnTo>
                        <a:pt x="135460" y="18402"/>
                      </a:lnTo>
                      <a:cubicBezTo>
                        <a:pt x="135460" y="15335"/>
                        <a:pt x="135460" y="13802"/>
                        <a:pt x="136994" y="12268"/>
                      </a:cubicBezTo>
                      <a:cubicBezTo>
                        <a:pt x="138016" y="11757"/>
                        <a:pt x="139039" y="11246"/>
                        <a:pt x="140572" y="11246"/>
                      </a:cubicBezTo>
                      <a:cubicBezTo>
                        <a:pt x="142106" y="11246"/>
                        <a:pt x="143639" y="11757"/>
                        <a:pt x="145172" y="12779"/>
                      </a:cubicBezTo>
                      <a:cubicBezTo>
                        <a:pt x="145172" y="12779"/>
                        <a:pt x="145684" y="12779"/>
                        <a:pt x="145684" y="12779"/>
                      </a:cubicBezTo>
                      <a:cubicBezTo>
                        <a:pt x="145684" y="12779"/>
                        <a:pt x="146195" y="12779"/>
                        <a:pt x="146195" y="12268"/>
                      </a:cubicBezTo>
                      <a:lnTo>
                        <a:pt x="146706" y="11246"/>
                      </a:lnTo>
                      <a:cubicBezTo>
                        <a:pt x="147217" y="10735"/>
                        <a:pt x="147217" y="10223"/>
                        <a:pt x="147217" y="10223"/>
                      </a:cubicBezTo>
                      <a:cubicBezTo>
                        <a:pt x="147217" y="10223"/>
                        <a:pt x="147217" y="9712"/>
                        <a:pt x="146706" y="9712"/>
                      </a:cubicBezTo>
                      <a:cubicBezTo>
                        <a:pt x="145172" y="8690"/>
                        <a:pt x="142617" y="8179"/>
                        <a:pt x="140572" y="8179"/>
                      </a:cubicBezTo>
                      <a:cubicBezTo>
                        <a:pt x="138016" y="8179"/>
                        <a:pt x="135971" y="8690"/>
                        <a:pt x="134438" y="10223"/>
                      </a:cubicBezTo>
                      <a:cubicBezTo>
                        <a:pt x="132905" y="11757"/>
                        <a:pt x="132393" y="13802"/>
                        <a:pt x="132393" y="17891"/>
                      </a:cubicBezTo>
                      <a:lnTo>
                        <a:pt x="132393" y="19425"/>
                      </a:lnTo>
                      <a:cubicBezTo>
                        <a:pt x="132393" y="23003"/>
                        <a:pt x="132905" y="26070"/>
                        <a:pt x="134949" y="27603"/>
                      </a:cubicBezTo>
                      <a:cubicBezTo>
                        <a:pt x="135971" y="28626"/>
                        <a:pt x="138527" y="29648"/>
                        <a:pt x="141083" y="29648"/>
                      </a:cubicBezTo>
                      <a:cubicBezTo>
                        <a:pt x="143128" y="29648"/>
                        <a:pt x="145172" y="29137"/>
                        <a:pt x="146706" y="28626"/>
                      </a:cubicBezTo>
                      <a:cubicBezTo>
                        <a:pt x="147217" y="28626"/>
                        <a:pt x="147217" y="28115"/>
                        <a:pt x="147217" y="28115"/>
                      </a:cubicBezTo>
                      <a:cubicBezTo>
                        <a:pt x="147217" y="28115"/>
                        <a:pt x="147217" y="27603"/>
                        <a:pt x="147217" y="27092"/>
                      </a:cubicBezTo>
                      <a:lnTo>
                        <a:pt x="145684" y="26070"/>
                      </a:lnTo>
                      <a:close/>
                      <a:moveTo>
                        <a:pt x="120636" y="29648"/>
                      </a:moveTo>
                      <a:cubicBezTo>
                        <a:pt x="125748" y="29648"/>
                        <a:pt x="128304" y="27603"/>
                        <a:pt x="128304" y="23514"/>
                      </a:cubicBezTo>
                      <a:lnTo>
                        <a:pt x="128304" y="23003"/>
                      </a:lnTo>
                      <a:cubicBezTo>
                        <a:pt x="128304" y="19425"/>
                        <a:pt x="126770" y="17891"/>
                        <a:pt x="123192" y="16869"/>
                      </a:cubicBezTo>
                      <a:lnTo>
                        <a:pt x="121148" y="16357"/>
                      </a:lnTo>
                      <a:cubicBezTo>
                        <a:pt x="118592" y="15846"/>
                        <a:pt x="118080" y="15335"/>
                        <a:pt x="118080" y="13802"/>
                      </a:cubicBezTo>
                      <a:lnTo>
                        <a:pt x="118080" y="13802"/>
                      </a:lnTo>
                      <a:cubicBezTo>
                        <a:pt x="118080" y="12268"/>
                        <a:pt x="119103" y="11246"/>
                        <a:pt x="121659" y="11246"/>
                      </a:cubicBezTo>
                      <a:cubicBezTo>
                        <a:pt x="122681" y="11246"/>
                        <a:pt x="124726" y="11246"/>
                        <a:pt x="125237" y="11757"/>
                      </a:cubicBezTo>
                      <a:cubicBezTo>
                        <a:pt x="125748" y="11757"/>
                        <a:pt x="125748" y="11757"/>
                        <a:pt x="126259" y="11757"/>
                      </a:cubicBezTo>
                      <a:cubicBezTo>
                        <a:pt x="126770" y="11757"/>
                        <a:pt x="126770" y="11757"/>
                        <a:pt x="126770" y="11246"/>
                      </a:cubicBezTo>
                      <a:lnTo>
                        <a:pt x="126770" y="10223"/>
                      </a:lnTo>
                      <a:cubicBezTo>
                        <a:pt x="126770" y="9712"/>
                        <a:pt x="127281" y="9201"/>
                        <a:pt x="127281" y="9201"/>
                      </a:cubicBezTo>
                      <a:cubicBezTo>
                        <a:pt x="127281" y="8690"/>
                        <a:pt x="127281" y="8690"/>
                        <a:pt x="126770" y="8690"/>
                      </a:cubicBezTo>
                      <a:cubicBezTo>
                        <a:pt x="125237" y="8179"/>
                        <a:pt x="123704" y="8179"/>
                        <a:pt x="121659" y="8179"/>
                      </a:cubicBezTo>
                      <a:cubicBezTo>
                        <a:pt x="117058" y="8179"/>
                        <a:pt x="114502" y="10223"/>
                        <a:pt x="114502" y="13802"/>
                      </a:cubicBezTo>
                      <a:lnTo>
                        <a:pt x="114502" y="14313"/>
                      </a:lnTo>
                      <a:cubicBezTo>
                        <a:pt x="114502" y="17891"/>
                        <a:pt x="115525" y="18913"/>
                        <a:pt x="119614" y="19936"/>
                      </a:cubicBezTo>
                      <a:lnTo>
                        <a:pt x="121659" y="20447"/>
                      </a:lnTo>
                      <a:cubicBezTo>
                        <a:pt x="123704" y="20958"/>
                        <a:pt x="124726" y="21469"/>
                        <a:pt x="124726" y="23514"/>
                      </a:cubicBezTo>
                      <a:lnTo>
                        <a:pt x="124726" y="23514"/>
                      </a:lnTo>
                      <a:cubicBezTo>
                        <a:pt x="124726" y="25559"/>
                        <a:pt x="123704" y="26581"/>
                        <a:pt x="120636" y="26581"/>
                      </a:cubicBezTo>
                      <a:cubicBezTo>
                        <a:pt x="119103" y="26581"/>
                        <a:pt x="117569" y="26581"/>
                        <a:pt x="116547" y="26070"/>
                      </a:cubicBezTo>
                      <a:cubicBezTo>
                        <a:pt x="115525" y="26070"/>
                        <a:pt x="115525" y="25559"/>
                        <a:pt x="115014" y="25559"/>
                      </a:cubicBezTo>
                      <a:cubicBezTo>
                        <a:pt x="115014" y="25559"/>
                        <a:pt x="114502" y="25559"/>
                        <a:pt x="114502" y="26070"/>
                      </a:cubicBezTo>
                      <a:lnTo>
                        <a:pt x="114502" y="26581"/>
                      </a:lnTo>
                      <a:cubicBezTo>
                        <a:pt x="114502" y="27092"/>
                        <a:pt x="113991" y="27603"/>
                        <a:pt x="113991" y="27603"/>
                      </a:cubicBezTo>
                      <a:cubicBezTo>
                        <a:pt x="113991" y="28115"/>
                        <a:pt x="113991" y="28115"/>
                        <a:pt x="114502" y="28115"/>
                      </a:cubicBezTo>
                      <a:cubicBezTo>
                        <a:pt x="116036" y="29137"/>
                        <a:pt x="118592" y="29648"/>
                        <a:pt x="120636" y="29648"/>
                      </a:cubicBezTo>
                      <a:moveTo>
                        <a:pt x="108368" y="2045"/>
                      </a:moveTo>
                      <a:cubicBezTo>
                        <a:pt x="108368" y="511"/>
                        <a:pt x="107857" y="0"/>
                        <a:pt x="106324" y="0"/>
                      </a:cubicBezTo>
                      <a:lnTo>
                        <a:pt x="105813" y="0"/>
                      </a:lnTo>
                      <a:cubicBezTo>
                        <a:pt x="104790" y="0"/>
                        <a:pt x="103768" y="511"/>
                        <a:pt x="103768" y="2045"/>
                      </a:cubicBezTo>
                      <a:lnTo>
                        <a:pt x="103768" y="2556"/>
                      </a:lnTo>
                      <a:cubicBezTo>
                        <a:pt x="103768" y="4089"/>
                        <a:pt x="104279" y="4601"/>
                        <a:pt x="105813" y="4601"/>
                      </a:cubicBezTo>
                      <a:lnTo>
                        <a:pt x="106324" y="4601"/>
                      </a:lnTo>
                      <a:cubicBezTo>
                        <a:pt x="107857" y="4601"/>
                        <a:pt x="108368" y="4089"/>
                        <a:pt x="108368" y="2556"/>
                      </a:cubicBezTo>
                      <a:lnTo>
                        <a:pt x="108368" y="2045"/>
                      </a:lnTo>
                      <a:close/>
                      <a:moveTo>
                        <a:pt x="101212" y="2045"/>
                      </a:moveTo>
                      <a:cubicBezTo>
                        <a:pt x="101212" y="511"/>
                        <a:pt x="100701" y="0"/>
                        <a:pt x="99167" y="0"/>
                      </a:cubicBezTo>
                      <a:lnTo>
                        <a:pt x="98656" y="0"/>
                      </a:lnTo>
                      <a:cubicBezTo>
                        <a:pt x="97634" y="0"/>
                        <a:pt x="96611" y="511"/>
                        <a:pt x="96611" y="2045"/>
                      </a:cubicBezTo>
                      <a:lnTo>
                        <a:pt x="96611" y="2556"/>
                      </a:lnTo>
                      <a:cubicBezTo>
                        <a:pt x="96611" y="4089"/>
                        <a:pt x="97123" y="4601"/>
                        <a:pt x="98656" y="4601"/>
                      </a:cubicBezTo>
                      <a:lnTo>
                        <a:pt x="99167" y="4601"/>
                      </a:lnTo>
                      <a:cubicBezTo>
                        <a:pt x="100701" y="4601"/>
                        <a:pt x="101212" y="4089"/>
                        <a:pt x="101212" y="2556"/>
                      </a:cubicBezTo>
                      <a:lnTo>
                        <a:pt x="101212" y="2045"/>
                      </a:lnTo>
                      <a:close/>
                      <a:moveTo>
                        <a:pt x="105813" y="23003"/>
                      </a:moveTo>
                      <a:cubicBezTo>
                        <a:pt x="105813" y="25559"/>
                        <a:pt x="104790" y="26581"/>
                        <a:pt x="101723" y="26581"/>
                      </a:cubicBezTo>
                      <a:lnTo>
                        <a:pt x="100189" y="26581"/>
                      </a:lnTo>
                      <a:cubicBezTo>
                        <a:pt x="98145" y="26581"/>
                        <a:pt x="97123" y="25559"/>
                        <a:pt x="97123" y="23514"/>
                      </a:cubicBezTo>
                      <a:lnTo>
                        <a:pt x="97123" y="23003"/>
                      </a:lnTo>
                      <a:cubicBezTo>
                        <a:pt x="97123" y="20447"/>
                        <a:pt x="98145" y="19936"/>
                        <a:pt x="101212" y="19936"/>
                      </a:cubicBezTo>
                      <a:lnTo>
                        <a:pt x="103257" y="19936"/>
                      </a:lnTo>
                      <a:cubicBezTo>
                        <a:pt x="103768" y="19936"/>
                        <a:pt x="104790" y="19936"/>
                        <a:pt x="105301" y="19936"/>
                      </a:cubicBezTo>
                      <a:lnTo>
                        <a:pt x="105301" y="23003"/>
                      </a:lnTo>
                      <a:close/>
                      <a:moveTo>
                        <a:pt x="106835" y="28626"/>
                      </a:moveTo>
                      <a:cubicBezTo>
                        <a:pt x="106835" y="29137"/>
                        <a:pt x="107346" y="29137"/>
                        <a:pt x="107857" y="29137"/>
                      </a:cubicBezTo>
                      <a:lnTo>
                        <a:pt x="109390" y="29137"/>
                      </a:lnTo>
                      <a:cubicBezTo>
                        <a:pt x="109902" y="29137"/>
                        <a:pt x="109902" y="29137"/>
                        <a:pt x="109902" y="28626"/>
                      </a:cubicBezTo>
                      <a:lnTo>
                        <a:pt x="109902" y="15335"/>
                      </a:lnTo>
                      <a:cubicBezTo>
                        <a:pt x="109902" y="10223"/>
                        <a:pt x="107346" y="8179"/>
                        <a:pt x="102234" y="8179"/>
                      </a:cubicBezTo>
                      <a:cubicBezTo>
                        <a:pt x="100189" y="8179"/>
                        <a:pt x="97634" y="8690"/>
                        <a:pt x="96100" y="9201"/>
                      </a:cubicBezTo>
                      <a:cubicBezTo>
                        <a:pt x="95589" y="9201"/>
                        <a:pt x="95589" y="9712"/>
                        <a:pt x="95589" y="9712"/>
                      </a:cubicBezTo>
                      <a:cubicBezTo>
                        <a:pt x="95589" y="9712"/>
                        <a:pt x="95589" y="10223"/>
                        <a:pt x="95589" y="10735"/>
                      </a:cubicBezTo>
                      <a:lnTo>
                        <a:pt x="95589" y="11757"/>
                      </a:lnTo>
                      <a:cubicBezTo>
                        <a:pt x="95589" y="12268"/>
                        <a:pt x="95589" y="12268"/>
                        <a:pt x="96100" y="12268"/>
                      </a:cubicBezTo>
                      <a:cubicBezTo>
                        <a:pt x="96100" y="12268"/>
                        <a:pt x="96611" y="12268"/>
                        <a:pt x="97123" y="12268"/>
                      </a:cubicBezTo>
                      <a:cubicBezTo>
                        <a:pt x="98656" y="11757"/>
                        <a:pt x="100189" y="11757"/>
                        <a:pt x="101723" y="11757"/>
                      </a:cubicBezTo>
                      <a:cubicBezTo>
                        <a:pt x="104790" y="11757"/>
                        <a:pt x="105813" y="12268"/>
                        <a:pt x="105813" y="15335"/>
                      </a:cubicBezTo>
                      <a:lnTo>
                        <a:pt x="105813" y="16869"/>
                      </a:lnTo>
                      <a:cubicBezTo>
                        <a:pt x="105301" y="16869"/>
                        <a:pt x="104279" y="16869"/>
                        <a:pt x="103257" y="16869"/>
                      </a:cubicBezTo>
                      <a:lnTo>
                        <a:pt x="102234" y="16869"/>
                      </a:lnTo>
                      <a:cubicBezTo>
                        <a:pt x="98656" y="16869"/>
                        <a:pt x="97123" y="17380"/>
                        <a:pt x="95589" y="18402"/>
                      </a:cubicBezTo>
                      <a:cubicBezTo>
                        <a:pt x="94055" y="19425"/>
                        <a:pt x="93544" y="20958"/>
                        <a:pt x="93544" y="23514"/>
                      </a:cubicBezTo>
                      <a:lnTo>
                        <a:pt x="93544" y="24025"/>
                      </a:lnTo>
                      <a:cubicBezTo>
                        <a:pt x="93544" y="27603"/>
                        <a:pt x="95589" y="30159"/>
                        <a:pt x="99678" y="30159"/>
                      </a:cubicBezTo>
                      <a:lnTo>
                        <a:pt x="101212" y="30159"/>
                      </a:lnTo>
                      <a:cubicBezTo>
                        <a:pt x="103768" y="30159"/>
                        <a:pt x="105301" y="29648"/>
                        <a:pt x="106324" y="28115"/>
                      </a:cubicBezTo>
                      <a:lnTo>
                        <a:pt x="106324" y="28115"/>
                      </a:lnTo>
                      <a:lnTo>
                        <a:pt x="106835" y="28626"/>
                      </a:lnTo>
                      <a:close/>
                      <a:moveTo>
                        <a:pt x="84343" y="9201"/>
                      </a:moveTo>
                      <a:cubicBezTo>
                        <a:pt x="84343" y="8690"/>
                        <a:pt x="83832" y="8690"/>
                        <a:pt x="83321" y="8690"/>
                      </a:cubicBezTo>
                      <a:lnTo>
                        <a:pt x="81787" y="8690"/>
                      </a:lnTo>
                      <a:cubicBezTo>
                        <a:pt x="81276" y="8690"/>
                        <a:pt x="81276" y="8690"/>
                        <a:pt x="81276" y="9201"/>
                      </a:cubicBezTo>
                      <a:lnTo>
                        <a:pt x="81276" y="28626"/>
                      </a:lnTo>
                      <a:cubicBezTo>
                        <a:pt x="81276" y="29137"/>
                        <a:pt x="81276" y="29648"/>
                        <a:pt x="82298" y="29648"/>
                      </a:cubicBezTo>
                      <a:lnTo>
                        <a:pt x="84343" y="29648"/>
                      </a:lnTo>
                      <a:cubicBezTo>
                        <a:pt x="84854" y="29648"/>
                        <a:pt x="85366" y="29648"/>
                        <a:pt x="85366" y="28626"/>
                      </a:cubicBezTo>
                      <a:lnTo>
                        <a:pt x="85366" y="16869"/>
                      </a:lnTo>
                      <a:cubicBezTo>
                        <a:pt x="85366" y="15335"/>
                        <a:pt x="85877" y="13802"/>
                        <a:pt x="86388" y="13290"/>
                      </a:cubicBezTo>
                      <a:cubicBezTo>
                        <a:pt x="86899" y="12268"/>
                        <a:pt x="87922" y="12268"/>
                        <a:pt x="89966" y="12268"/>
                      </a:cubicBezTo>
                      <a:lnTo>
                        <a:pt x="90988" y="12268"/>
                      </a:lnTo>
                      <a:cubicBezTo>
                        <a:pt x="91499" y="12268"/>
                        <a:pt x="92011" y="12268"/>
                        <a:pt x="92011" y="11757"/>
                      </a:cubicBezTo>
                      <a:lnTo>
                        <a:pt x="92011" y="9712"/>
                      </a:lnTo>
                      <a:cubicBezTo>
                        <a:pt x="92011" y="9201"/>
                        <a:pt x="92011" y="9201"/>
                        <a:pt x="90988" y="9201"/>
                      </a:cubicBezTo>
                      <a:lnTo>
                        <a:pt x="89966" y="9201"/>
                      </a:lnTo>
                      <a:cubicBezTo>
                        <a:pt x="87410" y="9201"/>
                        <a:pt x="85877" y="10223"/>
                        <a:pt x="84854" y="11757"/>
                      </a:cubicBezTo>
                      <a:lnTo>
                        <a:pt x="84854" y="11757"/>
                      </a:lnTo>
                      <a:lnTo>
                        <a:pt x="84343" y="9201"/>
                      </a:lnTo>
                      <a:close/>
                      <a:moveTo>
                        <a:pt x="63385" y="31693"/>
                      </a:moveTo>
                      <a:lnTo>
                        <a:pt x="63385" y="9201"/>
                      </a:lnTo>
                      <a:cubicBezTo>
                        <a:pt x="63385" y="5112"/>
                        <a:pt x="64407" y="4089"/>
                        <a:pt x="67986" y="4089"/>
                      </a:cubicBezTo>
                      <a:cubicBezTo>
                        <a:pt x="71053" y="4089"/>
                        <a:pt x="72075" y="5623"/>
                        <a:pt x="72075" y="8179"/>
                      </a:cubicBezTo>
                      <a:lnTo>
                        <a:pt x="72075" y="8690"/>
                      </a:lnTo>
                      <a:cubicBezTo>
                        <a:pt x="72075" y="11757"/>
                        <a:pt x="70542" y="13290"/>
                        <a:pt x="67475" y="13290"/>
                      </a:cubicBezTo>
                      <a:lnTo>
                        <a:pt x="66963" y="13290"/>
                      </a:lnTo>
                      <a:cubicBezTo>
                        <a:pt x="66452" y="13290"/>
                        <a:pt x="66452" y="13290"/>
                        <a:pt x="66452" y="13802"/>
                      </a:cubicBezTo>
                      <a:lnTo>
                        <a:pt x="66452" y="15846"/>
                      </a:lnTo>
                      <a:cubicBezTo>
                        <a:pt x="66452" y="16357"/>
                        <a:pt x="66452" y="16357"/>
                        <a:pt x="66963" y="16357"/>
                      </a:cubicBezTo>
                      <a:lnTo>
                        <a:pt x="68497" y="16357"/>
                      </a:lnTo>
                      <a:cubicBezTo>
                        <a:pt x="72075" y="16357"/>
                        <a:pt x="74120" y="17380"/>
                        <a:pt x="74120" y="20958"/>
                      </a:cubicBezTo>
                      <a:lnTo>
                        <a:pt x="74120" y="21469"/>
                      </a:lnTo>
                      <a:cubicBezTo>
                        <a:pt x="74120" y="25047"/>
                        <a:pt x="73097" y="26581"/>
                        <a:pt x="69519" y="26581"/>
                      </a:cubicBezTo>
                      <a:cubicBezTo>
                        <a:pt x="67986" y="26581"/>
                        <a:pt x="66963" y="26070"/>
                        <a:pt x="66452" y="26070"/>
                      </a:cubicBezTo>
                      <a:cubicBezTo>
                        <a:pt x="65941" y="26070"/>
                        <a:pt x="65941" y="26070"/>
                        <a:pt x="65941" y="26581"/>
                      </a:cubicBezTo>
                      <a:lnTo>
                        <a:pt x="65941" y="27603"/>
                      </a:lnTo>
                      <a:cubicBezTo>
                        <a:pt x="65941" y="28115"/>
                        <a:pt x="65941" y="28626"/>
                        <a:pt x="65941" y="28626"/>
                      </a:cubicBezTo>
                      <a:cubicBezTo>
                        <a:pt x="65941" y="29137"/>
                        <a:pt x="65941" y="29137"/>
                        <a:pt x="66452" y="29137"/>
                      </a:cubicBezTo>
                      <a:cubicBezTo>
                        <a:pt x="67475" y="29137"/>
                        <a:pt x="69008" y="29648"/>
                        <a:pt x="70542" y="29648"/>
                      </a:cubicBezTo>
                      <a:cubicBezTo>
                        <a:pt x="75653" y="29648"/>
                        <a:pt x="78720" y="27092"/>
                        <a:pt x="78720" y="21469"/>
                      </a:cubicBezTo>
                      <a:lnTo>
                        <a:pt x="78720" y="20958"/>
                      </a:lnTo>
                      <a:cubicBezTo>
                        <a:pt x="78720" y="17380"/>
                        <a:pt x="77187" y="14824"/>
                        <a:pt x="73608" y="14313"/>
                      </a:cubicBezTo>
                      <a:lnTo>
                        <a:pt x="73608" y="14313"/>
                      </a:lnTo>
                      <a:cubicBezTo>
                        <a:pt x="75653" y="13290"/>
                        <a:pt x="77187" y="11246"/>
                        <a:pt x="77187" y="8179"/>
                      </a:cubicBezTo>
                      <a:lnTo>
                        <a:pt x="77187" y="7668"/>
                      </a:lnTo>
                      <a:cubicBezTo>
                        <a:pt x="77187" y="3067"/>
                        <a:pt x="74120" y="1022"/>
                        <a:pt x="69008" y="1022"/>
                      </a:cubicBezTo>
                      <a:cubicBezTo>
                        <a:pt x="63385" y="1022"/>
                        <a:pt x="60829" y="3067"/>
                        <a:pt x="60829" y="9201"/>
                      </a:cubicBezTo>
                      <a:lnTo>
                        <a:pt x="60829" y="32715"/>
                      </a:lnTo>
                      <a:cubicBezTo>
                        <a:pt x="60829" y="33226"/>
                        <a:pt x="60829" y="33226"/>
                        <a:pt x="61852" y="33226"/>
                      </a:cubicBezTo>
                      <a:lnTo>
                        <a:pt x="63896" y="33226"/>
                      </a:lnTo>
                      <a:cubicBezTo>
                        <a:pt x="62874" y="32204"/>
                        <a:pt x="63385" y="32204"/>
                        <a:pt x="63385" y="31693"/>
                      </a:cubicBezTo>
                      <a:moveTo>
                        <a:pt x="54695" y="17891"/>
                      </a:moveTo>
                      <a:cubicBezTo>
                        <a:pt x="54695" y="14313"/>
                        <a:pt x="54184" y="11757"/>
                        <a:pt x="52651" y="10223"/>
                      </a:cubicBezTo>
                      <a:cubicBezTo>
                        <a:pt x="51117" y="8690"/>
                        <a:pt x="49072" y="8179"/>
                        <a:pt x="46005" y="8179"/>
                      </a:cubicBezTo>
                      <a:cubicBezTo>
                        <a:pt x="43450" y="8179"/>
                        <a:pt x="40894" y="8690"/>
                        <a:pt x="39360" y="10223"/>
                      </a:cubicBezTo>
                      <a:cubicBezTo>
                        <a:pt x="37826" y="11757"/>
                        <a:pt x="37315" y="14313"/>
                        <a:pt x="37315" y="17891"/>
                      </a:cubicBezTo>
                      <a:lnTo>
                        <a:pt x="37315" y="19425"/>
                      </a:lnTo>
                      <a:cubicBezTo>
                        <a:pt x="37315" y="23003"/>
                        <a:pt x="37826" y="25559"/>
                        <a:pt x="39360" y="27092"/>
                      </a:cubicBezTo>
                      <a:cubicBezTo>
                        <a:pt x="40894" y="28626"/>
                        <a:pt x="42938" y="29137"/>
                        <a:pt x="46005" y="29137"/>
                      </a:cubicBezTo>
                      <a:cubicBezTo>
                        <a:pt x="48561" y="29137"/>
                        <a:pt x="51117" y="28626"/>
                        <a:pt x="52651" y="27092"/>
                      </a:cubicBezTo>
                      <a:cubicBezTo>
                        <a:pt x="54184" y="25559"/>
                        <a:pt x="54695" y="23003"/>
                        <a:pt x="54695" y="19425"/>
                      </a:cubicBezTo>
                      <a:lnTo>
                        <a:pt x="54695" y="17891"/>
                      </a:lnTo>
                      <a:close/>
                      <a:moveTo>
                        <a:pt x="51117" y="18402"/>
                      </a:moveTo>
                      <a:lnTo>
                        <a:pt x="51117" y="19425"/>
                      </a:lnTo>
                      <a:cubicBezTo>
                        <a:pt x="51117" y="21980"/>
                        <a:pt x="51117" y="23514"/>
                        <a:pt x="50606" y="24536"/>
                      </a:cubicBezTo>
                      <a:cubicBezTo>
                        <a:pt x="50095" y="26070"/>
                        <a:pt x="48561" y="26581"/>
                        <a:pt x="46516" y="26581"/>
                      </a:cubicBezTo>
                      <a:cubicBezTo>
                        <a:pt x="44472" y="26581"/>
                        <a:pt x="43450" y="26070"/>
                        <a:pt x="42427" y="24536"/>
                      </a:cubicBezTo>
                      <a:cubicBezTo>
                        <a:pt x="41916" y="23514"/>
                        <a:pt x="41916" y="21980"/>
                        <a:pt x="41916" y="19425"/>
                      </a:cubicBezTo>
                      <a:lnTo>
                        <a:pt x="41916" y="18402"/>
                      </a:lnTo>
                      <a:cubicBezTo>
                        <a:pt x="41916" y="15846"/>
                        <a:pt x="41916" y="14313"/>
                        <a:pt x="42427" y="13290"/>
                      </a:cubicBezTo>
                      <a:cubicBezTo>
                        <a:pt x="42938" y="11757"/>
                        <a:pt x="44472" y="11246"/>
                        <a:pt x="46516" y="11246"/>
                      </a:cubicBezTo>
                      <a:cubicBezTo>
                        <a:pt x="48561" y="11246"/>
                        <a:pt x="49584" y="11757"/>
                        <a:pt x="50606" y="13290"/>
                      </a:cubicBezTo>
                      <a:cubicBezTo>
                        <a:pt x="50606" y="14313"/>
                        <a:pt x="51117" y="15846"/>
                        <a:pt x="51117" y="18402"/>
                      </a:cubicBezTo>
                      <a:moveTo>
                        <a:pt x="28114" y="9201"/>
                      </a:moveTo>
                      <a:cubicBezTo>
                        <a:pt x="28114" y="8690"/>
                        <a:pt x="27603" y="8690"/>
                        <a:pt x="27092" y="8690"/>
                      </a:cubicBezTo>
                      <a:lnTo>
                        <a:pt x="25559" y="8690"/>
                      </a:lnTo>
                      <a:cubicBezTo>
                        <a:pt x="25047" y="8690"/>
                        <a:pt x="25047" y="8690"/>
                        <a:pt x="25047" y="9201"/>
                      </a:cubicBezTo>
                      <a:lnTo>
                        <a:pt x="25047" y="28626"/>
                      </a:lnTo>
                      <a:cubicBezTo>
                        <a:pt x="25047" y="29137"/>
                        <a:pt x="25559" y="29648"/>
                        <a:pt x="26070" y="29648"/>
                      </a:cubicBezTo>
                      <a:lnTo>
                        <a:pt x="28114" y="29648"/>
                      </a:lnTo>
                      <a:cubicBezTo>
                        <a:pt x="28625" y="29648"/>
                        <a:pt x="29137" y="29648"/>
                        <a:pt x="29137" y="28626"/>
                      </a:cubicBezTo>
                      <a:lnTo>
                        <a:pt x="29137" y="16869"/>
                      </a:lnTo>
                      <a:cubicBezTo>
                        <a:pt x="29137" y="15335"/>
                        <a:pt x="29137" y="13802"/>
                        <a:pt x="30159" y="13290"/>
                      </a:cubicBezTo>
                      <a:cubicBezTo>
                        <a:pt x="30670" y="12268"/>
                        <a:pt x="31693" y="12268"/>
                        <a:pt x="33737" y="12268"/>
                      </a:cubicBezTo>
                      <a:lnTo>
                        <a:pt x="34760" y="12268"/>
                      </a:lnTo>
                      <a:cubicBezTo>
                        <a:pt x="35271" y="12268"/>
                        <a:pt x="35782" y="12268"/>
                        <a:pt x="35782" y="11757"/>
                      </a:cubicBezTo>
                      <a:lnTo>
                        <a:pt x="35782" y="9712"/>
                      </a:lnTo>
                      <a:cubicBezTo>
                        <a:pt x="35782" y="9201"/>
                        <a:pt x="35782" y="9201"/>
                        <a:pt x="34760" y="9201"/>
                      </a:cubicBezTo>
                      <a:lnTo>
                        <a:pt x="33737" y="9201"/>
                      </a:lnTo>
                      <a:cubicBezTo>
                        <a:pt x="31181" y="9201"/>
                        <a:pt x="29648" y="10223"/>
                        <a:pt x="28625" y="11757"/>
                      </a:cubicBezTo>
                      <a:lnTo>
                        <a:pt x="28625" y="11757"/>
                      </a:lnTo>
                      <a:lnTo>
                        <a:pt x="28114" y="9201"/>
                      </a:lnTo>
                      <a:close/>
                      <a:moveTo>
                        <a:pt x="18913" y="3067"/>
                      </a:moveTo>
                      <a:cubicBezTo>
                        <a:pt x="16869" y="2045"/>
                        <a:pt x="14313" y="1533"/>
                        <a:pt x="11757" y="1533"/>
                      </a:cubicBezTo>
                      <a:cubicBezTo>
                        <a:pt x="8179" y="1533"/>
                        <a:pt x="5623" y="2045"/>
                        <a:pt x="4089" y="3578"/>
                      </a:cubicBezTo>
                      <a:cubicBezTo>
                        <a:pt x="1533" y="5623"/>
                        <a:pt x="0" y="9201"/>
                        <a:pt x="0" y="14313"/>
                      </a:cubicBezTo>
                      <a:lnTo>
                        <a:pt x="0" y="16357"/>
                      </a:lnTo>
                      <a:cubicBezTo>
                        <a:pt x="0" y="26070"/>
                        <a:pt x="2556" y="29648"/>
                        <a:pt x="11246" y="29648"/>
                      </a:cubicBezTo>
                      <a:cubicBezTo>
                        <a:pt x="13802" y="29648"/>
                        <a:pt x="16869" y="29137"/>
                        <a:pt x="18913" y="28626"/>
                      </a:cubicBezTo>
                      <a:cubicBezTo>
                        <a:pt x="19935" y="28626"/>
                        <a:pt x="19935" y="28115"/>
                        <a:pt x="19935" y="27092"/>
                      </a:cubicBezTo>
                      <a:lnTo>
                        <a:pt x="19935" y="14824"/>
                      </a:lnTo>
                      <a:cubicBezTo>
                        <a:pt x="19935" y="14313"/>
                        <a:pt x="19935" y="13802"/>
                        <a:pt x="18913" y="13802"/>
                      </a:cubicBezTo>
                      <a:lnTo>
                        <a:pt x="12268" y="13802"/>
                      </a:lnTo>
                      <a:cubicBezTo>
                        <a:pt x="11757" y="13802"/>
                        <a:pt x="11246" y="13802"/>
                        <a:pt x="11246" y="14824"/>
                      </a:cubicBezTo>
                      <a:lnTo>
                        <a:pt x="11246" y="16869"/>
                      </a:lnTo>
                      <a:cubicBezTo>
                        <a:pt x="11246" y="17380"/>
                        <a:pt x="11246" y="17380"/>
                        <a:pt x="12268" y="17380"/>
                      </a:cubicBezTo>
                      <a:lnTo>
                        <a:pt x="15846" y="17380"/>
                      </a:lnTo>
                      <a:lnTo>
                        <a:pt x="15846" y="25047"/>
                      </a:lnTo>
                      <a:cubicBezTo>
                        <a:pt x="15846" y="25559"/>
                        <a:pt x="15846" y="25559"/>
                        <a:pt x="15335" y="25559"/>
                      </a:cubicBezTo>
                      <a:cubicBezTo>
                        <a:pt x="14313" y="25559"/>
                        <a:pt x="12779" y="25559"/>
                        <a:pt x="11246" y="25559"/>
                      </a:cubicBezTo>
                      <a:cubicBezTo>
                        <a:pt x="6134" y="25559"/>
                        <a:pt x="4089" y="23514"/>
                        <a:pt x="4089" y="15335"/>
                      </a:cubicBezTo>
                      <a:lnTo>
                        <a:pt x="4089" y="14313"/>
                      </a:lnTo>
                      <a:cubicBezTo>
                        <a:pt x="4089" y="6645"/>
                        <a:pt x="6134" y="4089"/>
                        <a:pt x="11246" y="4089"/>
                      </a:cubicBezTo>
                      <a:cubicBezTo>
                        <a:pt x="13290" y="4089"/>
                        <a:pt x="15846" y="4601"/>
                        <a:pt x="17380" y="5112"/>
                      </a:cubicBezTo>
                      <a:cubicBezTo>
                        <a:pt x="17891" y="5112"/>
                        <a:pt x="18402" y="5112"/>
                        <a:pt x="18402" y="4601"/>
                      </a:cubicBezTo>
                      <a:lnTo>
                        <a:pt x="18913" y="3578"/>
                      </a:lnTo>
                      <a:cubicBezTo>
                        <a:pt x="18913" y="3067"/>
                        <a:pt x="19424" y="2556"/>
                        <a:pt x="19424" y="2556"/>
                      </a:cubicBezTo>
                      <a:cubicBezTo>
                        <a:pt x="19424" y="3067"/>
                        <a:pt x="19424" y="3067"/>
                        <a:pt x="18913" y="3067"/>
                      </a:cubicBezTo>
                    </a:path>
                  </a:pathLst>
                </a:custGeom>
                <a:solidFill>
                  <a:srgbClr val="DBD9D5"/>
                </a:solidFill>
                <a:ln w="5059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de-DE"/>
                </a:p>
              </p:txBody>
            </p:sp>
          </p:grpSp>
          <p:sp>
            <p:nvSpPr>
              <p:cNvPr id="97" name="Freihandform: Form 96">
                <a:extLst>
                  <a:ext uri="{FF2B5EF4-FFF2-40B4-BE49-F238E27FC236}">
                    <a16:creationId xmlns:a16="http://schemas.microsoft.com/office/drawing/2014/main" id="{237CA211-49AE-40FA-8E12-D85EEABFFADD}"/>
                  </a:ext>
                </a:extLst>
              </p:cNvPr>
              <p:cNvSpPr/>
              <p:nvPr/>
            </p:nvSpPr>
            <p:spPr>
              <a:xfrm>
                <a:off x="7276909" y="1256623"/>
                <a:ext cx="221848" cy="51628"/>
              </a:xfrm>
              <a:custGeom>
                <a:avLst/>
                <a:gdLst>
                  <a:gd name="connsiteX0" fmla="*/ 0 w 221848"/>
                  <a:gd name="connsiteY0" fmla="*/ 0 h 51628"/>
                  <a:gd name="connsiteX1" fmla="*/ 221848 w 221848"/>
                  <a:gd name="connsiteY1" fmla="*/ 0 h 51628"/>
                  <a:gd name="connsiteX2" fmla="*/ 221848 w 221848"/>
                  <a:gd name="connsiteY2" fmla="*/ 51629 h 51628"/>
                  <a:gd name="connsiteX3" fmla="*/ 0 w 221848"/>
                  <a:gd name="connsiteY3" fmla="*/ 51629 h 5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848" h="51628">
                    <a:moveTo>
                      <a:pt x="0" y="0"/>
                    </a:moveTo>
                    <a:lnTo>
                      <a:pt x="221848" y="0"/>
                    </a:lnTo>
                    <a:lnTo>
                      <a:pt x="221848" y="51629"/>
                    </a:lnTo>
                    <a:lnTo>
                      <a:pt x="0" y="51629"/>
                    </a:lnTo>
                    <a:close/>
                  </a:path>
                </a:pathLst>
              </a:custGeom>
              <a:solidFill>
                <a:srgbClr val="DADADA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8" name="Freihandform: Form 97">
                <a:extLst>
                  <a:ext uri="{FF2B5EF4-FFF2-40B4-BE49-F238E27FC236}">
                    <a16:creationId xmlns:a16="http://schemas.microsoft.com/office/drawing/2014/main" id="{B0F7DFA3-6116-46D2-8ACE-D4D81C78A780}"/>
                  </a:ext>
                </a:extLst>
              </p:cNvPr>
              <p:cNvSpPr/>
              <p:nvPr/>
            </p:nvSpPr>
            <p:spPr>
              <a:xfrm>
                <a:off x="6702353" y="1542880"/>
                <a:ext cx="221848" cy="51628"/>
              </a:xfrm>
              <a:custGeom>
                <a:avLst/>
                <a:gdLst>
                  <a:gd name="connsiteX0" fmla="*/ 0 w 221848"/>
                  <a:gd name="connsiteY0" fmla="*/ 0 h 51628"/>
                  <a:gd name="connsiteX1" fmla="*/ 221848 w 221848"/>
                  <a:gd name="connsiteY1" fmla="*/ 0 h 51628"/>
                  <a:gd name="connsiteX2" fmla="*/ 221848 w 221848"/>
                  <a:gd name="connsiteY2" fmla="*/ 51629 h 51628"/>
                  <a:gd name="connsiteX3" fmla="*/ 0 w 221848"/>
                  <a:gd name="connsiteY3" fmla="*/ 51629 h 5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848" h="51628">
                    <a:moveTo>
                      <a:pt x="0" y="0"/>
                    </a:moveTo>
                    <a:lnTo>
                      <a:pt x="221848" y="0"/>
                    </a:lnTo>
                    <a:lnTo>
                      <a:pt x="221848" y="51629"/>
                    </a:lnTo>
                    <a:lnTo>
                      <a:pt x="0" y="51629"/>
                    </a:lnTo>
                    <a:close/>
                  </a:path>
                </a:pathLst>
              </a:custGeom>
              <a:solidFill>
                <a:srgbClr val="DADADA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9" name="Freihandform: Form 98">
                <a:extLst>
                  <a:ext uri="{FF2B5EF4-FFF2-40B4-BE49-F238E27FC236}">
                    <a16:creationId xmlns:a16="http://schemas.microsoft.com/office/drawing/2014/main" id="{98666A26-8745-4BEF-B0C9-490E38C16B19}"/>
                  </a:ext>
                </a:extLst>
              </p:cNvPr>
              <p:cNvSpPr/>
              <p:nvPr/>
            </p:nvSpPr>
            <p:spPr>
              <a:xfrm>
                <a:off x="6043453" y="3441892"/>
                <a:ext cx="221848" cy="66963"/>
              </a:xfrm>
              <a:custGeom>
                <a:avLst/>
                <a:gdLst>
                  <a:gd name="connsiteX0" fmla="*/ 0 w 221848"/>
                  <a:gd name="connsiteY0" fmla="*/ 0 h 66963"/>
                  <a:gd name="connsiteX1" fmla="*/ 221848 w 221848"/>
                  <a:gd name="connsiteY1" fmla="*/ 0 h 66963"/>
                  <a:gd name="connsiteX2" fmla="*/ 221848 w 221848"/>
                  <a:gd name="connsiteY2" fmla="*/ 66964 h 66963"/>
                  <a:gd name="connsiteX3" fmla="*/ 0 w 221848"/>
                  <a:gd name="connsiteY3" fmla="*/ 66964 h 66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848" h="66963">
                    <a:moveTo>
                      <a:pt x="0" y="0"/>
                    </a:moveTo>
                    <a:lnTo>
                      <a:pt x="221848" y="0"/>
                    </a:lnTo>
                    <a:lnTo>
                      <a:pt x="221848" y="66964"/>
                    </a:lnTo>
                    <a:lnTo>
                      <a:pt x="0" y="66964"/>
                    </a:lnTo>
                    <a:close/>
                  </a:path>
                </a:pathLst>
              </a:custGeom>
              <a:solidFill>
                <a:srgbClr val="DADADA"/>
              </a:solidFill>
              <a:ln w="505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00" name="Textfeld 99">
                <a:extLst>
                  <a:ext uri="{FF2B5EF4-FFF2-40B4-BE49-F238E27FC236}">
                    <a16:creationId xmlns:a16="http://schemas.microsoft.com/office/drawing/2014/main" id="{669D8DAF-2B98-44BA-BD02-5700AC196D1D}"/>
                  </a:ext>
                </a:extLst>
              </p:cNvPr>
              <p:cNvSpPr txBox="1"/>
              <p:nvPr/>
            </p:nvSpPr>
            <p:spPr>
              <a:xfrm>
                <a:off x="5700270" y="1822113"/>
                <a:ext cx="337998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Niederlande</a:t>
                </a:r>
              </a:p>
            </p:txBody>
          </p:sp>
          <p:sp>
            <p:nvSpPr>
              <p:cNvPr id="101" name="Textfeld 100">
                <a:extLst>
                  <a:ext uri="{FF2B5EF4-FFF2-40B4-BE49-F238E27FC236}">
                    <a16:creationId xmlns:a16="http://schemas.microsoft.com/office/drawing/2014/main" id="{417C9A5E-9533-40EC-8727-B5A987EFE880}"/>
                  </a:ext>
                </a:extLst>
              </p:cNvPr>
              <p:cNvSpPr txBox="1"/>
              <p:nvPr/>
            </p:nvSpPr>
            <p:spPr>
              <a:xfrm>
                <a:off x="7545354" y="2695224"/>
                <a:ext cx="279142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 err="1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Thüringen</a:t>
                </a:r>
              </a:p>
            </p:txBody>
          </p:sp>
          <p:sp>
            <p:nvSpPr>
              <p:cNvPr id="102" name="Textfeld 101">
                <a:extLst>
                  <a:ext uri="{FF2B5EF4-FFF2-40B4-BE49-F238E27FC236}">
                    <a16:creationId xmlns:a16="http://schemas.microsoft.com/office/drawing/2014/main" id="{63AED31F-EFCF-434A-A9EC-0307B0B3DC87}"/>
                  </a:ext>
                </a:extLst>
              </p:cNvPr>
              <p:cNvSpPr txBox="1"/>
              <p:nvPr/>
            </p:nvSpPr>
            <p:spPr>
              <a:xfrm>
                <a:off x="6865614" y="2901708"/>
                <a:ext cx="198426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 err="1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Hessen</a:t>
                </a:r>
              </a:p>
            </p:txBody>
          </p:sp>
          <p:sp>
            <p:nvSpPr>
              <p:cNvPr id="103" name="Textfeld 102">
                <a:extLst>
                  <a:ext uri="{FF2B5EF4-FFF2-40B4-BE49-F238E27FC236}">
                    <a16:creationId xmlns:a16="http://schemas.microsoft.com/office/drawing/2014/main" id="{8CDA0563-5173-4A5E-BD01-E3E7ADDC0D38}"/>
                  </a:ext>
                </a:extLst>
              </p:cNvPr>
              <p:cNvSpPr txBox="1"/>
              <p:nvPr/>
            </p:nvSpPr>
            <p:spPr>
              <a:xfrm>
                <a:off x="7803736" y="1162749"/>
                <a:ext cx="741577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Mecklenburg-Vorpommern</a:t>
                </a:r>
              </a:p>
            </p:txBody>
          </p:sp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5916CC38-EA2F-4EA8-84B9-B2B06C1C9566}"/>
                  </a:ext>
                </a:extLst>
              </p:cNvPr>
              <p:cNvSpPr txBox="1"/>
              <p:nvPr/>
            </p:nvSpPr>
            <p:spPr>
              <a:xfrm>
                <a:off x="6901684" y="1712222"/>
                <a:ext cx="406943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 err="1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Niedersachsen</a:t>
                </a:r>
              </a:p>
            </p:txBody>
          </p:sp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A1750A9B-A62B-45F3-8DF8-D7DC1F457612}"/>
                  </a:ext>
                </a:extLst>
              </p:cNvPr>
              <p:cNvSpPr txBox="1"/>
              <p:nvPr/>
            </p:nvSpPr>
            <p:spPr>
              <a:xfrm>
                <a:off x="7034662" y="896659"/>
                <a:ext cx="297640" cy="16143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Schleswig-</a:t>
                </a:r>
                <a:b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</a:b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Holstein</a:t>
                </a:r>
              </a:p>
            </p:txBody>
          </p:sp>
          <p:sp>
            <p:nvSpPr>
              <p:cNvPr id="106" name="Textfeld 105">
                <a:extLst>
                  <a:ext uri="{FF2B5EF4-FFF2-40B4-BE49-F238E27FC236}">
                    <a16:creationId xmlns:a16="http://schemas.microsoft.com/office/drawing/2014/main" id="{417B0137-2F8B-4027-BB30-8FD9DB7FA5FB}"/>
                  </a:ext>
                </a:extLst>
              </p:cNvPr>
              <p:cNvSpPr txBox="1"/>
              <p:nvPr/>
            </p:nvSpPr>
            <p:spPr>
              <a:xfrm>
                <a:off x="7733261" y="2193354"/>
                <a:ext cx="435529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Sachsen-Anhalt</a:t>
                </a:r>
              </a:p>
            </p:txBody>
          </p:sp>
          <p:sp>
            <p:nvSpPr>
              <p:cNvPr id="107" name="Textfeld 106">
                <a:extLst>
                  <a:ext uri="{FF2B5EF4-FFF2-40B4-BE49-F238E27FC236}">
                    <a16:creationId xmlns:a16="http://schemas.microsoft.com/office/drawing/2014/main" id="{D48BEF94-CFF5-4169-8268-9309116D3794}"/>
                  </a:ext>
                </a:extLst>
              </p:cNvPr>
              <p:cNvSpPr txBox="1"/>
              <p:nvPr/>
            </p:nvSpPr>
            <p:spPr>
              <a:xfrm>
                <a:off x="8491416" y="1764414"/>
                <a:ext cx="163114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 err="1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Berlin</a:t>
                </a:r>
              </a:p>
            </p:txBody>
          </p:sp>
          <p:sp>
            <p:nvSpPr>
              <p:cNvPr id="108" name="Textfeld 107">
                <a:extLst>
                  <a:ext uri="{FF2B5EF4-FFF2-40B4-BE49-F238E27FC236}">
                    <a16:creationId xmlns:a16="http://schemas.microsoft.com/office/drawing/2014/main" id="{FA35B62B-C636-4D5E-B263-47464AF327EC}"/>
                  </a:ext>
                </a:extLst>
              </p:cNvPr>
              <p:cNvSpPr txBox="1"/>
              <p:nvPr/>
            </p:nvSpPr>
            <p:spPr>
              <a:xfrm>
                <a:off x="8407476" y="1957534"/>
                <a:ext cx="359858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Brandenburg</a:t>
                </a:r>
              </a:p>
            </p:txBody>
          </p:sp>
          <p:sp>
            <p:nvSpPr>
              <p:cNvPr id="109" name="Textfeld 108">
                <a:extLst>
                  <a:ext uri="{FF2B5EF4-FFF2-40B4-BE49-F238E27FC236}">
                    <a16:creationId xmlns:a16="http://schemas.microsoft.com/office/drawing/2014/main" id="{D26605E9-2BB0-4D95-B53A-F338A796502C}"/>
                  </a:ext>
                </a:extLst>
              </p:cNvPr>
              <p:cNvSpPr txBox="1"/>
              <p:nvPr/>
            </p:nvSpPr>
            <p:spPr>
              <a:xfrm>
                <a:off x="8413804" y="2581207"/>
                <a:ext cx="228694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 err="1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Sachsen</a:t>
                </a:r>
              </a:p>
            </p:txBody>
          </p:sp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AB2D17E2-4F4B-4C36-BA74-FA1B424786C0}"/>
                  </a:ext>
                </a:extLst>
              </p:cNvPr>
              <p:cNvSpPr txBox="1"/>
              <p:nvPr/>
            </p:nvSpPr>
            <p:spPr>
              <a:xfrm>
                <a:off x="6223608" y="3255486"/>
                <a:ext cx="301003" cy="16143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Rheinland-</a:t>
                </a:r>
                <a:b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</a:b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Pfalz</a:t>
                </a:r>
              </a:p>
            </p:txBody>
          </p:sp>
          <p:sp>
            <p:nvSpPr>
              <p:cNvPr id="111" name="Textfeld 110">
                <a:extLst>
                  <a:ext uri="{FF2B5EF4-FFF2-40B4-BE49-F238E27FC236}">
                    <a16:creationId xmlns:a16="http://schemas.microsoft.com/office/drawing/2014/main" id="{DCF4DB2E-A9E1-4403-A2CF-140ED4DE77A6}"/>
                  </a:ext>
                </a:extLst>
              </p:cNvPr>
              <p:cNvSpPr txBox="1"/>
              <p:nvPr/>
            </p:nvSpPr>
            <p:spPr>
              <a:xfrm>
                <a:off x="6134869" y="3588230"/>
                <a:ext cx="247193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Saarland</a:t>
                </a:r>
              </a:p>
            </p:txBody>
          </p:sp>
          <p:sp>
            <p:nvSpPr>
              <p:cNvPr id="112" name="Textfeld 111">
                <a:extLst>
                  <a:ext uri="{FF2B5EF4-FFF2-40B4-BE49-F238E27FC236}">
                    <a16:creationId xmlns:a16="http://schemas.microsoft.com/office/drawing/2014/main" id="{38C16354-A800-4902-947F-8199AB0157CB}"/>
                  </a:ext>
                </a:extLst>
              </p:cNvPr>
              <p:cNvSpPr txBox="1"/>
              <p:nvPr/>
            </p:nvSpPr>
            <p:spPr>
              <a:xfrm>
                <a:off x="6827199" y="4107639"/>
                <a:ext cx="566692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Baden-Württemberg</a:t>
                </a:r>
              </a:p>
            </p:txBody>
          </p:sp>
          <p:sp>
            <p:nvSpPr>
              <p:cNvPr id="113" name="Textfeld 112">
                <a:extLst>
                  <a:ext uri="{FF2B5EF4-FFF2-40B4-BE49-F238E27FC236}">
                    <a16:creationId xmlns:a16="http://schemas.microsoft.com/office/drawing/2014/main" id="{2E6D454D-4507-429E-986D-61D92EE4CD96}"/>
                  </a:ext>
                </a:extLst>
              </p:cNvPr>
              <p:cNvSpPr txBox="1"/>
              <p:nvPr/>
            </p:nvSpPr>
            <p:spPr>
              <a:xfrm>
                <a:off x="6247474" y="2373977"/>
                <a:ext cx="583509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Nordrhein-Westfalen</a:t>
                </a:r>
              </a:p>
            </p:txBody>
          </p:sp>
          <p:sp>
            <p:nvSpPr>
              <p:cNvPr id="114" name="Textfeld 113">
                <a:extLst>
                  <a:ext uri="{FF2B5EF4-FFF2-40B4-BE49-F238E27FC236}">
                    <a16:creationId xmlns:a16="http://schemas.microsoft.com/office/drawing/2014/main" id="{7F94D0DD-9484-4252-A2BB-46B4555A8C42}"/>
                  </a:ext>
                </a:extLst>
              </p:cNvPr>
              <p:cNvSpPr txBox="1"/>
              <p:nvPr/>
            </p:nvSpPr>
            <p:spPr>
              <a:xfrm>
                <a:off x="7204183" y="1248139"/>
                <a:ext cx="310671" cy="807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Hamburg</a:t>
                </a:r>
              </a:p>
            </p:txBody>
          </p:sp>
          <p:sp>
            <p:nvSpPr>
              <p:cNvPr id="115" name="Textfeld 114">
                <a:extLst>
                  <a:ext uri="{FF2B5EF4-FFF2-40B4-BE49-F238E27FC236}">
                    <a16:creationId xmlns:a16="http://schemas.microsoft.com/office/drawing/2014/main" id="{ED2B72A9-9229-483C-B91B-C403A60623F2}"/>
                  </a:ext>
                </a:extLst>
              </p:cNvPr>
              <p:cNvSpPr txBox="1"/>
              <p:nvPr/>
            </p:nvSpPr>
            <p:spPr>
              <a:xfrm>
                <a:off x="6702458" y="1535780"/>
                <a:ext cx="213561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 err="1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Bremen</a:t>
                </a:r>
              </a:p>
            </p:txBody>
          </p:sp>
          <p:sp>
            <p:nvSpPr>
              <p:cNvPr id="116" name="Textfeld 115">
                <a:extLst>
                  <a:ext uri="{FF2B5EF4-FFF2-40B4-BE49-F238E27FC236}">
                    <a16:creationId xmlns:a16="http://schemas.microsoft.com/office/drawing/2014/main" id="{1C7514BF-2437-46C7-B7BC-86F25E665BBA}"/>
                  </a:ext>
                </a:extLst>
              </p:cNvPr>
              <p:cNvSpPr txBox="1"/>
              <p:nvPr/>
            </p:nvSpPr>
            <p:spPr>
              <a:xfrm>
                <a:off x="8001946" y="3874885"/>
                <a:ext cx="191700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 err="1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Bayern</a:t>
                </a:r>
              </a:p>
            </p:txBody>
          </p:sp>
          <p:sp>
            <p:nvSpPr>
              <p:cNvPr id="117" name="Textfeld 116">
                <a:extLst>
                  <a:ext uri="{FF2B5EF4-FFF2-40B4-BE49-F238E27FC236}">
                    <a16:creationId xmlns:a16="http://schemas.microsoft.com/office/drawing/2014/main" id="{CD37BEF0-BC4E-49D0-9B67-2F07C309493A}"/>
                  </a:ext>
                </a:extLst>
              </p:cNvPr>
              <p:cNvSpPr txBox="1"/>
              <p:nvPr/>
            </p:nvSpPr>
            <p:spPr>
              <a:xfrm>
                <a:off x="5630435" y="3420538"/>
                <a:ext cx="351450" cy="807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l">
                  <a:spcBef>
                    <a:spcPts val="800"/>
                  </a:spcBef>
                </a:pPr>
                <a:r>
                  <a:rPr lang="de-DE" sz="500" spc="0" baseline="0" dirty="0">
                    <a:solidFill>
                      <a:srgbClr val="B5AFAC"/>
                    </a:solidFill>
                    <a:latin typeface="EEW-Bold"/>
                    <a:sym typeface="EEW-Bold"/>
                    <a:rtl val="0"/>
                  </a:rPr>
                  <a:t>LUXEMBURG</a:t>
                </a:r>
              </a:p>
            </p:txBody>
          </p:sp>
        </p:grpSp>
        <p:sp>
          <p:nvSpPr>
            <p:cNvPr id="175" name="Ellipse 6">
              <a:extLst>
                <a:ext uri="{FF2B5EF4-FFF2-40B4-BE49-F238E27FC236}">
                  <a16:creationId xmlns:a16="http://schemas.microsoft.com/office/drawing/2014/main" id="{78A53CB7-294F-4DDC-AF25-4D2F63DFD1E1}"/>
                </a:ext>
              </a:extLst>
            </p:cNvPr>
            <p:cNvSpPr/>
            <p:nvPr/>
          </p:nvSpPr>
          <p:spPr>
            <a:xfrm>
              <a:off x="6567845" y="3133345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1</a:t>
              </a:r>
            </a:p>
          </p:txBody>
        </p:sp>
        <p:sp>
          <p:nvSpPr>
            <p:cNvPr id="176" name="Ellipse 6">
              <a:extLst>
                <a:ext uri="{FF2B5EF4-FFF2-40B4-BE49-F238E27FC236}">
                  <a16:creationId xmlns:a16="http://schemas.microsoft.com/office/drawing/2014/main" id="{F2245BFC-5DFF-4B17-9FBA-70145E0F3468}"/>
                </a:ext>
              </a:extLst>
            </p:cNvPr>
            <p:cNvSpPr/>
            <p:nvPr/>
          </p:nvSpPr>
          <p:spPr>
            <a:xfrm>
              <a:off x="6253810" y="1557566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2</a:t>
              </a:r>
            </a:p>
          </p:txBody>
        </p:sp>
        <p:sp>
          <p:nvSpPr>
            <p:cNvPr id="177" name="Ellipse 6">
              <a:extLst>
                <a:ext uri="{FF2B5EF4-FFF2-40B4-BE49-F238E27FC236}">
                  <a16:creationId xmlns:a16="http://schemas.microsoft.com/office/drawing/2014/main" id="{6C9CF3AC-4B8B-4D7C-ACE6-EB566306593D}"/>
                </a:ext>
              </a:extLst>
            </p:cNvPr>
            <p:cNvSpPr/>
            <p:nvPr/>
          </p:nvSpPr>
          <p:spPr>
            <a:xfrm>
              <a:off x="6724931" y="4602571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3</a:t>
              </a:r>
            </a:p>
          </p:txBody>
        </p:sp>
        <p:sp>
          <p:nvSpPr>
            <p:cNvPr id="178" name="Ellipse 6">
              <a:extLst>
                <a:ext uri="{FF2B5EF4-FFF2-40B4-BE49-F238E27FC236}">
                  <a16:creationId xmlns:a16="http://schemas.microsoft.com/office/drawing/2014/main" id="{CC997599-0ACF-4DF9-9B5B-E1D6B8DD74CA}"/>
                </a:ext>
              </a:extLst>
            </p:cNvPr>
            <p:cNvSpPr/>
            <p:nvPr/>
          </p:nvSpPr>
          <p:spPr>
            <a:xfrm>
              <a:off x="7446041" y="4251365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4</a:t>
              </a:r>
            </a:p>
          </p:txBody>
        </p:sp>
        <p:sp>
          <p:nvSpPr>
            <p:cNvPr id="179" name="Ellipse 6">
              <a:extLst>
                <a:ext uri="{FF2B5EF4-FFF2-40B4-BE49-F238E27FC236}">
                  <a16:creationId xmlns:a16="http://schemas.microsoft.com/office/drawing/2014/main" id="{52313A2E-B54B-4696-9F87-A9B72A1FFCF0}"/>
                </a:ext>
              </a:extLst>
            </p:cNvPr>
            <p:cNvSpPr/>
            <p:nvPr/>
          </p:nvSpPr>
          <p:spPr>
            <a:xfrm>
              <a:off x="8641540" y="2412269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5</a:t>
              </a:r>
            </a:p>
          </p:txBody>
        </p:sp>
        <p:sp>
          <p:nvSpPr>
            <p:cNvPr id="180" name="Ellipse 6">
              <a:extLst>
                <a:ext uri="{FF2B5EF4-FFF2-40B4-BE49-F238E27FC236}">
                  <a16:creationId xmlns:a16="http://schemas.microsoft.com/office/drawing/2014/main" id="{78F431E7-383A-44F1-8939-9E5030D89804}"/>
                </a:ext>
              </a:extLst>
            </p:cNvPr>
            <p:cNvSpPr/>
            <p:nvPr/>
          </p:nvSpPr>
          <p:spPr>
            <a:xfrm>
              <a:off x="7285617" y="2035651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6</a:t>
              </a:r>
            </a:p>
          </p:txBody>
        </p:sp>
        <p:sp>
          <p:nvSpPr>
            <p:cNvPr id="182" name="Ellipse 6">
              <a:extLst>
                <a:ext uri="{FF2B5EF4-FFF2-40B4-BE49-F238E27FC236}">
                  <a16:creationId xmlns:a16="http://schemas.microsoft.com/office/drawing/2014/main" id="{F1409EDF-548B-43AA-BD49-45922521B5C5}"/>
                </a:ext>
              </a:extLst>
            </p:cNvPr>
            <p:cNvSpPr/>
            <p:nvPr/>
          </p:nvSpPr>
          <p:spPr>
            <a:xfrm>
              <a:off x="7292863" y="2922824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8</a:t>
              </a:r>
            </a:p>
          </p:txBody>
        </p:sp>
        <p:sp>
          <p:nvSpPr>
            <p:cNvPr id="183" name="Ellipse 6">
              <a:extLst>
                <a:ext uri="{FF2B5EF4-FFF2-40B4-BE49-F238E27FC236}">
                  <a16:creationId xmlns:a16="http://schemas.microsoft.com/office/drawing/2014/main" id="{3F99EF71-BE20-4B40-90DB-333CC8B2F0C2}"/>
                </a:ext>
              </a:extLst>
            </p:cNvPr>
            <p:cNvSpPr/>
            <p:nvPr/>
          </p:nvSpPr>
          <p:spPr>
            <a:xfrm>
              <a:off x="6491184" y="2591198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9</a:t>
              </a:r>
            </a:p>
          </p:txBody>
        </p:sp>
        <p:sp>
          <p:nvSpPr>
            <p:cNvPr id="184" name="Ellipse 6">
              <a:extLst>
                <a:ext uri="{FF2B5EF4-FFF2-40B4-BE49-F238E27FC236}">
                  <a16:creationId xmlns:a16="http://schemas.microsoft.com/office/drawing/2014/main" id="{71846111-4B15-4E9A-9B03-7E96385807AB}"/>
                </a:ext>
              </a:extLst>
            </p:cNvPr>
            <p:cNvSpPr/>
            <p:nvPr/>
          </p:nvSpPr>
          <p:spPr>
            <a:xfrm>
              <a:off x="6017064" y="3361624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10</a:t>
              </a:r>
            </a:p>
          </p:txBody>
        </p:sp>
        <p:sp>
          <p:nvSpPr>
            <p:cNvPr id="185" name="Ellipse 6">
              <a:extLst>
                <a:ext uri="{FF2B5EF4-FFF2-40B4-BE49-F238E27FC236}">
                  <a16:creationId xmlns:a16="http://schemas.microsoft.com/office/drawing/2014/main" id="{AEC54D9F-B66A-41DF-A706-C0DE988E1713}"/>
                </a:ext>
              </a:extLst>
            </p:cNvPr>
            <p:cNvSpPr/>
            <p:nvPr/>
          </p:nvSpPr>
          <p:spPr>
            <a:xfrm>
              <a:off x="7869135" y="2181094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11</a:t>
              </a:r>
            </a:p>
          </p:txBody>
        </p:sp>
        <p:sp>
          <p:nvSpPr>
            <p:cNvPr id="186" name="Ellipse 6">
              <a:extLst>
                <a:ext uri="{FF2B5EF4-FFF2-40B4-BE49-F238E27FC236}">
                  <a16:creationId xmlns:a16="http://schemas.microsoft.com/office/drawing/2014/main" id="{54AF46B7-9252-40A7-9324-6165894C5BDA}"/>
                </a:ext>
              </a:extLst>
            </p:cNvPr>
            <p:cNvSpPr/>
            <p:nvPr/>
          </p:nvSpPr>
          <p:spPr>
            <a:xfrm>
              <a:off x="6441701" y="3787866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12</a:t>
              </a:r>
            </a:p>
          </p:txBody>
        </p:sp>
        <p:sp>
          <p:nvSpPr>
            <p:cNvPr id="187" name="Ellipse 6">
              <a:extLst>
                <a:ext uri="{FF2B5EF4-FFF2-40B4-BE49-F238E27FC236}">
                  <a16:creationId xmlns:a16="http://schemas.microsoft.com/office/drawing/2014/main" id="{30100525-3984-43F4-9CCF-6E4C58A0E3BB}"/>
                </a:ext>
              </a:extLst>
            </p:cNvPr>
            <p:cNvSpPr/>
            <p:nvPr/>
          </p:nvSpPr>
          <p:spPr>
            <a:xfrm>
              <a:off x="6636002" y="3780456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13</a:t>
              </a:r>
            </a:p>
          </p:txBody>
        </p:sp>
        <p:sp>
          <p:nvSpPr>
            <p:cNvPr id="188" name="Ellipse 6">
              <a:extLst>
                <a:ext uri="{FF2B5EF4-FFF2-40B4-BE49-F238E27FC236}">
                  <a16:creationId xmlns:a16="http://schemas.microsoft.com/office/drawing/2014/main" id="{AAD46EE6-6A3D-4C27-AA77-2E38D7A19311}"/>
                </a:ext>
              </a:extLst>
            </p:cNvPr>
            <p:cNvSpPr/>
            <p:nvPr/>
          </p:nvSpPr>
          <p:spPr>
            <a:xfrm>
              <a:off x="8219571" y="1939356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14</a:t>
              </a:r>
            </a:p>
          </p:txBody>
        </p:sp>
        <p:sp>
          <p:nvSpPr>
            <p:cNvPr id="190" name="Ellipse 6">
              <a:extLst>
                <a:ext uri="{FF2B5EF4-FFF2-40B4-BE49-F238E27FC236}">
                  <a16:creationId xmlns:a16="http://schemas.microsoft.com/office/drawing/2014/main" id="{07C2EDEC-AD19-49FC-9C18-D46CC95AF945}"/>
                </a:ext>
              </a:extLst>
            </p:cNvPr>
            <p:cNvSpPr/>
            <p:nvPr/>
          </p:nvSpPr>
          <p:spPr>
            <a:xfrm>
              <a:off x="8667587" y="1599349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15</a:t>
              </a:r>
            </a:p>
          </p:txBody>
        </p:sp>
        <p:sp>
          <p:nvSpPr>
            <p:cNvPr id="191" name="Ellipse 6">
              <a:extLst>
                <a:ext uri="{FF2B5EF4-FFF2-40B4-BE49-F238E27FC236}">
                  <a16:creationId xmlns:a16="http://schemas.microsoft.com/office/drawing/2014/main" id="{3C7B7B8C-7702-4AC5-ADAE-DCD8BD6B6E7E}"/>
                </a:ext>
              </a:extLst>
            </p:cNvPr>
            <p:cNvSpPr/>
            <p:nvPr/>
          </p:nvSpPr>
          <p:spPr>
            <a:xfrm>
              <a:off x="7507116" y="1288596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16</a:t>
              </a:r>
            </a:p>
          </p:txBody>
        </p:sp>
        <p:sp>
          <p:nvSpPr>
            <p:cNvPr id="192" name="Ellipse 6">
              <a:extLst>
                <a:ext uri="{FF2B5EF4-FFF2-40B4-BE49-F238E27FC236}">
                  <a16:creationId xmlns:a16="http://schemas.microsoft.com/office/drawing/2014/main" id="{F6B14433-1847-4707-941E-D5A844BFE204}"/>
                </a:ext>
              </a:extLst>
            </p:cNvPr>
            <p:cNvSpPr/>
            <p:nvPr/>
          </p:nvSpPr>
          <p:spPr>
            <a:xfrm>
              <a:off x="8163280" y="1208550"/>
              <a:ext cx="144000" cy="144000"/>
            </a:xfrm>
            <a:prstGeom prst="ellipse">
              <a:avLst/>
            </a:prstGeom>
            <a:solidFill>
              <a:srgbClr val="FF9E27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700" b="1" dirty="0"/>
                <a:t>17</a:t>
              </a:r>
            </a:p>
          </p:txBody>
        </p:sp>
      </p:grpSp>
      <p:pic>
        <p:nvPicPr>
          <p:cNvPr id="19" name="Grafik 18">
            <a:extLst>
              <a:ext uri="{FF2B5EF4-FFF2-40B4-BE49-F238E27FC236}">
                <a16:creationId xmlns:a16="http://schemas.microsoft.com/office/drawing/2014/main" id="{A1F88226-D6B1-494C-AAD0-3C9536F058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351" t="157" r="1464" b="731"/>
          <a:stretch/>
        </p:blipFill>
        <p:spPr>
          <a:xfrm>
            <a:off x="3782810" y="3556918"/>
            <a:ext cx="745536" cy="70963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BAD44E88-ABD0-4DE8-8F60-2D26E81F1C6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914" t="1282" r="13363" b="1486"/>
          <a:stretch/>
        </p:blipFill>
        <p:spPr>
          <a:xfrm>
            <a:off x="2932093" y="3557252"/>
            <a:ext cx="747900" cy="702745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83D4B697-624D-46E7-822E-5DF80A5A6D5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964" t="2857" r="25433" b="4187"/>
          <a:stretch/>
        </p:blipFill>
        <p:spPr>
          <a:xfrm>
            <a:off x="2093690" y="3557569"/>
            <a:ext cx="747995" cy="702745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451CA918-8A31-44FC-901F-98D0864CEDC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552" t="1694" r="29847" b="2962"/>
          <a:stretch/>
        </p:blipFill>
        <p:spPr>
          <a:xfrm>
            <a:off x="1232866" y="3559486"/>
            <a:ext cx="749851" cy="700829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652A9E6A-E818-4FF0-8515-7122FC07DC9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190" t="915" r="29037" b="1298"/>
          <a:stretch/>
        </p:blipFill>
        <p:spPr>
          <a:xfrm flipH="1">
            <a:off x="395287" y="3560602"/>
            <a:ext cx="749851" cy="700829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D3281811-A79A-4EC6-8849-E9952BD713F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727" r="22984" b="3866"/>
          <a:stretch/>
        </p:blipFill>
        <p:spPr>
          <a:xfrm>
            <a:off x="3770140" y="2503659"/>
            <a:ext cx="742988" cy="712728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0F9990BA-5846-4641-A1E2-B705738D522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245" t="-186" r="32350" b="959"/>
          <a:stretch/>
        </p:blipFill>
        <p:spPr>
          <a:xfrm>
            <a:off x="2924984" y="2506750"/>
            <a:ext cx="745702" cy="709637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4FD05F87-F896-4AC2-8FC7-70B22F880DB3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10" t="2088" r="8984" b="1089"/>
          <a:stretch/>
        </p:blipFill>
        <p:spPr>
          <a:xfrm>
            <a:off x="2081940" y="2506751"/>
            <a:ext cx="742988" cy="709637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1A3B33B2-864B-4E19-8692-82EDE3199B0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031" t="1417" r="20934" b="3811"/>
          <a:stretch/>
        </p:blipFill>
        <p:spPr>
          <a:xfrm>
            <a:off x="1233139" y="2503659"/>
            <a:ext cx="745968" cy="712729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80616093-D1B0-422F-B8F8-9CD74020AAD1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78" t="1387" r="19791" b="2784"/>
          <a:stretch/>
        </p:blipFill>
        <p:spPr>
          <a:xfrm>
            <a:off x="395287" y="2508210"/>
            <a:ext cx="747233" cy="708477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7FC8F558-7919-4B38-B2D5-261B6A10CA8C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49" t="793" r="23759" b="1978"/>
          <a:stretch/>
        </p:blipFill>
        <p:spPr>
          <a:xfrm>
            <a:off x="4609173" y="1399193"/>
            <a:ext cx="744906" cy="735049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12AA6597-9DD3-4365-AD5C-EB122FE1FF79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79" t="-108" r="26982" b="108"/>
          <a:stretch/>
        </p:blipFill>
        <p:spPr>
          <a:xfrm>
            <a:off x="3761806" y="1402488"/>
            <a:ext cx="752222" cy="729624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61DB7450-CD0E-40CE-B30C-1F9E7CC6B8C4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423" t="-361" r="31067" b="3132"/>
          <a:stretch/>
        </p:blipFill>
        <p:spPr>
          <a:xfrm>
            <a:off x="2922085" y="1400621"/>
            <a:ext cx="750235" cy="735049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6E89E51D-731C-41A9-BF06-602C88554EFC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98" t="1857" r="25158" b="-36"/>
          <a:stretch/>
        </p:blipFill>
        <p:spPr>
          <a:xfrm>
            <a:off x="2082801" y="1401655"/>
            <a:ext cx="739392" cy="735049"/>
          </a:xfrm>
          <a:prstGeom prst="rect">
            <a:avLst/>
          </a:prstGeom>
        </p:spPr>
      </p:pic>
      <p:pic>
        <p:nvPicPr>
          <p:cNvPr id="40" name="Picture 45" descr="Die Müllverbrennungsanlage von EEW Energy from Waste Delfzijl">
            <a:extLst>
              <a:ext uri="{FF2B5EF4-FFF2-40B4-BE49-F238E27FC236}">
                <a16:creationId xmlns:a16="http://schemas.microsoft.com/office/drawing/2014/main" id="{04010EAC-DB70-4010-868B-D3E76B9822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683" t="-448" r="32479" b="-487"/>
          <a:stretch/>
        </p:blipFill>
        <p:spPr bwMode="auto">
          <a:xfrm>
            <a:off x="1234435" y="1401107"/>
            <a:ext cx="750717" cy="735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2" name="Ellipse 14">
            <a:extLst>
              <a:ext uri="{FF2B5EF4-FFF2-40B4-BE49-F238E27FC236}">
                <a16:creationId xmlns:a16="http://schemas.microsoft.com/office/drawing/2014/main" id="{EB70FB69-5726-41DB-ADB5-BAD000F91C22}"/>
              </a:ext>
            </a:extLst>
          </p:cNvPr>
          <p:cNvSpPr/>
          <p:nvPr/>
        </p:nvSpPr>
        <p:spPr>
          <a:xfrm>
            <a:off x="1298822" y="1454150"/>
            <a:ext cx="189518" cy="190997"/>
          </a:xfrm>
          <a:prstGeom prst="ellipse">
            <a:avLst/>
          </a:prstGeom>
          <a:solidFill>
            <a:srgbClr val="FF9E27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2</a:t>
            </a:r>
          </a:p>
        </p:txBody>
      </p:sp>
      <p:sp>
        <p:nvSpPr>
          <p:cNvPr id="143" name="Ellipse 17">
            <a:extLst>
              <a:ext uri="{FF2B5EF4-FFF2-40B4-BE49-F238E27FC236}">
                <a16:creationId xmlns:a16="http://schemas.microsoft.com/office/drawing/2014/main" id="{D03A6808-E7B4-4BD3-8D25-96B20C3BF85D}"/>
              </a:ext>
            </a:extLst>
          </p:cNvPr>
          <p:cNvSpPr/>
          <p:nvPr/>
        </p:nvSpPr>
        <p:spPr>
          <a:xfrm>
            <a:off x="2137403" y="1453523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3</a:t>
            </a:r>
          </a:p>
        </p:txBody>
      </p:sp>
      <p:sp>
        <p:nvSpPr>
          <p:cNvPr id="144" name="Ellipse 68">
            <a:extLst>
              <a:ext uri="{FF2B5EF4-FFF2-40B4-BE49-F238E27FC236}">
                <a16:creationId xmlns:a16="http://schemas.microsoft.com/office/drawing/2014/main" id="{E8AEDF8A-DB79-410A-B3AE-0D9E2DBC2303}"/>
              </a:ext>
            </a:extLst>
          </p:cNvPr>
          <p:cNvSpPr/>
          <p:nvPr/>
        </p:nvSpPr>
        <p:spPr>
          <a:xfrm>
            <a:off x="2982224" y="1450805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4</a:t>
            </a:r>
          </a:p>
        </p:txBody>
      </p:sp>
      <p:sp>
        <p:nvSpPr>
          <p:cNvPr id="145" name="Ellipse 71">
            <a:extLst>
              <a:ext uri="{FF2B5EF4-FFF2-40B4-BE49-F238E27FC236}">
                <a16:creationId xmlns:a16="http://schemas.microsoft.com/office/drawing/2014/main" id="{1FEDC937-DB1D-4420-9516-C95AC751BBF5}"/>
              </a:ext>
            </a:extLst>
          </p:cNvPr>
          <p:cNvSpPr/>
          <p:nvPr/>
        </p:nvSpPr>
        <p:spPr>
          <a:xfrm>
            <a:off x="3829903" y="1451540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5</a:t>
            </a:r>
          </a:p>
        </p:txBody>
      </p:sp>
      <p:sp>
        <p:nvSpPr>
          <p:cNvPr id="146" name="Ellipse 74">
            <a:extLst>
              <a:ext uri="{FF2B5EF4-FFF2-40B4-BE49-F238E27FC236}">
                <a16:creationId xmlns:a16="http://schemas.microsoft.com/office/drawing/2014/main" id="{3EEDC4C2-C41F-4838-A16A-A9122E586F31}"/>
              </a:ext>
            </a:extLst>
          </p:cNvPr>
          <p:cNvSpPr/>
          <p:nvPr/>
        </p:nvSpPr>
        <p:spPr>
          <a:xfrm>
            <a:off x="4666771" y="1454862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6</a:t>
            </a:r>
          </a:p>
        </p:txBody>
      </p:sp>
      <p:sp>
        <p:nvSpPr>
          <p:cNvPr id="147" name="Ellipse 77">
            <a:extLst>
              <a:ext uri="{FF2B5EF4-FFF2-40B4-BE49-F238E27FC236}">
                <a16:creationId xmlns:a16="http://schemas.microsoft.com/office/drawing/2014/main" id="{AFCC7B0B-80B6-4046-B6E3-A87AC1CC0191}"/>
              </a:ext>
            </a:extLst>
          </p:cNvPr>
          <p:cNvSpPr/>
          <p:nvPr/>
        </p:nvSpPr>
        <p:spPr>
          <a:xfrm>
            <a:off x="458254" y="2556289"/>
            <a:ext cx="189518" cy="190997"/>
          </a:xfrm>
          <a:prstGeom prst="ellipse">
            <a:avLst/>
          </a:prstGeom>
          <a:solidFill>
            <a:srgbClr val="FF9E27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7</a:t>
            </a:r>
          </a:p>
        </p:txBody>
      </p:sp>
      <p:sp>
        <p:nvSpPr>
          <p:cNvPr id="148" name="Ellipse 80">
            <a:extLst>
              <a:ext uri="{FF2B5EF4-FFF2-40B4-BE49-F238E27FC236}">
                <a16:creationId xmlns:a16="http://schemas.microsoft.com/office/drawing/2014/main" id="{C2767E24-2A05-431F-B320-43443123DDB7}"/>
              </a:ext>
            </a:extLst>
          </p:cNvPr>
          <p:cNvSpPr/>
          <p:nvPr/>
        </p:nvSpPr>
        <p:spPr>
          <a:xfrm>
            <a:off x="1296344" y="2559862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8</a:t>
            </a:r>
          </a:p>
        </p:txBody>
      </p:sp>
      <p:sp>
        <p:nvSpPr>
          <p:cNvPr id="149" name="Ellipse 95">
            <a:extLst>
              <a:ext uri="{FF2B5EF4-FFF2-40B4-BE49-F238E27FC236}">
                <a16:creationId xmlns:a16="http://schemas.microsoft.com/office/drawing/2014/main" id="{E09D918E-23EF-4C1A-836A-D1405614592C}"/>
              </a:ext>
            </a:extLst>
          </p:cNvPr>
          <p:cNvSpPr/>
          <p:nvPr/>
        </p:nvSpPr>
        <p:spPr>
          <a:xfrm>
            <a:off x="2139516" y="3614123"/>
            <a:ext cx="189518" cy="190998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15</a:t>
            </a:r>
          </a:p>
        </p:txBody>
      </p:sp>
      <p:sp>
        <p:nvSpPr>
          <p:cNvPr id="150" name="Ellipse 98">
            <a:extLst>
              <a:ext uri="{FF2B5EF4-FFF2-40B4-BE49-F238E27FC236}">
                <a16:creationId xmlns:a16="http://schemas.microsoft.com/office/drawing/2014/main" id="{591818AF-5B29-446E-9D7E-B3006A2ECFBE}"/>
              </a:ext>
            </a:extLst>
          </p:cNvPr>
          <p:cNvSpPr/>
          <p:nvPr/>
        </p:nvSpPr>
        <p:spPr>
          <a:xfrm>
            <a:off x="2983504" y="3612876"/>
            <a:ext cx="189518" cy="190998"/>
          </a:xfrm>
          <a:prstGeom prst="ellipse">
            <a:avLst/>
          </a:prstGeom>
          <a:solidFill>
            <a:srgbClr val="FF9E27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16</a:t>
            </a:r>
          </a:p>
        </p:txBody>
      </p:sp>
      <p:sp>
        <p:nvSpPr>
          <p:cNvPr id="151" name="Ellipse 101">
            <a:extLst>
              <a:ext uri="{FF2B5EF4-FFF2-40B4-BE49-F238E27FC236}">
                <a16:creationId xmlns:a16="http://schemas.microsoft.com/office/drawing/2014/main" id="{BABAAC28-4D31-4EA6-B3EC-3AF9629D245A}"/>
              </a:ext>
            </a:extLst>
          </p:cNvPr>
          <p:cNvSpPr/>
          <p:nvPr/>
        </p:nvSpPr>
        <p:spPr>
          <a:xfrm>
            <a:off x="3832004" y="3611384"/>
            <a:ext cx="189518" cy="190998"/>
          </a:xfrm>
          <a:prstGeom prst="ellipse">
            <a:avLst/>
          </a:prstGeom>
          <a:solidFill>
            <a:srgbClr val="FF9E27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17</a:t>
            </a:r>
          </a:p>
        </p:txBody>
      </p:sp>
      <p:sp>
        <p:nvSpPr>
          <p:cNvPr id="153" name="Ellipse 83">
            <a:extLst>
              <a:ext uri="{FF2B5EF4-FFF2-40B4-BE49-F238E27FC236}">
                <a16:creationId xmlns:a16="http://schemas.microsoft.com/office/drawing/2014/main" id="{8FEDD713-464A-4B26-A053-010FC19FB7B3}"/>
              </a:ext>
            </a:extLst>
          </p:cNvPr>
          <p:cNvSpPr/>
          <p:nvPr/>
        </p:nvSpPr>
        <p:spPr>
          <a:xfrm>
            <a:off x="2139761" y="2558836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9</a:t>
            </a:r>
          </a:p>
        </p:txBody>
      </p:sp>
      <p:sp>
        <p:nvSpPr>
          <p:cNvPr id="154" name="Ellipse 86">
            <a:extLst>
              <a:ext uri="{FF2B5EF4-FFF2-40B4-BE49-F238E27FC236}">
                <a16:creationId xmlns:a16="http://schemas.microsoft.com/office/drawing/2014/main" id="{BFD8DB56-2643-44B7-8324-3B7AA073B0A8}"/>
              </a:ext>
            </a:extLst>
          </p:cNvPr>
          <p:cNvSpPr/>
          <p:nvPr/>
        </p:nvSpPr>
        <p:spPr>
          <a:xfrm>
            <a:off x="2985245" y="2556289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10</a:t>
            </a:r>
          </a:p>
        </p:txBody>
      </p:sp>
      <p:sp>
        <p:nvSpPr>
          <p:cNvPr id="155" name="Ellipse 89">
            <a:extLst>
              <a:ext uri="{FF2B5EF4-FFF2-40B4-BE49-F238E27FC236}">
                <a16:creationId xmlns:a16="http://schemas.microsoft.com/office/drawing/2014/main" id="{21955B83-0F03-40E4-B6BA-E86C8A3B7E18}"/>
              </a:ext>
            </a:extLst>
          </p:cNvPr>
          <p:cNvSpPr/>
          <p:nvPr/>
        </p:nvSpPr>
        <p:spPr>
          <a:xfrm>
            <a:off x="3831003" y="2562117"/>
            <a:ext cx="189518" cy="190997"/>
          </a:xfrm>
          <a:prstGeom prst="ellipse">
            <a:avLst/>
          </a:prstGeom>
          <a:solidFill>
            <a:srgbClr val="FF9E27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11</a:t>
            </a:r>
          </a:p>
        </p:txBody>
      </p:sp>
      <p:sp>
        <p:nvSpPr>
          <p:cNvPr id="156" name="Ellipse 107">
            <a:extLst>
              <a:ext uri="{FF2B5EF4-FFF2-40B4-BE49-F238E27FC236}">
                <a16:creationId xmlns:a16="http://schemas.microsoft.com/office/drawing/2014/main" id="{AD4B8C7D-74AC-4EDD-A2ED-CDEEE3ADAD39}"/>
              </a:ext>
            </a:extLst>
          </p:cNvPr>
          <p:cNvSpPr/>
          <p:nvPr/>
        </p:nvSpPr>
        <p:spPr>
          <a:xfrm>
            <a:off x="454799" y="3611385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13</a:t>
            </a:r>
          </a:p>
        </p:txBody>
      </p:sp>
      <p:sp>
        <p:nvSpPr>
          <p:cNvPr id="157" name="Ellipse 110">
            <a:extLst>
              <a:ext uri="{FF2B5EF4-FFF2-40B4-BE49-F238E27FC236}">
                <a16:creationId xmlns:a16="http://schemas.microsoft.com/office/drawing/2014/main" id="{3EF4F07C-56E1-4598-8D3C-F2F2BA480D73}"/>
              </a:ext>
            </a:extLst>
          </p:cNvPr>
          <p:cNvSpPr/>
          <p:nvPr/>
        </p:nvSpPr>
        <p:spPr>
          <a:xfrm>
            <a:off x="1294219" y="3612946"/>
            <a:ext cx="189518" cy="190998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14</a:t>
            </a:r>
          </a:p>
        </p:txBody>
      </p:sp>
      <p:sp>
        <p:nvSpPr>
          <p:cNvPr id="158" name="Text Box 46">
            <a:extLst>
              <a:ext uri="{FF2B5EF4-FFF2-40B4-BE49-F238E27FC236}">
                <a16:creationId xmlns:a16="http://schemas.microsoft.com/office/drawing/2014/main" id="{6325C264-7E88-4513-9E25-E9EABBC0EA5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92471" y="2138431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>
                <a:solidFill>
                  <a:srgbClr val="000000"/>
                </a:solidFill>
              </a:rPr>
              <a:t>Andernach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59" name="Text Box 46">
            <a:extLst>
              <a:ext uri="{FF2B5EF4-FFF2-40B4-BE49-F238E27FC236}">
                <a16:creationId xmlns:a16="http://schemas.microsoft.com/office/drawing/2014/main" id="{73E809D5-DFDB-4F8C-835E-F4FD5572615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35515" y="2138431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>
                <a:solidFill>
                  <a:srgbClr val="000000"/>
                </a:solidFill>
              </a:rPr>
              <a:t>Delfzijl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60" name="Text Box 46">
            <a:extLst>
              <a:ext uri="{FF2B5EF4-FFF2-40B4-BE49-F238E27FC236}">
                <a16:creationId xmlns:a16="http://schemas.microsoft.com/office/drawing/2014/main" id="{611372FB-CD09-445F-8D6F-ABA3A15AA9E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78560" y="2138431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Breisgau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61" name="Text Box 46">
            <a:extLst>
              <a:ext uri="{FF2B5EF4-FFF2-40B4-BE49-F238E27FC236}">
                <a16:creationId xmlns:a16="http://schemas.microsoft.com/office/drawing/2014/main" id="{F01BB0CF-3EEF-47AF-AED4-E5B73D43161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21604" y="2138431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Göppingen</a:t>
            </a:r>
            <a:endParaRPr lang="en-US" sz="675" dirty="0">
              <a:solidFill>
                <a:srgbClr val="000000"/>
              </a:solidFill>
            </a:endParaRPr>
          </a:p>
        </p:txBody>
      </p:sp>
      <p:sp>
        <p:nvSpPr>
          <p:cNvPr id="162" name="Text Box 46">
            <a:extLst>
              <a:ext uri="{FF2B5EF4-FFF2-40B4-BE49-F238E27FC236}">
                <a16:creationId xmlns:a16="http://schemas.microsoft.com/office/drawing/2014/main" id="{22975973-055B-4D8E-A066-4804B3E5826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764648" y="2138431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Großräschen</a:t>
            </a:r>
            <a:endParaRPr lang="en-US" sz="675" dirty="0">
              <a:solidFill>
                <a:srgbClr val="000000"/>
              </a:solidFill>
            </a:endParaRPr>
          </a:p>
        </p:txBody>
      </p:sp>
      <p:sp>
        <p:nvSpPr>
          <p:cNvPr id="163" name="Text Box 46">
            <a:extLst>
              <a:ext uri="{FF2B5EF4-FFF2-40B4-BE49-F238E27FC236}">
                <a16:creationId xmlns:a16="http://schemas.microsoft.com/office/drawing/2014/main" id="{E19AA39F-ADEF-401F-B213-B65A51E80A4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607693" y="2138431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>
                <a:solidFill>
                  <a:srgbClr val="000000"/>
                </a:solidFill>
              </a:rPr>
              <a:t>Hannover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64" name="Text Box 46">
            <a:extLst>
              <a:ext uri="{FF2B5EF4-FFF2-40B4-BE49-F238E27FC236}">
                <a16:creationId xmlns:a16="http://schemas.microsoft.com/office/drawing/2014/main" id="{2D321027-E846-4301-A214-E7EC96BD769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92471" y="321668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Helmstedt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65" name="Text Box 46">
            <a:extLst>
              <a:ext uri="{FF2B5EF4-FFF2-40B4-BE49-F238E27FC236}">
                <a16:creationId xmlns:a16="http://schemas.microsoft.com/office/drawing/2014/main" id="{9DA7149A-BCE2-4878-9E7A-5B66292131F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35515" y="321668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Heringen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66" name="Text Box 46">
            <a:extLst>
              <a:ext uri="{FF2B5EF4-FFF2-40B4-BE49-F238E27FC236}">
                <a16:creationId xmlns:a16="http://schemas.microsoft.com/office/drawing/2014/main" id="{5C4C828B-EF0E-46FB-AA7F-4FC1F0BEC93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78560" y="321668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>
                <a:solidFill>
                  <a:srgbClr val="000000"/>
                </a:solidFill>
              </a:rPr>
              <a:t>Knapsack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67" name="Text Box 46">
            <a:extLst>
              <a:ext uri="{FF2B5EF4-FFF2-40B4-BE49-F238E27FC236}">
                <a16:creationId xmlns:a16="http://schemas.microsoft.com/office/drawing/2014/main" id="{F9BB4F88-9427-4B6A-992C-5EF03D68A13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21604" y="321668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Leudelange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68" name="Text Box 46">
            <a:extLst>
              <a:ext uri="{FF2B5EF4-FFF2-40B4-BE49-F238E27FC236}">
                <a16:creationId xmlns:a16="http://schemas.microsoft.com/office/drawing/2014/main" id="{34D7FF09-3303-49F3-AAAA-3CEB33857AE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764648" y="321668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Rothensee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70" name="Text Box 46">
            <a:extLst>
              <a:ext uri="{FF2B5EF4-FFF2-40B4-BE49-F238E27FC236}">
                <a16:creationId xmlns:a16="http://schemas.microsoft.com/office/drawing/2014/main" id="{09BFB9F3-CA1F-44F0-93D2-507F83D072D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089049" y="426254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>
                <a:solidFill>
                  <a:srgbClr val="000000"/>
                </a:solidFill>
              </a:rPr>
              <a:t>Schwedt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71" name="Text Box 46">
            <a:extLst>
              <a:ext uri="{FF2B5EF4-FFF2-40B4-BE49-F238E27FC236}">
                <a16:creationId xmlns:a16="http://schemas.microsoft.com/office/drawing/2014/main" id="{01963856-7D60-4567-AC1A-22294B1EBBA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32093" y="426254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Stapelfeld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72" name="Text Box 46">
            <a:extLst>
              <a:ext uri="{FF2B5EF4-FFF2-40B4-BE49-F238E27FC236}">
                <a16:creationId xmlns:a16="http://schemas.microsoft.com/office/drawing/2014/main" id="{9E0B1342-1FCB-4A86-9BC3-F7478C868D6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775138" y="426254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Stavenhagen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73" name="Text Box 46">
            <a:extLst>
              <a:ext uri="{FF2B5EF4-FFF2-40B4-BE49-F238E27FC236}">
                <a16:creationId xmlns:a16="http://schemas.microsoft.com/office/drawing/2014/main" id="{F2444C71-CE46-4BB7-869A-0F99DF98400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92471" y="426254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Pirmasens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174" name="Text Box 46">
            <a:extLst>
              <a:ext uri="{FF2B5EF4-FFF2-40B4-BE49-F238E27FC236}">
                <a16:creationId xmlns:a16="http://schemas.microsoft.com/office/drawing/2014/main" id="{C53F1652-3E91-4803-B52C-825914C0C39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235515" y="426254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 err="1">
                <a:solidFill>
                  <a:srgbClr val="000000"/>
                </a:solidFill>
              </a:rPr>
              <a:t>Premnitz</a:t>
            </a:r>
            <a:r>
              <a:rPr lang="en-US" sz="675" dirty="0">
                <a:solidFill>
                  <a:srgbClr val="000000"/>
                </a:solidFill>
              </a:rPr>
              <a:t> </a:t>
            </a:r>
            <a:endParaRPr lang="en-GB" sz="675" dirty="0">
              <a:solidFill>
                <a:srgbClr val="000000"/>
              </a:solidFill>
            </a:endParaRPr>
          </a:p>
        </p:txBody>
      </p:sp>
      <p:pic>
        <p:nvPicPr>
          <p:cNvPr id="193" name="Grafik 192">
            <a:extLst>
              <a:ext uri="{FF2B5EF4-FFF2-40B4-BE49-F238E27FC236}">
                <a16:creationId xmlns:a16="http://schemas.microsoft.com/office/drawing/2014/main" id="{2524CC09-D349-46AC-850A-A2B740A5BF30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464" t="2122" r="23786" b="1194"/>
          <a:stretch/>
        </p:blipFill>
        <p:spPr>
          <a:xfrm>
            <a:off x="395288" y="1404732"/>
            <a:ext cx="746209" cy="728242"/>
          </a:xfrm>
          <a:prstGeom prst="rect">
            <a:avLst/>
          </a:prstGeom>
        </p:spPr>
      </p:pic>
      <p:sp>
        <p:nvSpPr>
          <p:cNvPr id="194" name="Ellipse 6">
            <a:extLst>
              <a:ext uri="{FF2B5EF4-FFF2-40B4-BE49-F238E27FC236}">
                <a16:creationId xmlns:a16="http://schemas.microsoft.com/office/drawing/2014/main" id="{8783E7DF-AB33-405A-AA38-8657312DBE7B}"/>
              </a:ext>
            </a:extLst>
          </p:cNvPr>
          <p:cNvSpPr/>
          <p:nvPr/>
        </p:nvSpPr>
        <p:spPr>
          <a:xfrm>
            <a:off x="457200" y="1454150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1</a:t>
            </a:r>
          </a:p>
        </p:txBody>
      </p:sp>
      <p:pic>
        <p:nvPicPr>
          <p:cNvPr id="195" name="Grafik 194">
            <a:extLst>
              <a:ext uri="{FF2B5EF4-FFF2-40B4-BE49-F238E27FC236}">
                <a16:creationId xmlns:a16="http://schemas.microsoft.com/office/drawing/2014/main" id="{ACD04077-731B-4304-A7B9-8BD05D125D0E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06" t="1203" r="4898" b="2044"/>
          <a:stretch/>
        </p:blipFill>
        <p:spPr>
          <a:xfrm>
            <a:off x="4612582" y="2497422"/>
            <a:ext cx="748319" cy="715994"/>
          </a:xfrm>
          <a:prstGeom prst="rect">
            <a:avLst/>
          </a:prstGeom>
        </p:spPr>
      </p:pic>
      <p:sp>
        <p:nvSpPr>
          <p:cNvPr id="196" name="Ellipse 92">
            <a:extLst>
              <a:ext uri="{FF2B5EF4-FFF2-40B4-BE49-F238E27FC236}">
                <a16:creationId xmlns:a16="http://schemas.microsoft.com/office/drawing/2014/main" id="{4BB63F0F-D2C4-4145-ADD1-D41BA9CB8490}"/>
              </a:ext>
            </a:extLst>
          </p:cNvPr>
          <p:cNvSpPr/>
          <p:nvPr/>
        </p:nvSpPr>
        <p:spPr>
          <a:xfrm>
            <a:off x="4666841" y="2559002"/>
            <a:ext cx="189518" cy="190997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25" b="1" dirty="0"/>
              <a:t>12</a:t>
            </a:r>
          </a:p>
        </p:txBody>
      </p:sp>
      <p:sp>
        <p:nvSpPr>
          <p:cNvPr id="197" name="Text Box 46">
            <a:extLst>
              <a:ext uri="{FF2B5EF4-FFF2-40B4-BE49-F238E27FC236}">
                <a16:creationId xmlns:a16="http://schemas.microsoft.com/office/drawing/2014/main" id="{7D48A4D8-7D8A-4823-84F8-FCB746AC526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607693" y="3216687"/>
            <a:ext cx="750717" cy="1962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675" dirty="0">
                <a:solidFill>
                  <a:srgbClr val="000000"/>
                </a:solidFill>
              </a:rPr>
              <a:t>Neunkirchen</a:t>
            </a:r>
            <a:endParaRPr lang="en-GB" sz="675" dirty="0">
              <a:solidFill>
                <a:srgbClr val="000000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A659051-6B2E-4F26-B999-0898F3FFC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500" dirty="0"/>
              <a:t>Wir sind immer für Sie nah. </a:t>
            </a:r>
            <a:br>
              <a:rPr lang="de-DE" sz="2500" dirty="0"/>
            </a:br>
            <a:r>
              <a:rPr lang="de-DE" sz="2500" dirty="0">
                <a:solidFill>
                  <a:schemeClr val="accent2"/>
                </a:solidFill>
              </a:rPr>
              <a:t>Mit 17 Anlagen in Europa.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D952BF4-D397-415C-963C-F753822E67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2F9DB34-9563-418E-B877-EE66F92BBE0F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199" y="162001"/>
            <a:ext cx="648773" cy="598516"/>
          </a:xfrm>
          <a:prstGeom prst="rect">
            <a:avLst/>
          </a:prstGeom>
        </p:spPr>
      </p:pic>
      <p:sp>
        <p:nvSpPr>
          <p:cNvPr id="189" name="Textplatzhalter 12">
            <a:extLst>
              <a:ext uri="{FF2B5EF4-FFF2-40B4-BE49-F238E27FC236}">
                <a16:creationId xmlns:a16="http://schemas.microsoft.com/office/drawing/2014/main" id="{FE139D3D-F2EA-4052-AAFB-707466007080}"/>
              </a:ext>
            </a:extLst>
          </p:cNvPr>
          <p:cNvSpPr txBox="1">
            <a:spLocks/>
          </p:cNvSpPr>
          <p:nvPr/>
        </p:nvSpPr>
        <p:spPr>
          <a:xfrm>
            <a:off x="4660928" y="3999454"/>
            <a:ext cx="1118525" cy="203137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rgbClr val="6E6E6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800"/>
              </a:lnSpc>
            </a:pPr>
            <a:r>
              <a:rPr lang="de-DE" sz="700" spc="-20" dirty="0">
                <a:solidFill>
                  <a:srgbClr val="000000"/>
                </a:solidFill>
                <a:latin typeface="Calibri" panose="02020603050405020304" pitchFamily="2"/>
              </a:rPr>
              <a:t>EEW-Standorte mit thermischen Abfallverwertungsanlagen </a:t>
            </a:r>
          </a:p>
        </p:txBody>
      </p:sp>
      <p:sp>
        <p:nvSpPr>
          <p:cNvPr id="198" name="Textplatzhalter 26">
            <a:extLst>
              <a:ext uri="{FF2B5EF4-FFF2-40B4-BE49-F238E27FC236}">
                <a16:creationId xmlns:a16="http://schemas.microsoft.com/office/drawing/2014/main" id="{B5B6242D-BCC0-4BB9-AB54-A10E8645D9CC}"/>
              </a:ext>
            </a:extLst>
          </p:cNvPr>
          <p:cNvSpPr txBox="1">
            <a:spLocks/>
          </p:cNvSpPr>
          <p:nvPr/>
        </p:nvSpPr>
        <p:spPr>
          <a:xfrm>
            <a:off x="4669591" y="4464168"/>
            <a:ext cx="1438466" cy="203137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rgbClr val="6E6E6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ts val="800"/>
              </a:lnSpc>
            </a:pPr>
            <a:r>
              <a:rPr lang="de-DE" sz="700" spc="-20" dirty="0">
                <a:solidFill>
                  <a:srgbClr val="000000"/>
                </a:solidFill>
                <a:latin typeface="Calibri" panose="02020603050405020304" pitchFamily="2"/>
              </a:rPr>
              <a:t>EEW-Standorte mit geplanter zusätzlicher Klärschlamm-Monoverbrennungsanlage </a:t>
            </a:r>
          </a:p>
        </p:txBody>
      </p:sp>
      <p:sp>
        <p:nvSpPr>
          <p:cNvPr id="199" name="Ellipse 98">
            <a:extLst>
              <a:ext uri="{FF2B5EF4-FFF2-40B4-BE49-F238E27FC236}">
                <a16:creationId xmlns:a16="http://schemas.microsoft.com/office/drawing/2014/main" id="{22CD975A-9308-41A9-B918-9D329E3A2F21}"/>
              </a:ext>
            </a:extLst>
          </p:cNvPr>
          <p:cNvSpPr/>
          <p:nvPr/>
        </p:nvSpPr>
        <p:spPr>
          <a:xfrm>
            <a:off x="4677790" y="3826328"/>
            <a:ext cx="116498" cy="117408"/>
          </a:xfrm>
          <a:prstGeom prst="ellipse">
            <a:avLst/>
          </a:prstGeom>
          <a:solidFill>
            <a:srgbClr val="FF9E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825" b="1" dirty="0"/>
          </a:p>
        </p:txBody>
      </p:sp>
      <p:sp>
        <p:nvSpPr>
          <p:cNvPr id="202" name="Ellipse 98">
            <a:extLst>
              <a:ext uri="{FF2B5EF4-FFF2-40B4-BE49-F238E27FC236}">
                <a16:creationId xmlns:a16="http://schemas.microsoft.com/office/drawing/2014/main" id="{3D849A9B-CCF4-4062-8A52-BD113FAA330D}"/>
              </a:ext>
            </a:extLst>
          </p:cNvPr>
          <p:cNvSpPr/>
          <p:nvPr/>
        </p:nvSpPr>
        <p:spPr>
          <a:xfrm>
            <a:off x="4677790" y="4296088"/>
            <a:ext cx="116498" cy="117408"/>
          </a:xfrm>
          <a:prstGeom prst="ellipse">
            <a:avLst/>
          </a:prstGeom>
          <a:solidFill>
            <a:srgbClr val="FF9E27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825" b="1" dirty="0"/>
          </a:p>
        </p:txBody>
      </p:sp>
      <p:sp>
        <p:nvSpPr>
          <p:cNvPr id="200" name="Ellipse 6">
            <a:extLst>
              <a:ext uri="{FF2B5EF4-FFF2-40B4-BE49-F238E27FC236}">
                <a16:creationId xmlns:a16="http://schemas.microsoft.com/office/drawing/2014/main" id="{8996FE5D-E832-43A7-854F-4866B5076ADD}"/>
              </a:ext>
            </a:extLst>
          </p:cNvPr>
          <p:cNvSpPr/>
          <p:nvPr/>
        </p:nvSpPr>
        <p:spPr>
          <a:xfrm>
            <a:off x="7249594" y="2092699"/>
            <a:ext cx="144000" cy="144000"/>
          </a:xfrm>
          <a:prstGeom prst="ellipse">
            <a:avLst/>
          </a:prstGeom>
          <a:solidFill>
            <a:srgbClr val="FF9E27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700" b="1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11624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Himmel, draußen, überschauend, Kran enthält.&#10;&#10;Automatisch generierte Beschreibung">
            <a:extLst>
              <a:ext uri="{FF2B5EF4-FFF2-40B4-BE49-F238E27FC236}">
                <a16:creationId xmlns:a16="http://schemas.microsoft.com/office/drawing/2014/main" id="{A772B72F-21D0-4F68-BD2A-7CB3708982D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8" b="4012"/>
          <a:stretch/>
        </p:blipFill>
        <p:spPr>
          <a:xfrm>
            <a:off x="2092" y="0"/>
            <a:ext cx="9141907" cy="5157040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DA76AA2B-8CFF-ECD7-AF64-2F934C143FA5}"/>
              </a:ext>
            </a:extLst>
          </p:cNvPr>
          <p:cNvSpPr/>
          <p:nvPr/>
        </p:nvSpPr>
        <p:spPr>
          <a:xfrm>
            <a:off x="0" y="-1"/>
            <a:ext cx="9143997" cy="5158231"/>
          </a:xfrm>
          <a:prstGeom prst="rect">
            <a:avLst/>
          </a:prstGeom>
          <a:gradFill flip="none" rotWithShape="1">
            <a:gsLst>
              <a:gs pos="19000">
                <a:srgbClr val="FF9E27">
                  <a:lumMod val="100000"/>
                  <a:alpha val="70000"/>
                </a:srgbClr>
              </a:gs>
              <a:gs pos="97000">
                <a:srgbClr val="9F0F00">
                  <a:alpha val="86000"/>
                </a:srgbClr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88ECA53-76DD-408D-90A6-59ACC06DE4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83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8" imgH="408" progId="TCLayout.ActiveDocument.1">
                  <p:embed/>
                </p:oleObj>
              </mc:Choice>
              <mc:Fallback>
                <p:oleObj name="think-cell Folie" r:id="rId5" imgW="408" imgH="40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88ECA53-76DD-408D-90A6-59ACC06DE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D911B9-AFB4-4520-9B4F-F8E9DEFF10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9" name="Inhaltsplatzhalter 6">
            <a:extLst>
              <a:ext uri="{FF2B5EF4-FFF2-40B4-BE49-F238E27FC236}">
                <a16:creationId xmlns:a16="http://schemas.microsoft.com/office/drawing/2014/main" id="{8CCDA1EC-04C5-53ED-8B46-70212984B0C8}"/>
              </a:ext>
            </a:extLst>
          </p:cNvPr>
          <p:cNvSpPr txBox="1">
            <a:spLocks/>
          </p:cNvSpPr>
          <p:nvPr/>
        </p:nvSpPr>
        <p:spPr>
          <a:xfrm>
            <a:off x="419099" y="1391738"/>
            <a:ext cx="7968155" cy="1371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138" indent="-211137" algn="l" defTabSz="914400" rtl="0" eaLnBrk="1" latinLnBrk="0" hangingPunct="1">
              <a:spcBef>
                <a:spcPts val="8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1975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3038" algn="l" defTabSz="914400" rtl="0" eaLnBrk="1" latinLnBrk="0" hangingPunct="1">
              <a:spcBef>
                <a:spcPts val="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b="1" kern="1200">
                <a:solidFill>
                  <a:srgbClr val="9F0F00"/>
                </a:solidFill>
                <a:latin typeface="+mn-lt"/>
                <a:ea typeface="+mn-ea"/>
                <a:cs typeface="+mn-cs"/>
              </a:defRPr>
            </a:lvl5pPr>
            <a:lvl6pPr marL="1092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700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5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034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  <a:spcBef>
                <a:spcPts val="0"/>
              </a:spcBef>
            </a:pPr>
            <a:endParaRPr lang="en-US" sz="4400" b="1" dirty="0">
              <a:solidFill>
                <a:schemeClr val="bg1"/>
              </a:solidFill>
            </a:endParaRPr>
          </a:p>
          <a:p>
            <a:pPr>
              <a:lnSpc>
                <a:spcPct val="70000"/>
              </a:lnSpc>
              <a:spcBef>
                <a:spcPts val="0"/>
              </a:spcBef>
            </a:pPr>
            <a:r>
              <a:rPr lang="en-US" sz="4400" b="1" dirty="0" err="1">
                <a:solidFill>
                  <a:schemeClr val="bg1"/>
                </a:solidFill>
              </a:rPr>
              <a:t>Thermische</a:t>
            </a:r>
            <a:r>
              <a:rPr lang="en-US" sz="4400" b="1" dirty="0">
                <a:solidFill>
                  <a:schemeClr val="bg1"/>
                </a:solidFill>
              </a:rPr>
              <a:t> </a:t>
            </a:r>
            <a:r>
              <a:rPr lang="en-US" sz="4400" b="1" dirty="0" err="1">
                <a:solidFill>
                  <a:schemeClr val="bg1"/>
                </a:solidFill>
              </a:rPr>
              <a:t>Klärschlammverwertung</a:t>
            </a:r>
            <a:endParaRPr lang="en-US" sz="4400" b="1" dirty="0">
              <a:solidFill>
                <a:schemeClr val="bg1"/>
              </a:solidFill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3FFB0C5C-8DE8-7D59-8825-1A737BE1DC33}"/>
              </a:ext>
            </a:extLst>
          </p:cNvPr>
          <p:cNvSpPr/>
          <p:nvPr/>
        </p:nvSpPr>
        <p:spPr>
          <a:xfrm>
            <a:off x="419100" y="1149350"/>
            <a:ext cx="660400" cy="35560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rgbClr val="A52E15"/>
                </a:solidFill>
              </a:rPr>
              <a:t>2.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77958E4C-C0E5-0B70-5501-94FB17AD4850}"/>
              </a:ext>
            </a:extLst>
          </p:cNvPr>
          <p:cNvSpPr txBox="1">
            <a:spLocks/>
          </p:cNvSpPr>
          <p:nvPr/>
        </p:nvSpPr>
        <p:spPr>
          <a:xfrm>
            <a:off x="8233200" y="4862700"/>
            <a:ext cx="514800" cy="1161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rgbClr val="6E6E6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639E044-4B05-4C62-84D8-314F036569E5}" type="slidenum">
              <a:rPr lang="de-DE" smtClean="0">
                <a:solidFill>
                  <a:schemeClr val="bg1"/>
                </a:solidFill>
              </a:rPr>
              <a:pPr/>
              <a:t>6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5C69B16-E227-BA97-57E4-046C7624A3B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233201" y="151768"/>
            <a:ext cx="659865" cy="60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37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CEC05510-A468-4736-90FA-C66264A73B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CEC05510-A468-4736-90FA-C66264A73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11CE130-A1AC-465E-8438-B0206C8C0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EW hat die Herausforderungen frühzeitig </a:t>
            </a:r>
            <a:br>
              <a:rPr lang="de-DE" dirty="0"/>
            </a:br>
            <a:r>
              <a:rPr lang="de-DE" dirty="0"/>
              <a:t>als Chancen verstanden.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FF643FA-D175-4DD3-AD6E-73C2D89D8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33200" y="4881758"/>
            <a:ext cx="514800" cy="116100"/>
          </a:xfrm>
        </p:spPr>
        <p:txBody>
          <a:bodyPr/>
          <a:lstStyle/>
          <a:p>
            <a:fld id="{5639E044-4B05-4C62-84D8-314F036569E5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0C86880-66CB-48C3-9E0F-8CC2A943EBA2}"/>
              </a:ext>
            </a:extLst>
          </p:cNvPr>
          <p:cNvSpPr/>
          <p:nvPr/>
        </p:nvSpPr>
        <p:spPr bwMode="auto">
          <a:xfrm>
            <a:off x="596" y="3268533"/>
            <a:ext cx="9141619" cy="1886451"/>
          </a:xfrm>
          <a:prstGeom prst="rect">
            <a:avLst/>
          </a:prstGeom>
          <a:gradFill flip="none" rotWithShape="1">
            <a:gsLst>
              <a:gs pos="32000">
                <a:schemeClr val="accent2">
                  <a:lumMod val="45000"/>
                  <a:lumOff val="55000"/>
                </a:schemeClr>
              </a:gs>
              <a:gs pos="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20000"/>
                  <a:lumOff val="80000"/>
                </a:schemeClr>
              </a:gs>
            </a:gsLst>
            <a:lin ang="2700000" scaled="0"/>
            <a:tileRect/>
          </a:gradFill>
          <a:ln>
            <a:noFill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10800" algn="ctr">
              <a:lnSpc>
                <a:spcPct val="122000"/>
              </a:lnSpc>
              <a:spcAft>
                <a:spcPts val="1650"/>
              </a:spcAft>
            </a:pPr>
            <a:endParaRPr lang="de-DE" sz="1125" err="1"/>
          </a:p>
        </p:txBody>
      </p:sp>
      <p:sp>
        <p:nvSpPr>
          <p:cNvPr id="7" name="Foliennummernplatzhalter 4">
            <a:extLst>
              <a:ext uri="{FF2B5EF4-FFF2-40B4-BE49-F238E27FC236}">
                <a16:creationId xmlns:a16="http://schemas.microsoft.com/office/drawing/2014/main" id="{5D41D0CE-1015-4C28-834B-6C3FDFBBDBDB}"/>
              </a:ext>
            </a:extLst>
          </p:cNvPr>
          <p:cNvSpPr txBox="1">
            <a:spLocks/>
          </p:cNvSpPr>
          <p:nvPr/>
        </p:nvSpPr>
        <p:spPr>
          <a:xfrm>
            <a:off x="8233200" y="4881758"/>
            <a:ext cx="514800" cy="1161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rgbClr val="6E6E6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3FEFB19A-297A-4BBE-9346-D794CC0F8CA9}"/>
              </a:ext>
            </a:extLst>
          </p:cNvPr>
          <p:cNvCxnSpPr>
            <a:cxnSpLocks/>
          </p:cNvCxnSpPr>
          <p:nvPr/>
        </p:nvCxnSpPr>
        <p:spPr>
          <a:xfrm>
            <a:off x="596" y="3268533"/>
            <a:ext cx="9142810" cy="0"/>
          </a:xfrm>
          <a:prstGeom prst="line">
            <a:avLst/>
          </a:prstGeom>
          <a:ln w="28575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E327AD0-56B6-420B-9CF0-66E5C32B07A0}"/>
              </a:ext>
            </a:extLst>
          </p:cNvPr>
          <p:cNvGrpSpPr/>
          <p:nvPr/>
        </p:nvGrpSpPr>
        <p:grpSpPr>
          <a:xfrm>
            <a:off x="1460712" y="2426471"/>
            <a:ext cx="464344" cy="1116056"/>
            <a:chOff x="1601814" y="2426471"/>
            <a:chExt cx="464344" cy="1116056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2A5FFCA7-FE77-4D18-98EA-6A1CC8A8AA6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30075" y="2426471"/>
              <a:ext cx="0" cy="1116056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4181A244-7C3A-45F7-94B1-C51147CB76EA}"/>
                </a:ext>
              </a:extLst>
            </p:cNvPr>
            <p:cNvSpPr/>
            <p:nvPr/>
          </p:nvSpPr>
          <p:spPr bwMode="auto">
            <a:xfrm>
              <a:off x="1601814" y="3036363"/>
              <a:ext cx="464344" cy="46434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0800" algn="ctr">
                <a:lnSpc>
                  <a:spcPct val="122000"/>
                </a:lnSpc>
                <a:spcAft>
                  <a:spcPts val="1650"/>
                </a:spcAft>
              </a:pPr>
              <a:r>
                <a:rPr lang="de-DE" sz="1125" dirty="0">
                  <a:solidFill>
                    <a:schemeClr val="bg1"/>
                  </a:solidFill>
                </a:rPr>
                <a:t>2015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17A4ABC-0A40-2A53-C1B3-ACE7550774E7}"/>
              </a:ext>
            </a:extLst>
          </p:cNvPr>
          <p:cNvGrpSpPr/>
          <p:nvPr/>
        </p:nvGrpSpPr>
        <p:grpSpPr>
          <a:xfrm>
            <a:off x="3360712" y="1858158"/>
            <a:ext cx="464344" cy="2246920"/>
            <a:chOff x="3709194" y="1858158"/>
            <a:chExt cx="464344" cy="224692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034FB334-4D6F-4D25-A697-215AAB5CF5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30738" y="1858158"/>
              <a:ext cx="0" cy="2246920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18A9594A-4E82-47B2-90F5-7B87C2349181}"/>
                </a:ext>
              </a:extLst>
            </p:cNvPr>
            <p:cNvSpPr/>
            <p:nvPr/>
          </p:nvSpPr>
          <p:spPr bwMode="auto">
            <a:xfrm>
              <a:off x="3709194" y="3036361"/>
              <a:ext cx="464344" cy="46434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0800" algn="ctr">
                <a:lnSpc>
                  <a:spcPct val="122000"/>
                </a:lnSpc>
                <a:spcAft>
                  <a:spcPts val="1650"/>
                </a:spcAft>
              </a:pPr>
              <a:r>
                <a:rPr lang="de-DE" sz="1125">
                  <a:solidFill>
                    <a:schemeClr val="bg1"/>
                  </a:solidFill>
                </a:rPr>
                <a:t>2017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F1469301-5212-B895-2654-8B3D4F9732E1}"/>
              </a:ext>
            </a:extLst>
          </p:cNvPr>
          <p:cNvGrpSpPr/>
          <p:nvPr/>
        </p:nvGrpSpPr>
        <p:grpSpPr>
          <a:xfrm>
            <a:off x="4310712" y="2766985"/>
            <a:ext cx="464344" cy="733720"/>
            <a:chOff x="4772254" y="2766985"/>
            <a:chExt cx="464344" cy="733720"/>
          </a:xfrm>
        </p:grpSpPr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2F95AA74-325E-49BC-AB83-F43F50847D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04425" y="2766985"/>
              <a:ext cx="0" cy="706907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ED905778-754D-43B8-BB72-CA7ECAE77486}"/>
                </a:ext>
              </a:extLst>
            </p:cNvPr>
            <p:cNvSpPr/>
            <p:nvPr/>
          </p:nvSpPr>
          <p:spPr bwMode="auto">
            <a:xfrm>
              <a:off x="4772254" y="3036361"/>
              <a:ext cx="464344" cy="46434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0800" algn="ctr">
                <a:lnSpc>
                  <a:spcPct val="122000"/>
                </a:lnSpc>
                <a:spcAft>
                  <a:spcPts val="1650"/>
                </a:spcAft>
              </a:pPr>
              <a:r>
                <a:rPr lang="de-DE" sz="1125">
                  <a:solidFill>
                    <a:schemeClr val="bg1"/>
                  </a:solidFill>
                </a:rPr>
                <a:t>2018</a:t>
              </a: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B8BBC012-866B-DAB4-A316-67A807AEA01C}"/>
              </a:ext>
            </a:extLst>
          </p:cNvPr>
          <p:cNvGrpSpPr/>
          <p:nvPr/>
        </p:nvGrpSpPr>
        <p:grpSpPr>
          <a:xfrm>
            <a:off x="5260712" y="1858158"/>
            <a:ext cx="464344" cy="1642546"/>
            <a:chOff x="5879137" y="1858158"/>
            <a:chExt cx="464344" cy="1642546"/>
          </a:xfrm>
        </p:grpSpPr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834931B8-2557-4184-AD20-DB26619166B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03629" y="1858158"/>
              <a:ext cx="14468" cy="1568625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34F78BEB-621C-451B-81D1-7DF2321B70B6}"/>
                </a:ext>
              </a:extLst>
            </p:cNvPr>
            <p:cNvSpPr/>
            <p:nvPr/>
          </p:nvSpPr>
          <p:spPr bwMode="auto">
            <a:xfrm>
              <a:off x="5879137" y="3036360"/>
              <a:ext cx="464344" cy="46434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0800" algn="ctr">
                <a:lnSpc>
                  <a:spcPct val="122000"/>
                </a:lnSpc>
                <a:spcAft>
                  <a:spcPts val="1650"/>
                </a:spcAft>
              </a:pPr>
              <a:r>
                <a:rPr lang="de-DE" sz="1125" dirty="0">
                  <a:solidFill>
                    <a:schemeClr val="bg1"/>
                  </a:solidFill>
                </a:rPr>
                <a:t>2019</a:t>
              </a: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D9F557C5-CBDE-E1BA-32DF-83D9D84FAD43}"/>
              </a:ext>
            </a:extLst>
          </p:cNvPr>
          <p:cNvGrpSpPr/>
          <p:nvPr/>
        </p:nvGrpSpPr>
        <p:grpSpPr>
          <a:xfrm>
            <a:off x="6210712" y="2625596"/>
            <a:ext cx="464344" cy="875108"/>
            <a:chOff x="6980904" y="2625596"/>
            <a:chExt cx="464344" cy="875108"/>
          </a:xfrm>
        </p:grpSpPr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1AD20039-8942-450C-9E66-5E8C71AE1C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218786" y="2625596"/>
              <a:ext cx="0" cy="650082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0A5C16A6-6A59-48B7-AEDB-10F6896319C9}"/>
                </a:ext>
              </a:extLst>
            </p:cNvPr>
            <p:cNvSpPr/>
            <p:nvPr/>
          </p:nvSpPr>
          <p:spPr bwMode="auto">
            <a:xfrm>
              <a:off x="6980904" y="3036360"/>
              <a:ext cx="464344" cy="46434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0795" algn="ctr">
                <a:lnSpc>
                  <a:spcPct val="122000"/>
                </a:lnSpc>
                <a:spcAft>
                  <a:spcPts val="1650"/>
                </a:spcAft>
              </a:pPr>
              <a:r>
                <a:rPr lang="de-DE" sz="1100" dirty="0">
                  <a:solidFill>
                    <a:schemeClr val="bg1"/>
                  </a:solidFill>
                </a:rPr>
                <a:t>2020</a:t>
              </a:r>
              <a:endParaRPr lang="de-DE" dirty="0"/>
            </a:p>
          </p:txBody>
        </p:sp>
      </p:grpSp>
      <p:sp>
        <p:nvSpPr>
          <p:cNvPr id="20" name="Textfeld 19">
            <a:extLst>
              <a:ext uri="{FF2B5EF4-FFF2-40B4-BE49-F238E27FC236}">
                <a16:creationId xmlns:a16="http://schemas.microsoft.com/office/drawing/2014/main" id="{F1219C3D-3DC6-4187-B777-699B79DB252F}"/>
              </a:ext>
            </a:extLst>
          </p:cNvPr>
          <p:cNvSpPr txBox="1"/>
          <p:nvPr/>
        </p:nvSpPr>
        <p:spPr>
          <a:xfrm>
            <a:off x="1296416" y="2046737"/>
            <a:ext cx="766144" cy="365861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pPr marL="11430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Einrichtung </a:t>
            </a:r>
            <a:br>
              <a:rPr lang="de-DE" sz="900" dirty="0">
                <a:cs typeface="Calibri"/>
              </a:rPr>
            </a:br>
            <a:r>
              <a:rPr lang="de-DE" sz="900" dirty="0"/>
              <a:t>Experten-Team</a:t>
            </a:r>
            <a:endParaRPr lang="de-DE" dirty="0">
              <a:cs typeface="Calibri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4CC55C2-82D9-4CDD-9A32-3A3D411ABC38}"/>
              </a:ext>
            </a:extLst>
          </p:cNvPr>
          <p:cNvSpPr txBox="1"/>
          <p:nvPr/>
        </p:nvSpPr>
        <p:spPr>
          <a:xfrm>
            <a:off x="4114800" y="1675079"/>
            <a:ext cx="1365399" cy="111345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813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Standortauswahl:</a:t>
            </a:r>
            <a:br>
              <a:rPr lang="de-DE" sz="900" dirty="0"/>
            </a:br>
            <a:r>
              <a:rPr lang="de-DE" sz="900" dirty="0"/>
              <a:t>4 potenzielle Standorte in Deutschland und der Niederlande</a:t>
            </a:r>
            <a:br>
              <a:rPr lang="de-DE" sz="900" dirty="0"/>
            </a:br>
            <a:br>
              <a:rPr lang="de-DE" sz="500" dirty="0"/>
            </a:br>
            <a:r>
              <a:rPr lang="de-DE" sz="900" dirty="0"/>
              <a:t>Vorbereitung Genehmigungsverfahren an 4 Standorte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8CB2868-1488-4E9B-85C4-10AAECD19063}"/>
              </a:ext>
            </a:extLst>
          </p:cNvPr>
          <p:cNvSpPr txBox="1"/>
          <p:nvPr/>
        </p:nvSpPr>
        <p:spPr>
          <a:xfrm>
            <a:off x="5191470" y="1404899"/>
            <a:ext cx="1198122" cy="82514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813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Einreichung der Genehmigungsanträge an 4 Standorte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2800286-CB6E-49A9-BDCF-6608ACBFDEB1}"/>
              </a:ext>
            </a:extLst>
          </p:cNvPr>
          <p:cNvSpPr txBox="1"/>
          <p:nvPr/>
        </p:nvSpPr>
        <p:spPr>
          <a:xfrm>
            <a:off x="5830801" y="2298033"/>
            <a:ext cx="1267991" cy="760088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pPr marL="11430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Grundsteinlegung KVA Helmstedt</a:t>
            </a:r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94413A5-4574-44AC-9E0A-2D9C3CBEA78C}"/>
              </a:ext>
            </a:extLst>
          </p:cNvPr>
          <p:cNvSpPr txBox="1"/>
          <p:nvPr/>
        </p:nvSpPr>
        <p:spPr>
          <a:xfrm>
            <a:off x="2953611" y="4145522"/>
            <a:ext cx="1267991" cy="947833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813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Novelle AbfKlärV in Kraft</a:t>
            </a:r>
            <a:br>
              <a:rPr lang="de-DE" sz="900" dirty="0"/>
            </a:br>
            <a:br>
              <a:rPr lang="de-DE" sz="500" dirty="0"/>
            </a:br>
            <a:r>
              <a:rPr lang="de-DE" sz="900" dirty="0"/>
              <a:t>3. Verschärfung DüMV</a:t>
            </a:r>
            <a:br>
              <a:rPr lang="de-DE" sz="900" dirty="0"/>
            </a:br>
            <a:br>
              <a:rPr lang="de-DE" sz="500" dirty="0"/>
            </a:br>
            <a:r>
              <a:rPr lang="de-DE" sz="900" dirty="0"/>
              <a:t>Novelle </a:t>
            </a:r>
            <a:r>
              <a:rPr lang="de-DE" sz="900" dirty="0" err="1"/>
              <a:t>DüV</a:t>
            </a:r>
            <a:r>
              <a:rPr lang="de-DE" sz="900" dirty="0"/>
              <a:t> in Kraft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C738F79-40FA-E812-AE4D-AC80F5658699}"/>
              </a:ext>
            </a:extLst>
          </p:cNvPr>
          <p:cNvGrpSpPr/>
          <p:nvPr/>
        </p:nvGrpSpPr>
        <p:grpSpPr>
          <a:xfrm>
            <a:off x="510712" y="1822637"/>
            <a:ext cx="464344" cy="2389126"/>
            <a:chOff x="510712" y="1822637"/>
            <a:chExt cx="464344" cy="2389126"/>
          </a:xfrm>
        </p:grpSpPr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4CB55EAD-A470-4656-A276-419986C905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42884" y="1822637"/>
              <a:ext cx="0" cy="2389126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4CAC9F36-1D04-410D-87BB-63C02E35EC6E}"/>
                </a:ext>
              </a:extLst>
            </p:cNvPr>
            <p:cNvSpPr/>
            <p:nvPr/>
          </p:nvSpPr>
          <p:spPr bwMode="auto">
            <a:xfrm>
              <a:off x="510712" y="3043506"/>
              <a:ext cx="464344" cy="46434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0800" algn="ctr">
                <a:lnSpc>
                  <a:spcPct val="122000"/>
                </a:lnSpc>
                <a:spcAft>
                  <a:spcPts val="1650"/>
                </a:spcAft>
              </a:pPr>
              <a:r>
                <a:rPr lang="de-DE" sz="1125">
                  <a:solidFill>
                    <a:schemeClr val="bg1"/>
                  </a:solidFill>
                </a:rPr>
                <a:t>2014</a:t>
              </a:r>
            </a:p>
          </p:txBody>
        </p:sp>
      </p:grpSp>
      <p:sp>
        <p:nvSpPr>
          <p:cNvPr id="36" name="Textfeld 35">
            <a:extLst>
              <a:ext uri="{FF2B5EF4-FFF2-40B4-BE49-F238E27FC236}">
                <a16:creationId xmlns:a16="http://schemas.microsoft.com/office/drawing/2014/main" id="{9326222F-2E9C-438C-8D3C-AB04063377D5}"/>
              </a:ext>
            </a:extLst>
          </p:cNvPr>
          <p:cNvSpPr txBox="1"/>
          <p:nvPr/>
        </p:nvSpPr>
        <p:spPr>
          <a:xfrm>
            <a:off x="456682" y="1422408"/>
            <a:ext cx="1164854" cy="40022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813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Erste EEW-interne Befassung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B5C767A2-5973-46EA-A5A7-8AF05ACAFCF4}"/>
              </a:ext>
            </a:extLst>
          </p:cNvPr>
          <p:cNvSpPr txBox="1"/>
          <p:nvPr/>
        </p:nvSpPr>
        <p:spPr>
          <a:xfrm>
            <a:off x="75608" y="4211761"/>
            <a:ext cx="1342728" cy="10714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defTabSz="685800">
              <a:spcAft>
                <a:spcPts val="1650"/>
              </a:spcAft>
              <a:buClr>
                <a:srgbClr val="FF9E27"/>
              </a:buClr>
              <a:buSzPct val="80000"/>
            </a:pPr>
            <a:r>
              <a:rPr lang="de-DE" sz="900" dirty="0"/>
              <a:t>2. Verschärfung DüMV</a:t>
            </a:r>
            <a:br>
              <a:rPr lang="de-DE" sz="900" dirty="0"/>
            </a:br>
            <a:br>
              <a:rPr lang="de-DE" sz="500" dirty="0"/>
            </a:br>
            <a:r>
              <a:rPr lang="de-DE" sz="900" dirty="0"/>
              <a:t>1. Entwurf </a:t>
            </a:r>
            <a:r>
              <a:rPr lang="de-DE" sz="900" dirty="0" err="1"/>
              <a:t>DüV</a:t>
            </a:r>
            <a:br>
              <a:rPr lang="de-DE" sz="900" dirty="0"/>
            </a:br>
            <a:br>
              <a:rPr lang="de-DE" sz="500" dirty="0"/>
            </a:br>
            <a:r>
              <a:rPr lang="de-DE" sz="900" dirty="0"/>
              <a:t>Abmahnung Deutschlands durch EU-WRRL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1FF144ED-A0A9-4B27-824B-6F38DF52303C}"/>
              </a:ext>
            </a:extLst>
          </p:cNvPr>
          <p:cNvSpPr txBox="1"/>
          <p:nvPr/>
        </p:nvSpPr>
        <p:spPr>
          <a:xfrm>
            <a:off x="1253934" y="3563930"/>
            <a:ext cx="1085724" cy="1071445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1813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Referentenentwurf Neuordnung KS-Verwertung</a:t>
            </a:r>
            <a:br>
              <a:rPr lang="de-DE" sz="900" dirty="0"/>
            </a:br>
            <a:br>
              <a:rPr lang="de-DE" sz="500" dirty="0"/>
            </a:br>
            <a:r>
              <a:rPr lang="de-DE" sz="900" dirty="0"/>
              <a:t>Anklage Deutschland durch EU-WRRL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F2BB948-A9E6-6499-6CF2-B28AABA85F3B}"/>
              </a:ext>
            </a:extLst>
          </p:cNvPr>
          <p:cNvGrpSpPr/>
          <p:nvPr/>
        </p:nvGrpSpPr>
        <p:grpSpPr>
          <a:xfrm>
            <a:off x="2410712" y="2788532"/>
            <a:ext cx="464344" cy="712172"/>
            <a:chOff x="2590276" y="2788532"/>
            <a:chExt cx="464344" cy="71217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928CEC2F-ECE1-4719-BF5F-089D2DAF3B72}"/>
                </a:ext>
              </a:extLst>
            </p:cNvPr>
            <p:cNvSpPr/>
            <p:nvPr/>
          </p:nvSpPr>
          <p:spPr bwMode="auto">
            <a:xfrm>
              <a:off x="2590276" y="3036360"/>
              <a:ext cx="464344" cy="46434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0800" algn="ctr">
                <a:lnSpc>
                  <a:spcPct val="122000"/>
                </a:lnSpc>
                <a:spcAft>
                  <a:spcPts val="1650"/>
                </a:spcAft>
              </a:pPr>
              <a:r>
                <a:rPr lang="de-DE" sz="1125">
                  <a:solidFill>
                    <a:schemeClr val="bg1"/>
                  </a:solidFill>
                </a:rPr>
                <a:t>2016</a:t>
              </a:r>
            </a:p>
          </p:txBody>
        </p:sp>
        <p:cxnSp>
          <p:nvCxnSpPr>
            <p:cNvPr id="42" name="Gerader Verbinder 41">
              <a:extLst>
                <a:ext uri="{FF2B5EF4-FFF2-40B4-BE49-F238E27FC236}">
                  <a16:creationId xmlns:a16="http://schemas.microsoft.com/office/drawing/2014/main" id="{9A0188DD-10FD-4E4B-93B5-5036C806FC9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822448" y="2788532"/>
              <a:ext cx="0" cy="460104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feld 43">
            <a:extLst>
              <a:ext uri="{FF2B5EF4-FFF2-40B4-BE49-F238E27FC236}">
                <a16:creationId xmlns:a16="http://schemas.microsoft.com/office/drawing/2014/main" id="{FED82292-936A-46D3-88B4-F3A637EBE136}"/>
              </a:ext>
            </a:extLst>
          </p:cNvPr>
          <p:cNvSpPr txBox="1"/>
          <p:nvPr/>
        </p:nvSpPr>
        <p:spPr>
          <a:xfrm>
            <a:off x="2147621" y="1850630"/>
            <a:ext cx="1302367" cy="1356274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pPr marL="11430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Verankerung KS-Abteilung im Unternehmen</a:t>
            </a:r>
            <a:br>
              <a:rPr lang="de-DE" sz="900" dirty="0"/>
            </a:br>
            <a:br>
              <a:rPr lang="de-DE" sz="500" dirty="0"/>
            </a:br>
            <a:r>
              <a:rPr lang="de-DE" sz="900" dirty="0"/>
              <a:t>Markt- und Kapazitätsanalysen</a:t>
            </a:r>
            <a:br>
              <a:rPr lang="de-DE" sz="900" dirty="0"/>
            </a:br>
            <a:br>
              <a:rPr lang="de-DE" sz="500" dirty="0"/>
            </a:br>
            <a:r>
              <a:rPr lang="de-DE" sz="900" dirty="0"/>
              <a:t>Standortprüfungen</a:t>
            </a:r>
            <a:endParaRPr lang="de-DE" dirty="0"/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866FC3E1-8BFF-4252-90CF-336BBACDB59C}"/>
              </a:ext>
            </a:extLst>
          </p:cNvPr>
          <p:cNvSpPr txBox="1"/>
          <p:nvPr/>
        </p:nvSpPr>
        <p:spPr>
          <a:xfrm>
            <a:off x="3261360" y="1284959"/>
            <a:ext cx="1302367" cy="584494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pPr marL="11430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Optionen </a:t>
            </a:r>
            <a:br>
              <a:rPr lang="de-DE" sz="900" dirty="0"/>
            </a:br>
            <a:r>
              <a:rPr lang="de-DE" sz="900" dirty="0"/>
              <a:t>Phosphor-Recycling</a:t>
            </a:r>
            <a:br>
              <a:rPr lang="de-DE" sz="900" dirty="0"/>
            </a:br>
            <a:br>
              <a:rPr lang="de-DE" sz="500" dirty="0"/>
            </a:br>
            <a:r>
              <a:rPr lang="de-DE" sz="900" dirty="0"/>
              <a:t>Verbandsarbeit</a:t>
            </a:r>
            <a:endParaRPr lang="en-US" dirty="0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3632BFD7-CDB0-4879-804C-030FCDE99406}"/>
              </a:ext>
            </a:extLst>
          </p:cNvPr>
          <p:cNvSpPr txBox="1"/>
          <p:nvPr/>
        </p:nvSpPr>
        <p:spPr>
          <a:xfrm>
            <a:off x="7973277" y="2307636"/>
            <a:ext cx="841773" cy="284471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pPr marL="11430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Inbetriebnahme KVA Stavenhagen</a:t>
            </a:r>
            <a:endParaRPr lang="de-DE" dirty="0"/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3158C864-63B0-8613-E116-1554CF73A1B1}"/>
              </a:ext>
            </a:extLst>
          </p:cNvPr>
          <p:cNvGrpSpPr/>
          <p:nvPr/>
        </p:nvGrpSpPr>
        <p:grpSpPr>
          <a:xfrm>
            <a:off x="7160712" y="2625596"/>
            <a:ext cx="464344" cy="882254"/>
            <a:chOff x="8082346" y="2625596"/>
            <a:chExt cx="464344" cy="882254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A991EA9E-3537-4099-BC9E-E13CDD10D1A6}"/>
                </a:ext>
              </a:extLst>
            </p:cNvPr>
            <p:cNvSpPr/>
            <p:nvPr/>
          </p:nvSpPr>
          <p:spPr bwMode="auto">
            <a:xfrm>
              <a:off x="8082346" y="3043506"/>
              <a:ext cx="464344" cy="46434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0795" algn="ctr">
                <a:lnSpc>
                  <a:spcPct val="122000"/>
                </a:lnSpc>
                <a:spcAft>
                  <a:spcPts val="1650"/>
                </a:spcAft>
              </a:pPr>
              <a:r>
                <a:rPr lang="de-DE" sz="1100" dirty="0">
                  <a:solidFill>
                    <a:schemeClr val="bg1"/>
                  </a:solidFill>
                </a:rPr>
                <a:t>2022</a:t>
              </a:r>
              <a:endParaRPr lang="de-DE" dirty="0"/>
            </a:p>
          </p:txBody>
        </p: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50D80EE5-60BE-4C87-ABC5-96F3A25497B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20614" y="2625596"/>
              <a:ext cx="0" cy="547115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Inhaltsplatzhalter 2">
            <a:extLst>
              <a:ext uri="{FF2B5EF4-FFF2-40B4-BE49-F238E27FC236}">
                <a16:creationId xmlns:a16="http://schemas.microsoft.com/office/drawing/2014/main" id="{3724D532-9E5B-4815-8F73-AF71CD38F763}"/>
              </a:ext>
            </a:extLst>
          </p:cNvPr>
          <p:cNvSpPr txBox="1">
            <a:spLocks/>
          </p:cNvSpPr>
          <p:nvPr/>
        </p:nvSpPr>
        <p:spPr>
          <a:xfrm>
            <a:off x="7054056" y="4721574"/>
            <a:ext cx="2088159" cy="5028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138" indent="-211137" algn="l" defTabSz="914400" rtl="0" eaLnBrk="1" latinLnBrk="0" hangingPunct="1">
              <a:spcBef>
                <a:spcPts val="8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1975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3038" algn="l" defTabSz="914400" rtl="0" eaLnBrk="1" latinLnBrk="0" hangingPunct="1">
              <a:spcBef>
                <a:spcPts val="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b="1" kern="1200">
                <a:solidFill>
                  <a:srgbClr val="9F0F00"/>
                </a:solidFill>
                <a:latin typeface="+mn-lt"/>
                <a:ea typeface="+mn-ea"/>
                <a:cs typeface="+mn-cs"/>
              </a:defRPr>
            </a:lvl5pPr>
            <a:lvl6pPr marL="1092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700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5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034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alpha val="66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htliche Verordnungen</a:t>
            </a:r>
          </a:p>
        </p:txBody>
      </p:sp>
      <p:sp>
        <p:nvSpPr>
          <p:cNvPr id="59" name="Inhaltsplatzhalter 2">
            <a:extLst>
              <a:ext uri="{FF2B5EF4-FFF2-40B4-BE49-F238E27FC236}">
                <a16:creationId xmlns:a16="http://schemas.microsoft.com/office/drawing/2014/main" id="{D9B268AC-D1F9-4A42-82C0-9981CF674E54}"/>
              </a:ext>
            </a:extLst>
          </p:cNvPr>
          <p:cNvSpPr txBox="1">
            <a:spLocks/>
          </p:cNvSpPr>
          <p:nvPr/>
        </p:nvSpPr>
        <p:spPr>
          <a:xfrm>
            <a:off x="8490600" y="1344644"/>
            <a:ext cx="648901" cy="4015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1138" indent="-211137" algn="l" defTabSz="914400" rtl="0" eaLnBrk="1" latinLnBrk="0" hangingPunct="1">
              <a:spcBef>
                <a:spcPts val="8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1975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2950" indent="-173038" algn="l" defTabSz="914400" rtl="0" eaLnBrk="1" latinLnBrk="0" hangingPunct="1">
              <a:spcBef>
                <a:spcPts val="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b="1" kern="1200">
                <a:solidFill>
                  <a:srgbClr val="9F0F00"/>
                </a:solidFill>
                <a:latin typeface="+mn-lt"/>
                <a:ea typeface="+mn-ea"/>
                <a:cs typeface="+mn-cs"/>
              </a:defRPr>
            </a:lvl5pPr>
            <a:lvl6pPr marL="1092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700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5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03400" indent="-176213" algn="l" defTabSz="914400" rtl="0" eaLnBrk="1" latinLnBrk="0" hangingPunct="1">
              <a:spcBef>
                <a:spcPct val="20000"/>
              </a:spcBef>
              <a:buClr>
                <a:srgbClr val="FF9E27"/>
              </a:buClr>
              <a:buSzPct val="80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schemeClr val="accent2">
                    <a:alpha val="66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EW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45BBC579-05FE-E8D2-16CB-8CFCEF449671}"/>
              </a:ext>
            </a:extLst>
          </p:cNvPr>
          <p:cNvGrpSpPr/>
          <p:nvPr/>
        </p:nvGrpSpPr>
        <p:grpSpPr>
          <a:xfrm>
            <a:off x="8110712" y="2629462"/>
            <a:ext cx="464344" cy="882254"/>
            <a:chOff x="8082346" y="2625596"/>
            <a:chExt cx="464344" cy="882254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97ADCD6E-A89B-C836-9A57-1EAF94D99205}"/>
                </a:ext>
              </a:extLst>
            </p:cNvPr>
            <p:cNvSpPr/>
            <p:nvPr/>
          </p:nvSpPr>
          <p:spPr bwMode="auto">
            <a:xfrm>
              <a:off x="8082346" y="3043506"/>
              <a:ext cx="464344" cy="46434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10795" algn="ctr">
                <a:lnSpc>
                  <a:spcPct val="122000"/>
                </a:lnSpc>
                <a:spcAft>
                  <a:spcPts val="1650"/>
                </a:spcAft>
              </a:pPr>
              <a:r>
                <a:rPr lang="de-DE" sz="1100" dirty="0">
                  <a:solidFill>
                    <a:schemeClr val="bg1"/>
                  </a:solidFill>
                </a:rPr>
                <a:t>2023</a:t>
              </a:r>
              <a:endParaRPr lang="de-DE" dirty="0"/>
            </a:p>
          </p:txBody>
        </p:sp>
        <p:cxnSp>
          <p:nvCxnSpPr>
            <p:cNvPr id="38" name="Gerader Verbinder 37">
              <a:extLst>
                <a:ext uri="{FF2B5EF4-FFF2-40B4-BE49-F238E27FC236}">
                  <a16:creationId xmlns:a16="http://schemas.microsoft.com/office/drawing/2014/main" id="{E54BB1CC-B368-6FD6-B663-4CFBEAE703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320614" y="2625596"/>
              <a:ext cx="0" cy="547115"/>
            </a:xfrm>
            <a:prstGeom prst="line">
              <a:avLst/>
            </a:prstGeom>
            <a:ln w="28575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Textfeld 39">
            <a:extLst>
              <a:ext uri="{FF2B5EF4-FFF2-40B4-BE49-F238E27FC236}">
                <a16:creationId xmlns:a16="http://schemas.microsoft.com/office/drawing/2014/main" id="{D3E2ED26-CDD8-0E35-9445-5C1BCD2B1AF3}"/>
              </a:ext>
            </a:extLst>
          </p:cNvPr>
          <p:cNvSpPr txBox="1"/>
          <p:nvPr/>
        </p:nvSpPr>
        <p:spPr>
          <a:xfrm>
            <a:off x="7054579" y="2307128"/>
            <a:ext cx="841773" cy="284471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pPr marL="11430" defTabSz="685800">
              <a:spcAft>
                <a:spcPts val="1650"/>
              </a:spcAft>
              <a:buClr>
                <a:schemeClr val="accent3"/>
              </a:buClr>
            </a:pPr>
            <a:r>
              <a:rPr lang="de-DE" sz="900" dirty="0"/>
              <a:t>Inbetriebnahme KVA Helmsted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481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B77EAB9-D061-C04E-AF4C-C1DA6C098E8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604"/>
            <a:ext cx="9144000" cy="5140292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1F3AF92A-6A5C-9D49-BDFE-A6BB909DEC2E}"/>
              </a:ext>
            </a:extLst>
          </p:cNvPr>
          <p:cNvSpPr/>
          <p:nvPr/>
        </p:nvSpPr>
        <p:spPr>
          <a:xfrm>
            <a:off x="0" y="0"/>
            <a:ext cx="9144000" cy="5141896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F83C4D1-1542-8548-BD6F-335B3958FEF0}"/>
              </a:ext>
            </a:extLst>
          </p:cNvPr>
          <p:cNvSpPr/>
          <p:nvPr/>
        </p:nvSpPr>
        <p:spPr>
          <a:xfrm>
            <a:off x="1602606" y="4272953"/>
            <a:ext cx="1432849" cy="714375"/>
          </a:xfrm>
          <a:prstGeom prst="rect">
            <a:avLst/>
          </a:prstGeom>
          <a:noFill/>
          <a:ln w="38100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1350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B6B8C6A-97AC-CD44-8B40-E62DA8E94EB6}"/>
              </a:ext>
            </a:extLst>
          </p:cNvPr>
          <p:cNvSpPr/>
          <p:nvPr/>
        </p:nvSpPr>
        <p:spPr>
          <a:xfrm>
            <a:off x="3110933" y="4272953"/>
            <a:ext cx="2945765" cy="714375"/>
          </a:xfrm>
          <a:prstGeom prst="rect">
            <a:avLst/>
          </a:prstGeom>
          <a:noFill/>
          <a:ln w="3810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1350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C7A4998-9B25-714F-A2CE-AD1193FA9CDA}"/>
              </a:ext>
            </a:extLst>
          </p:cNvPr>
          <p:cNvSpPr txBox="1"/>
          <p:nvPr/>
        </p:nvSpPr>
        <p:spPr>
          <a:xfrm>
            <a:off x="6703934" y="4719732"/>
            <a:ext cx="1529265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600"/>
              </a:spcBef>
              <a:defRPr/>
            </a:pPr>
            <a:r>
              <a:rPr lang="de-DE" sz="750" dirty="0">
                <a:solidFill>
                  <a:srgbClr val="000000"/>
                </a:solidFill>
                <a:latin typeface="Calibri"/>
              </a:rPr>
              <a:t>KVA: Klärschlamm-Monoverbrennung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B3B6967-3084-1C41-8CCC-3586746D6442}"/>
              </a:ext>
            </a:extLst>
          </p:cNvPr>
          <p:cNvSpPr txBox="1"/>
          <p:nvPr/>
        </p:nvSpPr>
        <p:spPr>
          <a:xfrm>
            <a:off x="6703934" y="4842620"/>
            <a:ext cx="1223092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>
              <a:spcBef>
                <a:spcPts val="600"/>
              </a:spcBef>
              <a:defRPr/>
            </a:pPr>
            <a:r>
              <a:rPr lang="de-DE" sz="750" dirty="0">
                <a:solidFill>
                  <a:srgbClr val="000000"/>
                </a:solidFill>
                <a:latin typeface="Calibri"/>
              </a:rPr>
              <a:t>MVA: Müllverbrennungsanlage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D206720-7332-F147-88C6-26429E44A0D4}"/>
              </a:ext>
            </a:extLst>
          </p:cNvPr>
          <p:cNvSpPr/>
          <p:nvPr/>
        </p:nvSpPr>
        <p:spPr>
          <a:xfrm>
            <a:off x="7611450" y="1100486"/>
            <a:ext cx="1432849" cy="714375"/>
          </a:xfrm>
          <a:prstGeom prst="rect">
            <a:avLst/>
          </a:prstGeom>
          <a:noFill/>
          <a:ln w="38100">
            <a:solidFill>
              <a:schemeClr val="tx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1350">
              <a:solidFill>
                <a:srgbClr val="0070C0"/>
              </a:solidFill>
              <a:latin typeface="Calibri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7E642534-1673-C143-A557-A975F7B1823D}"/>
              </a:ext>
            </a:extLst>
          </p:cNvPr>
          <p:cNvSpPr/>
          <p:nvPr/>
        </p:nvSpPr>
        <p:spPr>
          <a:xfrm>
            <a:off x="7606119" y="2116377"/>
            <a:ext cx="1432849" cy="714375"/>
          </a:xfrm>
          <a:prstGeom prst="rect">
            <a:avLst/>
          </a:prstGeom>
          <a:noFill/>
          <a:ln w="38100">
            <a:solidFill>
              <a:schemeClr val="tx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1350">
              <a:solidFill>
                <a:srgbClr val="0070C0"/>
              </a:solidFill>
              <a:latin typeface="Calibri"/>
            </a:endParaRP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C9C186E6-6AE0-F44E-A400-3764A17CD996}"/>
              </a:ext>
            </a:extLst>
          </p:cNvPr>
          <p:cNvCxnSpPr>
            <a:cxnSpLocks/>
          </p:cNvCxnSpPr>
          <p:nvPr/>
        </p:nvCxnSpPr>
        <p:spPr>
          <a:xfrm>
            <a:off x="1496457" y="1453453"/>
            <a:ext cx="2236961" cy="0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4C375F7-F19B-FC4F-A112-BF0A45193D0A}"/>
              </a:ext>
            </a:extLst>
          </p:cNvPr>
          <p:cNvCxnSpPr>
            <a:cxnSpLocks/>
          </p:cNvCxnSpPr>
          <p:nvPr/>
        </p:nvCxnSpPr>
        <p:spPr>
          <a:xfrm>
            <a:off x="3733418" y="1453453"/>
            <a:ext cx="0" cy="763563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CDF0F125-DA3F-7449-9BB3-1AE7403FC2D0}"/>
              </a:ext>
            </a:extLst>
          </p:cNvPr>
          <p:cNvCxnSpPr>
            <a:cxnSpLocks/>
          </p:cNvCxnSpPr>
          <p:nvPr/>
        </p:nvCxnSpPr>
        <p:spPr>
          <a:xfrm>
            <a:off x="3827264" y="1453453"/>
            <a:ext cx="3742601" cy="0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88FF2F6-B6F4-344C-ADDC-3E443F02A453}"/>
              </a:ext>
            </a:extLst>
          </p:cNvPr>
          <p:cNvCxnSpPr>
            <a:cxnSpLocks/>
          </p:cNvCxnSpPr>
          <p:nvPr/>
        </p:nvCxnSpPr>
        <p:spPr>
          <a:xfrm>
            <a:off x="3834501" y="1453453"/>
            <a:ext cx="0" cy="763563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16517566-828D-C346-928D-55414E51A5E7}"/>
              </a:ext>
            </a:extLst>
          </p:cNvPr>
          <p:cNvCxnSpPr>
            <a:cxnSpLocks/>
          </p:cNvCxnSpPr>
          <p:nvPr/>
        </p:nvCxnSpPr>
        <p:spPr>
          <a:xfrm>
            <a:off x="5330167" y="1589410"/>
            <a:ext cx="2239697" cy="0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21A9D949-2359-EA41-8674-CC0D544F6970}"/>
              </a:ext>
            </a:extLst>
          </p:cNvPr>
          <p:cNvCxnSpPr>
            <a:cxnSpLocks/>
          </p:cNvCxnSpPr>
          <p:nvPr/>
        </p:nvCxnSpPr>
        <p:spPr>
          <a:xfrm>
            <a:off x="5330167" y="1589410"/>
            <a:ext cx="0" cy="627606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97559995-17D3-6B48-A01A-6300CB335B6B}"/>
              </a:ext>
            </a:extLst>
          </p:cNvPr>
          <p:cNvCxnSpPr>
            <a:cxnSpLocks/>
          </p:cNvCxnSpPr>
          <p:nvPr/>
        </p:nvCxnSpPr>
        <p:spPr>
          <a:xfrm>
            <a:off x="1493720" y="2487016"/>
            <a:ext cx="155640" cy="0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49288001-DDD5-AB40-AD04-28944AAD3C0C}"/>
              </a:ext>
            </a:extLst>
          </p:cNvPr>
          <p:cNvCxnSpPr>
            <a:cxnSpLocks/>
          </p:cNvCxnSpPr>
          <p:nvPr/>
        </p:nvCxnSpPr>
        <p:spPr>
          <a:xfrm>
            <a:off x="2996624" y="2487016"/>
            <a:ext cx="155640" cy="0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6B3DC899-94F1-1E4E-ABA0-F5736BB32D4E}"/>
              </a:ext>
            </a:extLst>
          </p:cNvPr>
          <p:cNvCxnSpPr>
            <a:cxnSpLocks/>
          </p:cNvCxnSpPr>
          <p:nvPr/>
        </p:nvCxnSpPr>
        <p:spPr>
          <a:xfrm>
            <a:off x="4502264" y="2495230"/>
            <a:ext cx="155640" cy="0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>
            <a:extLst>
              <a:ext uri="{FF2B5EF4-FFF2-40B4-BE49-F238E27FC236}">
                <a16:creationId xmlns:a16="http://schemas.microsoft.com/office/drawing/2014/main" id="{616A8847-7DCA-724E-A18A-0D4CA8BFE21D}"/>
              </a:ext>
            </a:extLst>
          </p:cNvPr>
          <p:cNvCxnSpPr>
            <a:cxnSpLocks/>
          </p:cNvCxnSpPr>
          <p:nvPr/>
        </p:nvCxnSpPr>
        <p:spPr>
          <a:xfrm>
            <a:off x="6005167" y="2495230"/>
            <a:ext cx="155640" cy="0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BD392CBA-7F20-D841-9E99-1AFC9A9D5A2C}"/>
              </a:ext>
            </a:extLst>
          </p:cNvPr>
          <p:cNvCxnSpPr>
            <a:cxnSpLocks/>
            <a:endCxn id="29" idx="1"/>
          </p:cNvCxnSpPr>
          <p:nvPr/>
        </p:nvCxnSpPr>
        <p:spPr>
          <a:xfrm flipV="1">
            <a:off x="7491904" y="2473564"/>
            <a:ext cx="114215" cy="1004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>
            <a:extLst>
              <a:ext uri="{FF2B5EF4-FFF2-40B4-BE49-F238E27FC236}">
                <a16:creationId xmlns:a16="http://schemas.microsoft.com/office/drawing/2014/main" id="{526BD269-6B83-054C-A1A6-89C0909D3C3A}"/>
              </a:ext>
            </a:extLst>
          </p:cNvPr>
          <p:cNvCxnSpPr>
            <a:cxnSpLocks/>
          </p:cNvCxnSpPr>
          <p:nvPr/>
        </p:nvCxnSpPr>
        <p:spPr>
          <a:xfrm>
            <a:off x="5330167" y="2757016"/>
            <a:ext cx="0" cy="1515938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8508B48F-423E-AD44-B74E-C86AF807167E}"/>
              </a:ext>
            </a:extLst>
          </p:cNvPr>
          <p:cNvCxnSpPr>
            <a:cxnSpLocks/>
          </p:cNvCxnSpPr>
          <p:nvPr/>
        </p:nvCxnSpPr>
        <p:spPr>
          <a:xfrm>
            <a:off x="3827264" y="2757016"/>
            <a:ext cx="0" cy="1515938"/>
          </a:xfrm>
          <a:prstGeom prst="straightConnector1">
            <a:avLst/>
          </a:prstGeom>
          <a:ln w="12700">
            <a:solidFill>
              <a:schemeClr val="tx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584C29CE-6A63-DF47-88C8-29ABCC83F719}"/>
              </a:ext>
            </a:extLst>
          </p:cNvPr>
          <p:cNvCxnSpPr>
            <a:cxnSpLocks/>
          </p:cNvCxnSpPr>
          <p:nvPr/>
        </p:nvCxnSpPr>
        <p:spPr>
          <a:xfrm>
            <a:off x="2999361" y="3201391"/>
            <a:ext cx="835141" cy="0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C55A59E6-69A3-AA4B-8D92-1131A9B5A840}"/>
              </a:ext>
            </a:extLst>
          </p:cNvPr>
          <p:cNvCxnSpPr>
            <a:cxnSpLocks/>
          </p:cNvCxnSpPr>
          <p:nvPr/>
        </p:nvCxnSpPr>
        <p:spPr>
          <a:xfrm>
            <a:off x="2275349" y="2757016"/>
            <a:ext cx="0" cy="888750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1CEF6F25-96B0-C84E-954E-EDC5D53DB42F}"/>
              </a:ext>
            </a:extLst>
          </p:cNvPr>
          <p:cNvCxnSpPr>
            <a:cxnSpLocks/>
          </p:cNvCxnSpPr>
          <p:nvPr/>
        </p:nvCxnSpPr>
        <p:spPr>
          <a:xfrm>
            <a:off x="2275349" y="3849199"/>
            <a:ext cx="0" cy="423755"/>
          </a:xfrm>
          <a:prstGeom prst="straightConnector1">
            <a:avLst/>
          </a:prstGeom>
          <a:ln w="1270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23">
            <a:extLst>
              <a:ext uri="{FF2B5EF4-FFF2-40B4-BE49-F238E27FC236}">
                <a16:creationId xmlns:a16="http://schemas.microsoft.com/office/drawing/2014/main" id="{8AEEB2FE-C8A2-8646-8712-9F7A7F4EE374}"/>
              </a:ext>
            </a:extLst>
          </p:cNvPr>
          <p:cNvSpPr/>
          <p:nvPr/>
        </p:nvSpPr>
        <p:spPr>
          <a:xfrm>
            <a:off x="164437" y="1215695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Anlieferung</a:t>
            </a:r>
          </a:p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KS 85 % TS </a:t>
            </a:r>
          </a:p>
        </p:txBody>
      </p:sp>
      <p:sp>
        <p:nvSpPr>
          <p:cNvPr id="45" name="Rounded Rectangle 23">
            <a:extLst>
              <a:ext uri="{FF2B5EF4-FFF2-40B4-BE49-F238E27FC236}">
                <a16:creationId xmlns:a16="http://schemas.microsoft.com/office/drawing/2014/main" id="{6285E67B-A3EC-3443-B308-4608BC995CD0}"/>
              </a:ext>
            </a:extLst>
          </p:cNvPr>
          <p:cNvSpPr/>
          <p:nvPr/>
        </p:nvSpPr>
        <p:spPr>
          <a:xfrm>
            <a:off x="164437" y="2248999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Anlieferung</a:t>
            </a:r>
          </a:p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KS 24 % TS </a:t>
            </a:r>
          </a:p>
        </p:txBody>
      </p:sp>
      <p:sp>
        <p:nvSpPr>
          <p:cNvPr id="59" name="Rounded Rectangle 23">
            <a:extLst>
              <a:ext uri="{FF2B5EF4-FFF2-40B4-BE49-F238E27FC236}">
                <a16:creationId xmlns:a16="http://schemas.microsoft.com/office/drawing/2014/main" id="{877A6E69-363C-7D4C-A7C9-CFA26CD0B000}"/>
              </a:ext>
            </a:extLst>
          </p:cNvPr>
          <p:cNvSpPr/>
          <p:nvPr/>
        </p:nvSpPr>
        <p:spPr>
          <a:xfrm>
            <a:off x="1668222" y="2262814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Trocknung</a:t>
            </a:r>
          </a:p>
        </p:txBody>
      </p:sp>
      <p:sp>
        <p:nvSpPr>
          <p:cNvPr id="61" name="Rounded Rectangle 23">
            <a:extLst>
              <a:ext uri="{FF2B5EF4-FFF2-40B4-BE49-F238E27FC236}">
                <a16:creationId xmlns:a16="http://schemas.microsoft.com/office/drawing/2014/main" id="{0CA560C5-8199-6140-95BC-6C669B82D65B}"/>
              </a:ext>
            </a:extLst>
          </p:cNvPr>
          <p:cNvSpPr/>
          <p:nvPr/>
        </p:nvSpPr>
        <p:spPr>
          <a:xfrm>
            <a:off x="1668222" y="2963633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Brüden</a:t>
            </a:r>
          </a:p>
        </p:txBody>
      </p:sp>
      <p:sp>
        <p:nvSpPr>
          <p:cNvPr id="62" name="Rounded Rectangle 23">
            <a:extLst>
              <a:ext uri="{FF2B5EF4-FFF2-40B4-BE49-F238E27FC236}">
                <a16:creationId xmlns:a16="http://schemas.microsoft.com/office/drawing/2014/main" id="{30D9A0CC-7D04-A143-BE3C-0F8B3AF2532E}"/>
              </a:ext>
            </a:extLst>
          </p:cNvPr>
          <p:cNvSpPr/>
          <p:nvPr/>
        </p:nvSpPr>
        <p:spPr>
          <a:xfrm>
            <a:off x="1668222" y="3678008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Brüden-Behandlung</a:t>
            </a:r>
          </a:p>
        </p:txBody>
      </p:sp>
      <p:sp>
        <p:nvSpPr>
          <p:cNvPr id="63" name="Rounded Rectangle 23">
            <a:extLst>
              <a:ext uri="{FF2B5EF4-FFF2-40B4-BE49-F238E27FC236}">
                <a16:creationId xmlns:a16="http://schemas.microsoft.com/office/drawing/2014/main" id="{77743E4E-08B8-404A-8AB4-D46571D2AEF3}"/>
              </a:ext>
            </a:extLst>
          </p:cNvPr>
          <p:cNvSpPr/>
          <p:nvPr/>
        </p:nvSpPr>
        <p:spPr>
          <a:xfrm>
            <a:off x="1668222" y="4381864"/>
            <a:ext cx="1328402" cy="475516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Abwasser</a:t>
            </a:r>
          </a:p>
        </p:txBody>
      </p:sp>
      <p:sp>
        <p:nvSpPr>
          <p:cNvPr id="66" name="Rounded Rectangle 23">
            <a:extLst>
              <a:ext uri="{FF2B5EF4-FFF2-40B4-BE49-F238E27FC236}">
                <a16:creationId xmlns:a16="http://schemas.microsoft.com/office/drawing/2014/main" id="{38FE46FE-5204-9842-94DC-5837908E08E0}"/>
              </a:ext>
            </a:extLst>
          </p:cNvPr>
          <p:cNvSpPr/>
          <p:nvPr/>
        </p:nvSpPr>
        <p:spPr>
          <a:xfrm>
            <a:off x="3172693" y="2246067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Feuerung KVA</a:t>
            </a:r>
          </a:p>
        </p:txBody>
      </p:sp>
      <p:sp>
        <p:nvSpPr>
          <p:cNvPr id="67" name="Rounded Rectangle 23">
            <a:extLst>
              <a:ext uri="{FF2B5EF4-FFF2-40B4-BE49-F238E27FC236}">
                <a16:creationId xmlns:a16="http://schemas.microsoft.com/office/drawing/2014/main" id="{E3848B53-9BF0-2045-9883-0F54C8ECBCC2}"/>
              </a:ext>
            </a:extLst>
          </p:cNvPr>
          <p:cNvSpPr/>
          <p:nvPr/>
        </p:nvSpPr>
        <p:spPr>
          <a:xfrm>
            <a:off x="3172693" y="4381339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Feuerung MVA</a:t>
            </a:r>
          </a:p>
        </p:txBody>
      </p:sp>
      <p:sp>
        <p:nvSpPr>
          <p:cNvPr id="71" name="Rounded Rectangle 23">
            <a:extLst>
              <a:ext uri="{FF2B5EF4-FFF2-40B4-BE49-F238E27FC236}">
                <a16:creationId xmlns:a16="http://schemas.microsoft.com/office/drawing/2014/main" id="{539B94D5-9641-9B43-8578-0750128DB27E}"/>
              </a:ext>
            </a:extLst>
          </p:cNvPr>
          <p:cNvSpPr/>
          <p:nvPr/>
        </p:nvSpPr>
        <p:spPr>
          <a:xfrm>
            <a:off x="4693393" y="2246067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Kessel</a:t>
            </a:r>
          </a:p>
        </p:txBody>
      </p:sp>
      <p:sp>
        <p:nvSpPr>
          <p:cNvPr id="72" name="Rounded Rectangle 23">
            <a:extLst>
              <a:ext uri="{FF2B5EF4-FFF2-40B4-BE49-F238E27FC236}">
                <a16:creationId xmlns:a16="http://schemas.microsoft.com/office/drawing/2014/main" id="{A1E730E6-45AB-A045-9EB0-EF42E08788B3}"/>
              </a:ext>
            </a:extLst>
          </p:cNvPr>
          <p:cNvSpPr/>
          <p:nvPr/>
        </p:nvSpPr>
        <p:spPr>
          <a:xfrm>
            <a:off x="4693393" y="2963632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Dampf</a:t>
            </a:r>
          </a:p>
        </p:txBody>
      </p:sp>
      <p:sp>
        <p:nvSpPr>
          <p:cNvPr id="73" name="Rounded Rectangle 23">
            <a:extLst>
              <a:ext uri="{FF2B5EF4-FFF2-40B4-BE49-F238E27FC236}">
                <a16:creationId xmlns:a16="http://schemas.microsoft.com/office/drawing/2014/main" id="{9CDD5458-AA15-F94F-A728-DC6E5BB4690D}"/>
              </a:ext>
            </a:extLst>
          </p:cNvPr>
          <p:cNvSpPr/>
          <p:nvPr/>
        </p:nvSpPr>
        <p:spPr>
          <a:xfrm>
            <a:off x="4655167" y="4381338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Turbine MVA</a:t>
            </a:r>
          </a:p>
        </p:txBody>
      </p:sp>
      <p:sp>
        <p:nvSpPr>
          <p:cNvPr id="75" name="Rounded Rectangle 23">
            <a:extLst>
              <a:ext uri="{FF2B5EF4-FFF2-40B4-BE49-F238E27FC236}">
                <a16:creationId xmlns:a16="http://schemas.microsoft.com/office/drawing/2014/main" id="{97CA9812-8454-0842-9007-129DAA0A354C}"/>
              </a:ext>
            </a:extLst>
          </p:cNvPr>
          <p:cNvSpPr/>
          <p:nvPr/>
        </p:nvSpPr>
        <p:spPr>
          <a:xfrm>
            <a:off x="6170237" y="2257472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tx2">
              <a:lumMod val="60000"/>
              <a:lumOff val="40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Rauchgas-reinigung</a:t>
            </a:r>
          </a:p>
        </p:txBody>
      </p:sp>
      <p:sp>
        <p:nvSpPr>
          <p:cNvPr id="77" name="Rounded Rectangle 23">
            <a:extLst>
              <a:ext uri="{FF2B5EF4-FFF2-40B4-BE49-F238E27FC236}">
                <a16:creationId xmlns:a16="http://schemas.microsoft.com/office/drawing/2014/main" id="{1784A8D2-AA1B-BC46-9CA8-3933764EADD2}"/>
              </a:ext>
            </a:extLst>
          </p:cNvPr>
          <p:cNvSpPr/>
          <p:nvPr/>
        </p:nvSpPr>
        <p:spPr>
          <a:xfrm>
            <a:off x="7663191" y="2235807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>
                <a:solidFill>
                  <a:srgbClr val="FFFFFF"/>
                </a:solidFill>
                <a:latin typeface="Calibri"/>
              </a:rPr>
              <a:t>Abluft</a:t>
            </a:r>
          </a:p>
        </p:txBody>
      </p:sp>
      <p:sp>
        <p:nvSpPr>
          <p:cNvPr id="79" name="Rounded Rectangle 23">
            <a:extLst>
              <a:ext uri="{FF2B5EF4-FFF2-40B4-BE49-F238E27FC236}">
                <a16:creationId xmlns:a16="http://schemas.microsoft.com/office/drawing/2014/main" id="{9FF5F359-730F-8B47-8D54-7435AD2E1834}"/>
              </a:ext>
            </a:extLst>
          </p:cNvPr>
          <p:cNvSpPr/>
          <p:nvPr/>
        </p:nvSpPr>
        <p:spPr>
          <a:xfrm>
            <a:off x="7653496" y="1229340"/>
            <a:ext cx="1328402" cy="47551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27113" tIns="27113" rIns="27113" bIns="27113" numCol="1" spcCol="1270" anchor="ctr" anchorCtr="0">
            <a:noAutofit/>
          </a:bodyPr>
          <a:lstStyle/>
          <a:p>
            <a:pPr algn="ctr" defTabSz="685800">
              <a:defRPr/>
            </a:pPr>
            <a:r>
              <a:rPr lang="de-DE" sz="1350" dirty="0">
                <a:solidFill>
                  <a:srgbClr val="FFFFFF"/>
                </a:solidFill>
                <a:latin typeface="Calibri"/>
              </a:rPr>
              <a:t>Asche für das </a:t>
            </a:r>
          </a:p>
          <a:p>
            <a:pPr algn="ctr" defTabSz="685800">
              <a:defRPr/>
            </a:pPr>
            <a:r>
              <a:rPr lang="de-DE" sz="1350" dirty="0">
                <a:solidFill>
                  <a:srgbClr val="FFFFFF"/>
                </a:solidFill>
                <a:latin typeface="Calibri"/>
              </a:rPr>
              <a:t>P-Recycling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D5B2761-5B50-4B1C-9956-0462F68A01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47" name="Titel 1">
            <a:extLst>
              <a:ext uri="{FF2B5EF4-FFF2-40B4-BE49-F238E27FC236}">
                <a16:creationId xmlns:a16="http://schemas.microsoft.com/office/drawing/2014/main" id="{59C1BD27-CF1A-74CB-9A33-F9325C7B8EB4}"/>
              </a:ext>
            </a:extLst>
          </p:cNvPr>
          <p:cNvSpPr txBox="1">
            <a:spLocks/>
          </p:cNvSpPr>
          <p:nvPr/>
        </p:nvSpPr>
        <p:spPr>
          <a:xfrm>
            <a:off x="395999" y="424800"/>
            <a:ext cx="8140957" cy="75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9F0F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500" dirty="0">
                <a:solidFill>
                  <a:schemeClr val="tx1"/>
                </a:solidFill>
              </a:rPr>
              <a:t>Funktion einer Klärschlamm-Monoverbrennungsanlage.</a:t>
            </a:r>
            <a:br>
              <a:rPr lang="de-DE" sz="2500" dirty="0">
                <a:solidFill>
                  <a:schemeClr val="tx1"/>
                </a:solidFill>
              </a:rPr>
            </a:br>
            <a:endParaRPr lang="de-DE" sz="2500" dirty="0">
              <a:solidFill>
                <a:schemeClr val="tx1"/>
              </a:solidFill>
            </a:endParaRP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F10C5D4D-FF2C-4842-A01C-0A6578B0A4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199" y="162001"/>
            <a:ext cx="648773" cy="59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359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6F001B8-9CBB-4A21-81FD-DE1C1DE6E3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6F001B8-9CBB-4A21-81FD-DE1C1DE6E3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itel 1">
            <a:extLst>
              <a:ext uri="{FF2B5EF4-FFF2-40B4-BE49-F238E27FC236}">
                <a16:creationId xmlns:a16="http://schemas.microsoft.com/office/drawing/2014/main" id="{FDEEC133-8FA5-4743-8E00-DD1313D02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1" y="126901"/>
            <a:ext cx="5733900" cy="766626"/>
          </a:xfrm>
        </p:spPr>
        <p:txBody>
          <a:bodyPr vert="horz">
            <a:normAutofit/>
          </a:bodyPr>
          <a:lstStyle/>
          <a:p>
            <a:r>
              <a:rPr lang="de-DE" dirty="0"/>
              <a:t>Unsere geplanten </a:t>
            </a:r>
            <a:br>
              <a:rPr lang="de-DE" dirty="0"/>
            </a:br>
            <a:r>
              <a:rPr lang="de-DE" dirty="0"/>
              <a:t>Klärschlamm-Monoverbrennungsanlag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AFC0EC2-C852-8C53-1F3D-6C7652768B4F}"/>
              </a:ext>
            </a:extLst>
          </p:cNvPr>
          <p:cNvSpPr/>
          <p:nvPr/>
        </p:nvSpPr>
        <p:spPr>
          <a:xfrm>
            <a:off x="84045" y="1180800"/>
            <a:ext cx="8975912" cy="3351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F02E220-8D59-3F46-17B1-D818FA93607F}"/>
              </a:ext>
            </a:extLst>
          </p:cNvPr>
          <p:cNvSpPr/>
          <p:nvPr/>
        </p:nvSpPr>
        <p:spPr>
          <a:xfrm>
            <a:off x="3811126" y="2296733"/>
            <a:ext cx="1624874" cy="22355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de-DE" sz="1350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6" name="Cam1_Entwurf6_0050.jpg" descr="Cam1_Entwurf6_0050.jpg">
            <a:extLst>
              <a:ext uri="{FF2B5EF4-FFF2-40B4-BE49-F238E27FC236}">
                <a16:creationId xmlns:a16="http://schemas.microsoft.com/office/drawing/2014/main" id="{18BE1146-F4F5-48A0-8408-706523BA58C8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75" b="-6375"/>
          <a:stretch/>
        </p:blipFill>
        <p:spPr>
          <a:xfrm>
            <a:off x="2090399" y="1404939"/>
            <a:ext cx="1626723" cy="1071562"/>
          </a:xfrm>
          <a:prstGeom prst="rect">
            <a:avLst/>
          </a:prstGeom>
          <a:solidFill>
            <a:srgbClr val="FF9E27"/>
          </a:solidFill>
          <a:ln w="12700">
            <a:miter lim="400000"/>
          </a:ln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F43C33B1-1A71-41E1-9347-B2BC1188950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182" t="13422" r="7042" b="894"/>
          <a:stretch/>
        </p:blipFill>
        <p:spPr>
          <a:xfrm>
            <a:off x="401451" y="1401155"/>
            <a:ext cx="1619108" cy="1002500"/>
          </a:xfrm>
          <a:prstGeom prst="rect">
            <a:avLst/>
          </a:prstGeom>
        </p:spPr>
      </p:pic>
      <p:pic>
        <p:nvPicPr>
          <p:cNvPr id="4" name="Grafik 3" descr="Ein Bild, das Natur, Küste, Stadt, Urlaubsort enthält.&#10;&#10;Automatisch generierte Beschreibung">
            <a:extLst>
              <a:ext uri="{FF2B5EF4-FFF2-40B4-BE49-F238E27FC236}">
                <a16:creationId xmlns:a16="http://schemas.microsoft.com/office/drawing/2014/main" id="{AC6F9DCF-0DA4-46EC-A77D-2960621344D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819" t="15297" r="3822" b="10345"/>
          <a:stretch/>
        </p:blipFill>
        <p:spPr>
          <a:xfrm>
            <a:off x="3811126" y="1398590"/>
            <a:ext cx="1619108" cy="999296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044DAA3E-BD85-49EB-8175-464067D1EC02}"/>
              </a:ext>
            </a:extLst>
          </p:cNvPr>
          <p:cNvSpPr/>
          <p:nvPr/>
        </p:nvSpPr>
        <p:spPr>
          <a:xfrm>
            <a:off x="401451" y="2403655"/>
            <a:ext cx="1626722" cy="214028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de-DE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6D86121-3545-460B-9B84-54A661085803}"/>
              </a:ext>
            </a:extLst>
          </p:cNvPr>
          <p:cNvSpPr txBox="1"/>
          <p:nvPr/>
        </p:nvSpPr>
        <p:spPr>
          <a:xfrm>
            <a:off x="495304" y="2752029"/>
            <a:ext cx="1441451" cy="14465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6213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b="1" dirty="0"/>
              <a:t>160.000 t </a:t>
            </a:r>
            <a:r>
              <a:rPr lang="de-DE" sz="1200" dirty="0"/>
              <a:t>Klärschlamm OS</a:t>
            </a:r>
          </a:p>
          <a:p>
            <a:pPr marL="176213" indent="-176213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b="1" dirty="0"/>
              <a:t>Kapazität für </a:t>
            </a:r>
            <a:r>
              <a:rPr lang="de-DE" sz="1200" b="1" dirty="0">
                <a:latin typeface="Calibri" panose="020F0502020204030204" pitchFamily="34" charset="0"/>
                <a:cs typeface="Calibri" panose="020F0502020204030204" pitchFamily="34" charset="0"/>
              </a:rPr>
              <a:t>⅕</a:t>
            </a:r>
            <a:r>
              <a:rPr lang="de-DE" sz="1200" b="1" dirty="0"/>
              <a:t> </a:t>
            </a:r>
            <a:r>
              <a:rPr lang="de-DE" sz="1200" dirty="0"/>
              <a:t>des niedersächsischen Klärschlamms</a:t>
            </a:r>
          </a:p>
          <a:p>
            <a:pPr marL="176213" indent="-176213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Inbetriebnahme  </a:t>
            </a:r>
            <a:r>
              <a:rPr lang="de-DE" sz="1200" b="1" dirty="0"/>
              <a:t>Q2/2022</a:t>
            </a: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1B5AAD62-0863-DD7E-AE71-A00AE2EB972C}"/>
              </a:ext>
            </a:extLst>
          </p:cNvPr>
          <p:cNvSpPr/>
          <p:nvPr/>
        </p:nvSpPr>
        <p:spPr>
          <a:xfrm>
            <a:off x="495303" y="2290379"/>
            <a:ext cx="1201664" cy="30255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b="1"/>
              <a:t>Helmsted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0989A2B-CBB3-9C4D-66B6-8537CD5A0FAD}"/>
              </a:ext>
            </a:extLst>
          </p:cNvPr>
          <p:cNvSpPr/>
          <p:nvPr/>
        </p:nvSpPr>
        <p:spPr>
          <a:xfrm>
            <a:off x="2090400" y="2409225"/>
            <a:ext cx="1626722" cy="21353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de-DE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B42D4476-4A98-C0BE-3613-7E6EACBF6976}"/>
              </a:ext>
            </a:extLst>
          </p:cNvPr>
          <p:cNvSpPr/>
          <p:nvPr/>
        </p:nvSpPr>
        <p:spPr>
          <a:xfrm>
            <a:off x="2184403" y="2296730"/>
            <a:ext cx="1174751" cy="30255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b="1"/>
              <a:t>Stavenhagen</a:t>
            </a:r>
            <a:endParaRPr lang="de-DE" sz="1400" b="1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BD7D05B4-F020-4D96-964E-9627F478ED76}"/>
              </a:ext>
            </a:extLst>
          </p:cNvPr>
          <p:cNvSpPr txBox="1"/>
          <p:nvPr/>
        </p:nvSpPr>
        <p:spPr>
          <a:xfrm>
            <a:off x="2184403" y="2758378"/>
            <a:ext cx="1438703" cy="163121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b="1" dirty="0"/>
              <a:t>160.000 t </a:t>
            </a:r>
            <a:r>
              <a:rPr lang="de-DE" sz="1200" dirty="0"/>
              <a:t>Klärschlamm OS</a:t>
            </a:r>
          </a:p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b="1" dirty="0"/>
              <a:t>Kapazität für ¾ </a:t>
            </a:r>
            <a:r>
              <a:rPr lang="de-DE" sz="1200" dirty="0"/>
              <a:t>des Klärschlamms in Mecklenburg-Vorpommern</a:t>
            </a:r>
            <a:endParaRPr lang="de-DE" sz="1200" dirty="0">
              <a:cs typeface="Calibri"/>
            </a:endParaRPr>
          </a:p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Regelbetrieb  </a:t>
            </a:r>
            <a:r>
              <a:rPr lang="de-DE" sz="1200" b="1" dirty="0"/>
              <a:t>Q1/2024</a:t>
            </a:r>
            <a:endParaRPr lang="de-DE" sz="1200" b="1" dirty="0">
              <a:cs typeface="Calibri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55668D6A-12DF-9380-C0B6-4860A1B07277}"/>
              </a:ext>
            </a:extLst>
          </p:cNvPr>
          <p:cNvSpPr/>
          <p:nvPr/>
        </p:nvSpPr>
        <p:spPr>
          <a:xfrm>
            <a:off x="3893540" y="2289098"/>
            <a:ext cx="1180114" cy="30255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13" b="1"/>
              <a:t>Magdeburg-Rothense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576D1260-60D5-EF3B-5EDB-AB319B21586B}"/>
              </a:ext>
            </a:extLst>
          </p:cNvPr>
          <p:cNvSpPr txBox="1"/>
          <p:nvPr/>
        </p:nvSpPr>
        <p:spPr>
          <a:xfrm>
            <a:off x="3893541" y="2750746"/>
            <a:ext cx="1454150" cy="14465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b="1" dirty="0"/>
              <a:t>50.000 t </a:t>
            </a:r>
            <a:r>
              <a:rPr lang="de-DE" sz="1200" dirty="0"/>
              <a:t>Klärschlamm OS</a:t>
            </a:r>
          </a:p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Klärschlamm vorwiegend aus Sachsen-Anhalt</a:t>
            </a:r>
          </a:p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Inbetriebnahme (geplant): </a:t>
            </a:r>
            <a:r>
              <a:rPr lang="de-DE" sz="1200" b="1" dirty="0"/>
              <a:t>2024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0247C56A-64E5-16B0-CEF2-4DC32BEEF3A9}"/>
              </a:ext>
            </a:extLst>
          </p:cNvPr>
          <p:cNvSpPr txBox="1">
            <a:spLocks/>
          </p:cNvSpPr>
          <p:nvPr/>
        </p:nvSpPr>
        <p:spPr>
          <a:xfrm>
            <a:off x="396000" y="1"/>
            <a:ext cx="6840000" cy="8368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9F0F0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sz="1875">
              <a:solidFill>
                <a:schemeClr val="bg2"/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8BAB3AC-55A6-4F0B-A57E-1DBB1C16F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39E044-4B05-4C62-84D8-314F036569E5}" type="slidenum">
              <a:rPr lang="de-DE" smtClean="0"/>
              <a:pPr/>
              <a:t>9</a:t>
            </a:fld>
            <a:endParaRPr lang="de-DE"/>
          </a:p>
        </p:txBody>
      </p:sp>
      <p:pic>
        <p:nvPicPr>
          <p:cNvPr id="34" name="Ret.Vogelperspektive.jpg" descr="Ret.Vogelperspektive.jpg">
            <a:extLst>
              <a:ext uri="{FF2B5EF4-FFF2-40B4-BE49-F238E27FC236}">
                <a16:creationId xmlns:a16="http://schemas.microsoft.com/office/drawing/2014/main" id="{32F5F4E5-3A91-F6FA-B841-3E5D38D0C9B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46194" y="1406513"/>
            <a:ext cx="1619109" cy="999296"/>
          </a:xfrm>
          <a:prstGeom prst="rect">
            <a:avLst/>
          </a:prstGeom>
          <a:solidFill>
            <a:srgbClr val="FF9E27"/>
          </a:solidFill>
          <a:ln w="12700">
            <a:miter lim="400000"/>
          </a:ln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A47DB0F6-9907-518F-A3B9-81C7DBD15BB6}"/>
              </a:ext>
            </a:extLst>
          </p:cNvPr>
          <p:cNvSpPr/>
          <p:nvPr/>
        </p:nvSpPr>
        <p:spPr>
          <a:xfrm>
            <a:off x="5546194" y="2405809"/>
            <a:ext cx="1619109" cy="21454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de-DE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5A1230A4-6564-8902-445D-8713BC895254}"/>
              </a:ext>
            </a:extLst>
          </p:cNvPr>
          <p:cNvSpPr/>
          <p:nvPr/>
        </p:nvSpPr>
        <p:spPr>
          <a:xfrm>
            <a:off x="5633435" y="2294858"/>
            <a:ext cx="1133413" cy="30255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b="1" err="1"/>
              <a:t>Delfzijl</a:t>
            </a:r>
            <a:endParaRPr lang="de-DE" sz="1350" b="1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2F867FBA-E2D9-BC40-1C29-269C05888137}"/>
              </a:ext>
            </a:extLst>
          </p:cNvPr>
          <p:cNvSpPr txBox="1"/>
          <p:nvPr/>
        </p:nvSpPr>
        <p:spPr>
          <a:xfrm>
            <a:off x="5633435" y="2756779"/>
            <a:ext cx="1397814" cy="163121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b="1" dirty="0"/>
              <a:t>146.000 t </a:t>
            </a:r>
            <a:r>
              <a:rPr lang="de-DE" sz="1200" dirty="0"/>
              <a:t>Klärschlamm OS</a:t>
            </a:r>
          </a:p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Klärschlamm aus den </a:t>
            </a:r>
            <a:r>
              <a:rPr lang="de-DE" sz="1100" b="1" dirty="0"/>
              <a:t>Niederlanden</a:t>
            </a:r>
            <a:r>
              <a:rPr lang="de-DE" sz="1200" dirty="0"/>
              <a:t> und aus </a:t>
            </a:r>
            <a:r>
              <a:rPr lang="de-DE" sz="1200" b="1" dirty="0"/>
              <a:t>Niedersachsen</a:t>
            </a:r>
          </a:p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Inbetriebnahme (geplant): </a:t>
            </a:r>
            <a:r>
              <a:rPr lang="de-DE" sz="1200" b="1" dirty="0"/>
              <a:t>2024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77FB1ACC-CEEC-A1E8-CF8A-A1E6365B186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4" t="8965" r="12076" b="3575"/>
          <a:stretch/>
        </p:blipFill>
        <p:spPr>
          <a:xfrm>
            <a:off x="7262947" y="1406513"/>
            <a:ext cx="1619108" cy="1000871"/>
          </a:xfrm>
          <a:prstGeom prst="rect">
            <a:avLst/>
          </a:prstGeom>
          <a:solidFill>
            <a:srgbClr val="FF9E27"/>
          </a:solidFill>
        </p:spPr>
      </p:pic>
      <p:sp>
        <p:nvSpPr>
          <p:cNvPr id="40" name="Rechteck 39">
            <a:extLst>
              <a:ext uri="{FF2B5EF4-FFF2-40B4-BE49-F238E27FC236}">
                <a16:creationId xmlns:a16="http://schemas.microsoft.com/office/drawing/2014/main" id="{EDBAB1AD-F50A-724D-7B4F-D510F2760803}"/>
              </a:ext>
            </a:extLst>
          </p:cNvPr>
          <p:cNvSpPr/>
          <p:nvPr/>
        </p:nvSpPr>
        <p:spPr>
          <a:xfrm>
            <a:off x="7262947" y="2405809"/>
            <a:ext cx="1619108" cy="21454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defRPr/>
            </a:pPr>
            <a:endParaRPr lang="de-DE" sz="135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F491F3AE-E22A-A16E-8F0B-7E2875A0D2B5}"/>
              </a:ext>
            </a:extLst>
          </p:cNvPr>
          <p:cNvSpPr txBox="1"/>
          <p:nvPr/>
        </p:nvSpPr>
        <p:spPr>
          <a:xfrm>
            <a:off x="7342272" y="2759953"/>
            <a:ext cx="1479551" cy="16312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b="1" dirty="0"/>
              <a:t>160.000 t </a:t>
            </a:r>
            <a:r>
              <a:rPr lang="de-DE" sz="1200" dirty="0"/>
              <a:t>Klärschlamm OS</a:t>
            </a:r>
          </a:p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b="1" dirty="0"/>
              <a:t>Kapazität für ½ </a:t>
            </a:r>
            <a:br>
              <a:rPr lang="de-DE" sz="1200" dirty="0"/>
            </a:br>
            <a:r>
              <a:rPr lang="de-DE" sz="1200" dirty="0"/>
              <a:t>des Klärschlamms </a:t>
            </a:r>
            <a:br>
              <a:rPr lang="de-DE" sz="1200" dirty="0"/>
            </a:br>
            <a:r>
              <a:rPr lang="de-DE" sz="1200" dirty="0"/>
              <a:t>in Schleswig-</a:t>
            </a:r>
            <a:br>
              <a:rPr lang="de-DE" sz="1200" dirty="0"/>
            </a:br>
            <a:r>
              <a:rPr lang="de-DE" sz="1200" dirty="0"/>
              <a:t>Holstein</a:t>
            </a:r>
          </a:p>
          <a:p>
            <a:pPr marL="176213" indent="-171450">
              <a:spcBef>
                <a:spcPts val="600"/>
              </a:spcBef>
              <a:buClr>
                <a:srgbClr val="FF9E27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lang="de-DE" sz="1200" dirty="0"/>
              <a:t>Inbetriebnahme (geplant): </a:t>
            </a:r>
            <a:r>
              <a:rPr lang="de-DE" sz="1200" b="1" dirty="0"/>
              <a:t>2027</a:t>
            </a:r>
          </a:p>
        </p:txBody>
      </p:sp>
      <p:sp>
        <p:nvSpPr>
          <p:cNvPr id="42" name="Rechteck: abgerundete Ecken 41">
            <a:extLst>
              <a:ext uri="{FF2B5EF4-FFF2-40B4-BE49-F238E27FC236}">
                <a16:creationId xmlns:a16="http://schemas.microsoft.com/office/drawing/2014/main" id="{F9307438-89E3-010F-2625-DD7CAC359769}"/>
              </a:ext>
            </a:extLst>
          </p:cNvPr>
          <p:cNvSpPr/>
          <p:nvPr/>
        </p:nvSpPr>
        <p:spPr>
          <a:xfrm>
            <a:off x="7342273" y="2304653"/>
            <a:ext cx="1146350" cy="30255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350" b="1"/>
              <a:t>Stapelfeld</a:t>
            </a:r>
          </a:p>
        </p:txBody>
      </p:sp>
    </p:spTree>
    <p:extLst>
      <p:ext uri="{BB962C8B-B14F-4D97-AF65-F5344CB8AC3E}">
        <p14:creationId xmlns:p14="http://schemas.microsoft.com/office/powerpoint/2010/main" val="229024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SIS" val="EEWVorlage"/>
  <p:tag name="VERSION" val="2.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N7_tpchUeQG9QdNqK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N7_tpchUeQG9QdNqKt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N7_tpchUeQG9QdNqKt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N7_tpchUeQG9QdNqKt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EW_16x9">
  <a:themeElements>
    <a:clrScheme name="EEW">
      <a:dk1>
        <a:srgbClr val="000000"/>
      </a:dk1>
      <a:lt1>
        <a:srgbClr val="FFFFFF"/>
      </a:lt1>
      <a:dk2>
        <a:srgbClr val="6E6E69"/>
      </a:dk2>
      <a:lt2>
        <a:srgbClr val="CBCBCB"/>
      </a:lt2>
      <a:accent1>
        <a:srgbClr val="9F0F00"/>
      </a:accent1>
      <a:accent2>
        <a:srgbClr val="FF9E27"/>
      </a:accent2>
      <a:accent3>
        <a:srgbClr val="147455"/>
      </a:accent3>
      <a:accent4>
        <a:srgbClr val="FFD700"/>
      </a:accent4>
      <a:accent5>
        <a:srgbClr val="E63F25"/>
      </a:accent5>
      <a:accent6>
        <a:srgbClr val="BCEEE5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F0F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800"/>
          </a:spcBef>
          <a:defRPr sz="2000" dirty="0" err="1" smtClean="0"/>
        </a:defPPr>
      </a:lstStyle>
    </a:txDef>
  </a:objectDefaults>
  <a:extraClrSchemeLst>
    <a:extraClrScheme>
      <a:clrScheme name="EEW">
        <a:dk1>
          <a:srgbClr val="000000"/>
        </a:dk1>
        <a:lt1>
          <a:srgbClr val="FFFFFF"/>
        </a:lt1>
        <a:dk2>
          <a:srgbClr val="6E6E69"/>
        </a:dk2>
        <a:lt2>
          <a:srgbClr val="CBCBCB"/>
        </a:lt2>
        <a:accent1>
          <a:srgbClr val="9F0F00"/>
        </a:accent1>
        <a:accent2>
          <a:srgbClr val="FF9E27"/>
        </a:accent2>
        <a:accent3>
          <a:srgbClr val="147455"/>
        </a:accent3>
        <a:accent4>
          <a:srgbClr val="FFD700"/>
        </a:accent4>
        <a:accent5>
          <a:srgbClr val="E63F25"/>
        </a:accent5>
        <a:accent6>
          <a:srgbClr val="BCEEE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8f10d5f-2976-45f6-8d2f-0ce6b1630aae">
      <UserInfo>
        <DisplayName>Philipp, Ronald</DisplayName>
        <AccountId>16</AccountId>
        <AccountType/>
      </UserInfo>
      <UserInfo>
        <DisplayName>Werz, Peter</DisplayName>
        <AccountId>15</AccountId>
        <AccountType/>
      </UserInfo>
    </SharedWithUsers>
    <lcf76f155ced4ddcb4097134ff3c332f xmlns="815c9e7a-1ae6-4e99-8624-0ca46302c967">
      <Terms xmlns="http://schemas.microsoft.com/office/infopath/2007/PartnerControls"/>
    </lcf76f155ced4ddcb4097134ff3c332f>
    <TaxCatchAll xmlns="f8f10d5f-2976-45f6-8d2f-0ce6b1630aae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CA2D00DF4480643B465D53F5638DAD1" ma:contentTypeVersion="15" ma:contentTypeDescription="Ein neues Dokument erstellen." ma:contentTypeScope="" ma:versionID="6ad1f5dc585e91c1549d861bc257a33d">
  <xsd:schema xmlns:xsd="http://www.w3.org/2001/XMLSchema" xmlns:xs="http://www.w3.org/2001/XMLSchema" xmlns:p="http://schemas.microsoft.com/office/2006/metadata/properties" xmlns:ns2="815c9e7a-1ae6-4e99-8624-0ca46302c967" xmlns:ns3="f8f10d5f-2976-45f6-8d2f-0ce6b1630aae" targetNamespace="http://schemas.microsoft.com/office/2006/metadata/properties" ma:root="true" ma:fieldsID="589e70c81492328f173b157d4d79c95b" ns2:_="" ns3:_="">
    <xsd:import namespace="815c9e7a-1ae6-4e99-8624-0ca46302c967"/>
    <xsd:import namespace="f8f10d5f-2976-45f6-8d2f-0ce6b1630a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5c9e7a-1ae6-4e99-8624-0ca46302c9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a6f40b20-a1ec-465c-8568-5a00ca2305d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f10d5f-2976-45f6-8d2f-0ce6b1630aa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b1de1cf-4db0-45d3-9c54-db288cae9e21}" ma:internalName="TaxCatchAll" ma:showField="CatchAllData" ma:web="f8f10d5f-2976-45f6-8d2f-0ce6b1630a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89D0D8-FB6C-432A-B3DC-145350E5A804}">
  <ds:schemaRefs>
    <ds:schemaRef ds:uri="815c9e7a-1ae6-4e99-8624-0ca46302c967"/>
    <ds:schemaRef ds:uri="f8f10d5f-2976-45f6-8d2f-0ce6b1630aa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0F00B22-9F09-4351-8EBD-B150B0977F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119DE8-B230-47B0-BF81-DB88BCE40D9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5c9e7a-1ae6-4e99-8624-0ca46302c967"/>
    <ds:schemaRef ds:uri="f8f10d5f-2976-45f6-8d2f-0ce6b1630a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EW_16x9</Template>
  <TotalTime>0</TotalTime>
  <Words>1422</Words>
  <Application>Microsoft Office PowerPoint</Application>
  <PresentationFormat>Bildschirmpräsentation (16:9)</PresentationFormat>
  <Paragraphs>275</Paragraphs>
  <Slides>13</Slides>
  <Notes>1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0" baseType="lpstr">
      <vt:lpstr>Arial</vt:lpstr>
      <vt:lpstr>Calibri</vt:lpstr>
      <vt:lpstr>EEW-Bold</vt:lpstr>
      <vt:lpstr>Wingdings</vt:lpstr>
      <vt:lpstr>Wingdings 2</vt:lpstr>
      <vt:lpstr>EEW_16x9</vt:lpstr>
      <vt:lpstr>think-cell Folie</vt:lpstr>
      <vt:lpstr>Klärschlammverwertung und Phosphorrecycling</vt:lpstr>
      <vt:lpstr>Agenda </vt:lpstr>
      <vt:lpstr>PowerPoint-Präsentation</vt:lpstr>
      <vt:lpstr>150 Jahre Fortschritt.  Unsere Expertise.</vt:lpstr>
      <vt:lpstr>Wir sind immer für Sie nah.  Mit 17 Anlagen in Europa. </vt:lpstr>
      <vt:lpstr>PowerPoint-Präsentation</vt:lpstr>
      <vt:lpstr>EEW hat die Herausforderungen frühzeitig  als Chancen verstanden.</vt:lpstr>
      <vt:lpstr>PowerPoint-Präsentation</vt:lpstr>
      <vt:lpstr>Unsere geplanten  Klärschlamm-Monoverbrennungsanlagen</vt:lpstr>
      <vt:lpstr>Lebenswichtige Ressource Phosphor</vt:lpstr>
      <vt:lpstr>PowerPoint-Präsentation</vt:lpstr>
      <vt:lpstr>Lebenswichtige Ressource Phosphor</vt:lpstr>
      <vt:lpstr>PowerPoint-Präsentation</vt:lpstr>
    </vt:vector>
  </TitlesOfParts>
  <Company>EEW Energy from Was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EW PowerPoint</dc:title>
  <dc:creator>Exner, Carlo</dc:creator>
  <dc:description/>
  <cp:lastModifiedBy>Dous, Andreas</cp:lastModifiedBy>
  <cp:revision>30</cp:revision>
  <cp:lastPrinted>2022-05-06T13:28:35Z</cp:lastPrinted>
  <dcterms:created xsi:type="dcterms:W3CDTF">2022-04-06T12:34:05Z</dcterms:created>
  <dcterms:modified xsi:type="dcterms:W3CDTF">2024-03-12T06:19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A2D00DF4480643B465D53F5638DAD1</vt:lpwstr>
  </property>
  <property fmtid="{D5CDD505-2E9C-101B-9397-08002B2CF9AE}" pid="3" name="MediaServiceImageTags">
    <vt:lpwstr/>
  </property>
</Properties>
</file>